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.bin" ContentType="application/vnd.openxmlformats-officedocument.oleObject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2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embeddings/oleObject5.bin" ContentType="application/vnd.openxmlformats-officedocument.oleObject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77" r:id="rId3"/>
    <p:sldId id="289" r:id="rId4"/>
    <p:sldId id="294" r:id="rId5"/>
    <p:sldId id="291" r:id="rId6"/>
    <p:sldId id="311" r:id="rId7"/>
    <p:sldId id="280" r:id="rId8"/>
    <p:sldId id="295" r:id="rId9"/>
    <p:sldId id="296" r:id="rId10"/>
    <p:sldId id="297" r:id="rId11"/>
    <p:sldId id="298" r:id="rId12"/>
    <p:sldId id="299" r:id="rId13"/>
    <p:sldId id="300" r:id="rId14"/>
    <p:sldId id="301" r:id="rId15"/>
    <p:sldId id="306" r:id="rId16"/>
    <p:sldId id="302" r:id="rId17"/>
    <p:sldId id="303" r:id="rId18"/>
    <p:sldId id="304" r:id="rId19"/>
    <p:sldId id="305" r:id="rId20"/>
    <p:sldId id="309" r:id="rId21"/>
    <p:sldId id="310" r:id="rId22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E4B91"/>
    <a:srgbClr val="18548A"/>
    <a:srgbClr val="15538C"/>
    <a:srgbClr val="0B2F49"/>
    <a:srgbClr val="092F4B"/>
    <a:srgbClr val="A1472D"/>
    <a:srgbClr val="A34729"/>
    <a:srgbClr val="B87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0" d="100"/>
          <a:sy n="60" d="100"/>
        </p:scale>
        <p:origin x="-162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interSettings" Target="printerSettings/printerSettings1.bin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Relationship Id="rId2" Type="http://schemas.openxmlformats.org/officeDocument/2006/relationships/image" Target="../media/image2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D530034-D1C3-884D-BEB1-FA02FEE437E9}" type="datetimeFigureOut">
              <a:rPr lang="en-US"/>
              <a:pPr>
                <a:defRPr/>
              </a:pPr>
              <a:t>5/28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7292E6A-7758-2C42-8C47-B62AE6203E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211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5C2598A-A050-1043-81D3-CB0FB0AEEE65}" type="datetimeFigureOut">
              <a:rPr lang="en-US"/>
              <a:pPr>
                <a:defRPr/>
              </a:pPr>
              <a:t>5/28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AD3A3E0-093E-AE46-AAC6-6957FDDCE2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9213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584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358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EDA44F4-3C49-AD44-9DED-1C6AAD64439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The four categories of friction BCG chose to study are:</a:t>
            </a:r>
          </a:p>
          <a:p>
            <a:endParaRPr lang="en-US" sz="1200" dirty="0" smtClean="0"/>
          </a:p>
          <a:p>
            <a:pPr marL="342900" indent="-342900">
              <a:buAutoNum type="arabicParenR"/>
            </a:pPr>
            <a:r>
              <a:rPr lang="en-US" sz="1200" dirty="0" smtClean="0"/>
              <a:t>Infrastructure – This counts for one half and includes factors like broadband penetration, connection speeds, IPv6 deployment, Internet Exchange Points, etc.</a:t>
            </a:r>
          </a:p>
          <a:p>
            <a:pPr marL="342900" indent="-342900">
              <a:buAutoNum type="arabicParenR"/>
            </a:pPr>
            <a:r>
              <a:rPr lang="en-US" sz="1200" dirty="0" smtClean="0"/>
              <a:t>Industry – Things like ease of starting a business, access to ICT skills, access to financing, strong business legal framework, Intellectual property, Enforceable contracts, </a:t>
            </a:r>
            <a:r>
              <a:rPr lang="en-US" sz="1200" dirty="0" err="1" smtClean="0"/>
              <a:t>etc</a:t>
            </a:r>
            <a:endParaRPr lang="en-US" sz="1200" dirty="0" smtClean="0"/>
          </a:p>
          <a:p>
            <a:pPr marL="342900" indent="-342900">
              <a:buAutoNum type="arabicParenR"/>
            </a:pPr>
            <a:r>
              <a:rPr lang="en-US" sz="1200" dirty="0" smtClean="0"/>
              <a:t>Individual – This includes trust in online payment systems, online financial services, literacy, percentage of people online, among other factors</a:t>
            </a:r>
          </a:p>
          <a:p>
            <a:pPr marL="342900" indent="-342900">
              <a:buAutoNum type="arabicParenR"/>
            </a:pPr>
            <a:r>
              <a:rPr lang="en-US" sz="1200" dirty="0" smtClean="0"/>
              <a:t>Information – This score covers local content, local domain (website) registrations, freedom of the press,  freedom of access to official data (e.g. e-government program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62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The result of the calculations is a country index that calculates the level of friction in each category and adds them together.</a:t>
            </a:r>
          </a:p>
          <a:p>
            <a:endParaRPr lang="en-US" sz="1200" dirty="0" smtClean="0"/>
          </a:p>
          <a:p>
            <a:r>
              <a:rPr lang="en-US" sz="1200" dirty="0" smtClean="0"/>
              <a:t>Country scores are based on a combination of the four factors.  In this chart, the larger the bar, the greater the friction.</a:t>
            </a:r>
          </a:p>
          <a:p>
            <a:endParaRPr lang="en-US" sz="1200" dirty="0" smtClean="0"/>
          </a:p>
          <a:p>
            <a:r>
              <a:rPr lang="en-US" sz="1200" dirty="0" smtClean="0"/>
              <a:t>The countries chosen were a factor of which countries had available data.  </a:t>
            </a:r>
          </a:p>
          <a:p>
            <a:endParaRPr lang="en-US" sz="1200" dirty="0" smtClean="0"/>
          </a:p>
          <a:p>
            <a:r>
              <a:rPr lang="en-US" sz="1200" dirty="0" smtClean="0"/>
              <a:t>Open, trading economies and advanced world economies with low infrastructure friction do very well in the surve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D3A3E0-093E-AE46-AAC6-6957FDDCE26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6460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BCG also pioneered studies on how much of a nation’s GDP comes from the digital economy.</a:t>
            </a:r>
          </a:p>
          <a:p>
            <a:endParaRPr lang="en-US" sz="1200" dirty="0" smtClean="0"/>
          </a:p>
          <a:p>
            <a:r>
              <a:rPr lang="en-US" sz="1200" dirty="0" smtClean="0"/>
              <a:t>Low e-friction correlates with high e-GDP.  The difference between countries in the top quintile and lowest quintile of the index is 2.5% of GDP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62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ll-rounder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ll-oiled n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High-income overachiever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High-income aspirants</a:t>
            </a:r>
            <a:r>
              <a:rPr lang="en-US" dirty="0" smtClean="0">
                <a:effectLst/>
              </a:rPr>
              <a:t>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Middle-income overachievers</a:t>
            </a:r>
            <a:r>
              <a:rPr lang="en-US" dirty="0" smtClean="0">
                <a:effectLst/>
              </a:rPr>
              <a:t> 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Middle-income rural</a:t>
            </a:r>
            <a:r>
              <a:rPr lang="en-US" dirty="0" smtClean="0">
                <a:effectLst/>
              </a:rPr>
              <a:t>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Middle-income urban aspirants</a:t>
            </a:r>
            <a:r>
              <a:rPr lang="en-US" dirty="0" smtClean="0">
                <a:effectLst/>
              </a:rPr>
              <a:t> 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>
                <a:effectLst/>
              </a:rPr>
              <a:t>Developing rur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D3A3E0-093E-AE46-AAC6-6957FDDCE26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9018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The BCG study also surveyed several thousand Small and Medium Enterprises (SMEs) in the countries reviewed.</a:t>
            </a:r>
          </a:p>
          <a:p>
            <a:endParaRPr lang="en-US" sz="1200" dirty="0" smtClean="0"/>
          </a:p>
          <a:p>
            <a:r>
              <a:rPr lang="en-US" sz="1200" dirty="0" smtClean="0"/>
              <a:t>SMEs in low e-friction countries who embrace e-solutions can increase revenue growth by 7 %.  </a:t>
            </a:r>
          </a:p>
          <a:p>
            <a:endParaRPr lang="en-US" sz="1200" dirty="0" smtClean="0"/>
          </a:p>
          <a:p>
            <a:r>
              <a:rPr lang="en-US" sz="1200" dirty="0" smtClean="0"/>
              <a:t>These SMEs are 50% more likely to be exporters of goods or services and 63% more likely to source inputs international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627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SMEs in low-friction economies are 50% more likely to be exporters of goods or services and 63% more likely to source inputs international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D3A3E0-093E-AE46-AAC6-6957FDDCE26C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3653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922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>
                <a:latin typeface="Calibri" charset="0"/>
              </a:rPr>
              <a:t>Breakup your presentation, divide it into sections.  This is especially useful if most of your presentation is text.</a:t>
            </a:r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D278BF6-D335-A243-8E82-00D0794920F5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891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ICANN coordinates the addresses and unique identifiers that allow for the Internet to be a single, interoperable and growing network.  ICANN maintains and administers the Domain Name System (also called the DNS), which we use to navigate to where we want to go – whether to find a website, another person, or specific information.</a:t>
            </a:r>
          </a:p>
          <a:p>
            <a:pPr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389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F5FB69-7F5D-CF44-A309-174A85F3857E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993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MS PGothic" pitchFamily="34" charset="-128"/>
                <a:cs typeface="MS PGothic" charset="0"/>
              </a:rPr>
              <a:t>Another reason the Internet expands so quickly is because of the Multi Stakeholder Model.  Under this model, many participants -- including governments, businesses, academics, technical experts, individual Internet users, non-governmental organizations and other segments of society – come together to set the policies for the Internet’s development, including for addresses.   </a:t>
            </a:r>
          </a:p>
        </p:txBody>
      </p:sp>
      <p:sp>
        <p:nvSpPr>
          <p:cNvPr id="399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0870CB6-26D2-7A4E-8227-0DF7A340A4C2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ithin the ICANN</a:t>
            </a:r>
            <a:r>
              <a:rPr lang="en-US" baseline="0" dirty="0" smtClean="0"/>
              <a:t> Multistakeholder model, private sector interests are mostly represented by the non-contracted party house within the Generic Names Supporting Organization, and specifically the Commercial Stakeholder group and its three constituencies: the Commercial and Business Users Constituency, the Intellectual Property Constituency, and the Internet Service Providers and Connectivity Providers Constituenc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D3A3E0-093E-AE46-AAC6-6957FDDCE26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028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dirty="0" smtClean="0">
                <a:latin typeface="Calibri" charset="0"/>
              </a:rPr>
              <a:t>The work of ICANN</a:t>
            </a:r>
            <a:r>
              <a:rPr lang="en-US" baseline="0" dirty="0" smtClean="0">
                <a:latin typeface="Calibri" charset="0"/>
              </a:rPr>
              <a:t> helps the Internet expand in a global, scalable and interoperable way.</a:t>
            </a:r>
            <a:endParaRPr lang="en-US" dirty="0">
              <a:latin typeface="Calibri" charset="0"/>
            </a:endParaRPr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D278BF6-D335-A243-8E82-00D0794920F5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Calibri" charset="0"/>
              </a:rPr>
              <a:t>In 2014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ICANN Commissioned a report to determine how much the global, interoperable Internet contributes to economic and business success.</a:t>
            </a:r>
          </a:p>
          <a:p>
            <a:pPr>
              <a:spcBef>
                <a:spcPct val="0"/>
              </a:spcBef>
            </a:pPr>
            <a:endParaRPr lang="en-US" dirty="0">
              <a:latin typeface="Calibri" charset="0"/>
            </a:endParaRPr>
          </a:p>
          <a:p>
            <a:pPr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D058AC-6391-1541-AAC3-DD0E7FD7582D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The report introduced the concept of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“e-friction”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.  This is broadly defined as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barriers to Internet access, whether within a country or across national border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.  The results were released at the World Economic Forum in Januar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627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five major causes of e-friction identified in the 2015 update are wealth, population density, the urban-rural population mix, literacy, and English-language skills. Wealth is an important factor, but it does not explain e-friction on its own. The common causes of friction suggest high-potential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002FF9-4628-B146-9948-95257A43069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62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0" y="-68263"/>
            <a:ext cx="9309100" cy="6954838"/>
            <a:chOff x="0" y="-67733"/>
            <a:chExt cx="9309518" cy="6954090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46474"/>
              <a:ext cx="9309518" cy="636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0" y="-67733"/>
              <a:ext cx="9309518" cy="352388"/>
            </a:xfrm>
            <a:prstGeom prst="rect">
              <a:avLst/>
            </a:prstGeom>
            <a:solidFill>
              <a:srgbClr val="06243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5" name="Rectangle 4"/>
            <p:cNvSpPr/>
            <p:nvPr/>
          </p:nvSpPr>
          <p:spPr>
            <a:xfrm>
              <a:off x="0" y="6602226"/>
              <a:ext cx="9309518" cy="284131"/>
            </a:xfrm>
            <a:prstGeom prst="rect">
              <a:avLst/>
            </a:prstGeom>
            <a:solidFill>
              <a:srgbClr val="06243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Rectangle 5"/>
          <p:cNvSpPr/>
          <p:nvPr/>
        </p:nvSpPr>
        <p:spPr>
          <a:xfrm>
            <a:off x="0" y="4130675"/>
            <a:ext cx="9309100" cy="1898650"/>
          </a:xfrm>
          <a:prstGeom prst="rect">
            <a:avLst/>
          </a:prstGeom>
          <a:solidFill>
            <a:srgbClr val="1768B1">
              <a:alpha val="84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0" y="4130675"/>
            <a:ext cx="1697038" cy="189865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7" descr="ICANN_Logo_W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50" y="4565650"/>
            <a:ext cx="1254125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 flipV="1">
            <a:off x="0" y="4130675"/>
            <a:ext cx="9309100" cy="115888"/>
          </a:xfrm>
          <a:prstGeom prst="rect">
            <a:avLst/>
          </a:prstGeom>
          <a:solidFill>
            <a:srgbClr val="0C1F24">
              <a:alpha val="3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059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"/>
          <p:cNvGrpSpPr>
            <a:grpSpLocks/>
          </p:cNvGrpSpPr>
          <p:nvPr/>
        </p:nvGrpSpPr>
        <p:grpSpPr bwMode="auto">
          <a:xfrm>
            <a:off x="0" y="2109788"/>
            <a:ext cx="9197975" cy="4759325"/>
            <a:chOff x="0" y="2110371"/>
            <a:chExt cx="9198524" cy="4759071"/>
          </a:xfrm>
        </p:grpSpPr>
        <p:sp>
          <p:nvSpPr>
            <p:cNvPr id="4" name="Freeform 3"/>
            <p:cNvSpPr/>
            <p:nvPr/>
          </p:nvSpPr>
          <p:spPr>
            <a:xfrm>
              <a:off x="0" y="2110371"/>
              <a:ext cx="9198524" cy="4759071"/>
            </a:xfrm>
            <a:custGeom>
              <a:avLst/>
              <a:gdLst>
                <a:gd name="connsiteX0" fmla="*/ 0 w 9198524"/>
                <a:gd name="connsiteY0" fmla="*/ 0 h 5515904"/>
                <a:gd name="connsiteX1" fmla="*/ 9198524 w 9198524"/>
                <a:gd name="connsiteY1" fmla="*/ 3014506 h 5515904"/>
                <a:gd name="connsiteX2" fmla="*/ 9198524 w 9198524"/>
                <a:gd name="connsiteY2" fmla="*/ 5477421 h 5515904"/>
                <a:gd name="connsiteX3" fmla="*/ 0 w 9198524"/>
                <a:gd name="connsiteY3" fmla="*/ 5515904 h 5515904"/>
                <a:gd name="connsiteX4" fmla="*/ 0 w 9198524"/>
                <a:gd name="connsiteY4" fmla="*/ 0 h 551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98524" h="5515904">
                  <a:moveTo>
                    <a:pt x="0" y="0"/>
                  </a:moveTo>
                  <a:lnTo>
                    <a:pt x="9198524" y="3014506"/>
                  </a:lnTo>
                  <a:lnTo>
                    <a:pt x="9198524" y="5477421"/>
                  </a:lnTo>
                  <a:lnTo>
                    <a:pt x="0" y="5515904"/>
                  </a:lnTo>
                  <a:cubicBezTo>
                    <a:pt x="4276" y="3685821"/>
                    <a:pt x="8553" y="1855738"/>
                    <a:pt x="0" y="0"/>
                  </a:cubicBezTo>
                  <a:close/>
                </a:path>
              </a:pathLst>
            </a:custGeom>
            <a:solidFill>
              <a:srgbClr val="1768B1">
                <a:alpha val="17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5" name="Freeform 4"/>
            <p:cNvSpPr/>
            <p:nvPr/>
          </p:nvSpPr>
          <p:spPr>
            <a:xfrm>
              <a:off x="0" y="3175526"/>
              <a:ext cx="9144546" cy="3693916"/>
            </a:xfrm>
            <a:custGeom>
              <a:avLst/>
              <a:gdLst>
                <a:gd name="connsiteX0" fmla="*/ 6029715 w 6029715"/>
                <a:gd name="connsiteY0" fmla="*/ 0 h 6875638"/>
                <a:gd name="connsiteX1" fmla="*/ 6029715 w 6029715"/>
                <a:gd name="connsiteY1" fmla="*/ 6875638 h 6875638"/>
                <a:gd name="connsiteX2" fmla="*/ 0 w 6029715"/>
                <a:gd name="connsiteY2" fmla="*/ 6875638 h 6875638"/>
                <a:gd name="connsiteX3" fmla="*/ 6029715 w 6029715"/>
                <a:gd name="connsiteY3" fmla="*/ 0 h 687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29715" h="6875638">
                  <a:moveTo>
                    <a:pt x="6029715" y="0"/>
                  </a:moveTo>
                  <a:lnTo>
                    <a:pt x="6029715" y="6875638"/>
                  </a:lnTo>
                  <a:lnTo>
                    <a:pt x="0" y="6875638"/>
                  </a:lnTo>
                  <a:lnTo>
                    <a:pt x="6029715" y="0"/>
                  </a:lnTo>
                  <a:close/>
                </a:path>
              </a:pathLst>
            </a:custGeom>
            <a:solidFill>
              <a:srgbClr val="1768B1">
                <a:alpha val="16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</p:grpSp>
      <p:pic>
        <p:nvPicPr>
          <p:cNvPr id="6" name="Picture 4" descr="foote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8250"/>
            <a:ext cx="9151938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5"/>
          <p:cNvSpPr txBox="1">
            <a:spLocks/>
          </p:cNvSpPr>
          <p:nvPr/>
        </p:nvSpPr>
        <p:spPr>
          <a:xfrm>
            <a:off x="6826250" y="641508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Source Sans Pro"/>
                <a:cs typeface="Source Sans Pro"/>
              </a:rPr>
              <a:t>   |   </a:t>
            </a:r>
            <a:fld id="{3C7BD3A0-636C-C144-B66D-FF4D072B7D08}" type="slidenum">
              <a:rPr lang="en-US" sz="1400" smtClean="0">
                <a:solidFill>
                  <a:srgbClr val="FFFFFF"/>
                </a:solidFill>
                <a:latin typeface="Source Sans Pro"/>
                <a:cs typeface="Source Sans Pro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Source Sans Pro"/>
              <a:cs typeface="Source Sans Pro"/>
            </a:endParaRPr>
          </a:p>
        </p:txBody>
      </p:sp>
      <p:sp>
        <p:nvSpPr>
          <p:cNvPr id="35" name="Title 19"/>
          <p:cNvSpPr>
            <a:spLocks noGrp="1"/>
          </p:cNvSpPr>
          <p:nvPr>
            <p:ph type="title"/>
          </p:nvPr>
        </p:nvSpPr>
        <p:spPr>
          <a:xfrm>
            <a:off x="0" y="-7478"/>
            <a:ext cx="9144000" cy="710655"/>
          </a:xfrm>
          <a:prstGeom prst="rect">
            <a:avLst/>
          </a:prstGeom>
          <a:solidFill>
            <a:srgbClr val="1768B1"/>
          </a:solidFill>
        </p:spPr>
        <p:txBody>
          <a:bodyPr vert="horz"/>
          <a:lstStyle>
            <a:lvl1pPr marL="292100" algn="l">
              <a:lnSpc>
                <a:spcPts val="3980"/>
              </a:lnSpc>
              <a:defRPr sz="3200" b="0" i="0" baseline="0">
                <a:solidFill>
                  <a:schemeClr val="bg1"/>
                </a:solidFill>
                <a:latin typeface="Source Sans Pro"/>
                <a:cs typeface="Source Sans Pro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422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foote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8250"/>
            <a:ext cx="9151938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 txBox="1">
            <a:spLocks/>
          </p:cNvSpPr>
          <p:nvPr/>
        </p:nvSpPr>
        <p:spPr>
          <a:xfrm>
            <a:off x="6826250" y="641508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latin typeface="Source Sans Pro"/>
                <a:cs typeface="Source Sans Pro"/>
              </a:rPr>
              <a:t>   |   </a:t>
            </a:r>
            <a:fld id="{38447A78-2B7A-6146-B596-7270D60F66F8}" type="slidenum">
              <a:rPr lang="en-US" sz="1400" smtClean="0">
                <a:solidFill>
                  <a:srgbClr val="FFFFFF"/>
                </a:solidFill>
                <a:latin typeface="Source Sans Pro"/>
                <a:cs typeface="Source Sans Pro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Source Sans Pro"/>
              <a:cs typeface="Source Sans Pro"/>
            </a:endParaRPr>
          </a:p>
        </p:txBody>
      </p:sp>
      <p:sp>
        <p:nvSpPr>
          <p:cNvPr id="13" name="Title 19"/>
          <p:cNvSpPr>
            <a:spLocks noGrp="1"/>
          </p:cNvSpPr>
          <p:nvPr>
            <p:ph type="title"/>
          </p:nvPr>
        </p:nvSpPr>
        <p:spPr>
          <a:xfrm>
            <a:off x="0" y="-7478"/>
            <a:ext cx="9144000" cy="710655"/>
          </a:xfrm>
          <a:prstGeom prst="rect">
            <a:avLst/>
          </a:prstGeom>
          <a:solidFill>
            <a:srgbClr val="1768B1"/>
          </a:solidFill>
        </p:spPr>
        <p:txBody>
          <a:bodyPr vert="horz"/>
          <a:lstStyle>
            <a:lvl1pPr marL="292100" algn="l">
              <a:lnSpc>
                <a:spcPts val="3980"/>
              </a:lnSpc>
              <a:defRPr sz="3200" b="0" i="0" baseline="0">
                <a:solidFill>
                  <a:schemeClr val="bg1"/>
                </a:solidFill>
                <a:latin typeface="Source Sans Pro"/>
                <a:cs typeface="Source Sans Pro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71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187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9" r="3873"/>
          <a:stretch>
            <a:fillRect/>
          </a:stretch>
        </p:blipFill>
        <p:spPr bwMode="auto">
          <a:xfrm>
            <a:off x="-60325" y="-7938"/>
            <a:ext cx="9296400" cy="6880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569913" y="2377590"/>
            <a:ext cx="6256337" cy="17287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52228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agenda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29" r="19888"/>
          <a:stretch>
            <a:fillRect/>
          </a:stretch>
        </p:blipFill>
        <p:spPr bwMode="auto">
          <a:xfrm>
            <a:off x="0" y="-3175"/>
            <a:ext cx="9144000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569913" y="2377590"/>
            <a:ext cx="6256337" cy="17287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62792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agenda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06" r="19518"/>
          <a:stretch>
            <a:fillRect/>
          </a:stretch>
        </p:blipFill>
        <p:spPr bwMode="auto">
          <a:xfrm>
            <a:off x="0" y="0"/>
            <a:ext cx="91567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569913" y="2377590"/>
            <a:ext cx="6256337" cy="17287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600">
                <a:solidFill>
                  <a:schemeClr val="bg1"/>
                </a:solidFill>
                <a:latin typeface="Source Sans Pro Light"/>
                <a:cs typeface="Source Sans Pro Ligh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76536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1" r:id="rId4"/>
    <p:sldLayoutId id="2147483675" r:id="rId5"/>
    <p:sldLayoutId id="2147483676" r:id="rId6"/>
    <p:sldLayoutId id="2147483677" r:id="rId7"/>
  </p:sldLayoutIdLst>
  <p:hf hd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50" Type="http://schemas.openxmlformats.org/officeDocument/2006/relationships/slideLayout" Target="../slideLayouts/slideLayout3.xml"/><Relationship Id="rId51" Type="http://schemas.openxmlformats.org/officeDocument/2006/relationships/notesSlide" Target="../notesSlides/notesSlide12.xml"/><Relationship Id="rId52" Type="http://schemas.openxmlformats.org/officeDocument/2006/relationships/oleObject" Target="../embeddings/oleObject1.bin"/><Relationship Id="rId53" Type="http://schemas.openxmlformats.org/officeDocument/2006/relationships/image" Target="../media/image10.emf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Relationship Id="rId46" Type="http://schemas.openxmlformats.org/officeDocument/2006/relationships/tags" Target="../tags/tag45.xml"/><Relationship Id="rId47" Type="http://schemas.openxmlformats.org/officeDocument/2006/relationships/tags" Target="../tags/tag46.xml"/><Relationship Id="rId48" Type="http://schemas.openxmlformats.org/officeDocument/2006/relationships/tags" Target="../tags/tag47.xml"/><Relationship Id="rId49" Type="http://schemas.openxmlformats.org/officeDocument/2006/relationships/tags" Target="../tags/tag4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1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.png"/><Relationship Id="rId20" Type="http://schemas.openxmlformats.org/officeDocument/2006/relationships/hyperlink" Target="http://upload.wikimedia.org/wikipedia/commons/b/b4/Flag_of_Turkey.svg" TargetMode="External"/><Relationship Id="rId21" Type="http://schemas.openxmlformats.org/officeDocument/2006/relationships/image" Target="../media/image22.png"/><Relationship Id="rId22" Type="http://schemas.openxmlformats.org/officeDocument/2006/relationships/hyperlink" Target="http://upload.wikimedia.org/wikipedia/commons/4/49/Flag_of_Ukraine.svg" TargetMode="External"/><Relationship Id="rId23" Type="http://schemas.openxmlformats.org/officeDocument/2006/relationships/image" Target="../media/image23.png"/><Relationship Id="rId24" Type="http://schemas.openxmlformats.org/officeDocument/2006/relationships/hyperlink" Target="http://upload.wikimedia.org/wikipedia/commons/4/4c/Flag_of_Sweden.svg" TargetMode="External"/><Relationship Id="rId25" Type="http://schemas.openxmlformats.org/officeDocument/2006/relationships/image" Target="../media/image24.png"/><Relationship Id="rId10" Type="http://schemas.openxmlformats.org/officeDocument/2006/relationships/image" Target="../media/image15.png"/><Relationship Id="rId11" Type="http://schemas.openxmlformats.org/officeDocument/2006/relationships/image" Target="../media/image16.png"/><Relationship Id="rId12" Type="http://schemas.openxmlformats.org/officeDocument/2006/relationships/image" Target="../media/image17.png"/><Relationship Id="rId13" Type="http://schemas.openxmlformats.org/officeDocument/2006/relationships/image" Target="../media/image18.png"/><Relationship Id="rId14" Type="http://schemas.openxmlformats.org/officeDocument/2006/relationships/hyperlink" Target="http://upload.wikimedia.org/wikipedia/commons/4/41/Flag_of_India.svg" TargetMode="External"/><Relationship Id="rId15" Type="http://schemas.openxmlformats.org/officeDocument/2006/relationships/image" Target="../media/image19.png"/><Relationship Id="rId16" Type="http://schemas.openxmlformats.org/officeDocument/2006/relationships/hyperlink" Target="http://upload.wikimedia.org/wikipedia/commons/archive/f/fa/20091103090801!Flag_of_the_People's_Republic_of_China.svg" TargetMode="External"/><Relationship Id="rId17" Type="http://schemas.openxmlformats.org/officeDocument/2006/relationships/image" Target="../media/image20.png"/><Relationship Id="rId18" Type="http://schemas.openxmlformats.org/officeDocument/2006/relationships/hyperlink" Target="http://upload.wikimedia.org/wikipedia/commons/0/09/Flag_of_South_Korea.svg" TargetMode="External"/><Relationship Id="rId19" Type="http://schemas.openxmlformats.org/officeDocument/2006/relationships/image" Target="../media/image21.png"/><Relationship Id="rId1" Type="http://schemas.openxmlformats.org/officeDocument/2006/relationships/vmlDrawing" Target="../drawings/vmlDrawing2.vml"/><Relationship Id="rId2" Type="http://schemas.openxmlformats.org/officeDocument/2006/relationships/tags" Target="../tags/tag49.xml"/><Relationship Id="rId3" Type="http://schemas.openxmlformats.org/officeDocument/2006/relationships/tags" Target="../tags/tag50.xml"/><Relationship Id="rId4" Type="http://schemas.openxmlformats.org/officeDocument/2006/relationships/slideLayout" Target="../slideLayouts/slideLayout3.xml"/><Relationship Id="rId5" Type="http://schemas.openxmlformats.org/officeDocument/2006/relationships/notesSlide" Target="../notesSlides/notesSlide14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13.emf"/><Relationship Id="rId8" Type="http://schemas.openxmlformats.org/officeDocument/2006/relationships/hyperlink" Target="http://upload.wikimedia.org/wikipedia/commons/c/c3/Flag_of_France.svg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0" Type="http://schemas.openxmlformats.org/officeDocument/2006/relationships/tags" Target="../tags/tag69.xml"/><Relationship Id="rId21" Type="http://schemas.openxmlformats.org/officeDocument/2006/relationships/tags" Target="../tags/tag70.xml"/><Relationship Id="rId22" Type="http://schemas.openxmlformats.org/officeDocument/2006/relationships/tags" Target="../tags/tag71.xml"/><Relationship Id="rId23" Type="http://schemas.openxmlformats.org/officeDocument/2006/relationships/tags" Target="../tags/tag72.xml"/><Relationship Id="rId24" Type="http://schemas.openxmlformats.org/officeDocument/2006/relationships/tags" Target="../tags/tag73.xml"/><Relationship Id="rId25" Type="http://schemas.openxmlformats.org/officeDocument/2006/relationships/tags" Target="../tags/tag74.xml"/><Relationship Id="rId26" Type="http://schemas.openxmlformats.org/officeDocument/2006/relationships/tags" Target="../tags/tag75.xml"/><Relationship Id="rId27" Type="http://schemas.openxmlformats.org/officeDocument/2006/relationships/tags" Target="../tags/tag76.xml"/><Relationship Id="rId28" Type="http://schemas.openxmlformats.org/officeDocument/2006/relationships/tags" Target="../tags/tag77.xml"/><Relationship Id="rId29" Type="http://schemas.openxmlformats.org/officeDocument/2006/relationships/tags" Target="../tags/tag78.xml"/><Relationship Id="rId1" Type="http://schemas.openxmlformats.org/officeDocument/2006/relationships/vmlDrawing" Target="../drawings/vmlDrawing3.vml"/><Relationship Id="rId2" Type="http://schemas.openxmlformats.org/officeDocument/2006/relationships/tags" Target="../tags/tag51.xml"/><Relationship Id="rId3" Type="http://schemas.openxmlformats.org/officeDocument/2006/relationships/tags" Target="../tags/tag52.xml"/><Relationship Id="rId4" Type="http://schemas.openxmlformats.org/officeDocument/2006/relationships/tags" Target="../tags/tag53.xml"/><Relationship Id="rId5" Type="http://schemas.openxmlformats.org/officeDocument/2006/relationships/tags" Target="../tags/tag54.xml"/><Relationship Id="rId30" Type="http://schemas.openxmlformats.org/officeDocument/2006/relationships/tags" Target="../tags/tag79.xml"/><Relationship Id="rId31" Type="http://schemas.openxmlformats.org/officeDocument/2006/relationships/tags" Target="../tags/tag80.xml"/><Relationship Id="rId32" Type="http://schemas.openxmlformats.org/officeDocument/2006/relationships/tags" Target="../tags/tag81.xml"/><Relationship Id="rId9" Type="http://schemas.openxmlformats.org/officeDocument/2006/relationships/tags" Target="../tags/tag58.xml"/><Relationship Id="rId6" Type="http://schemas.openxmlformats.org/officeDocument/2006/relationships/tags" Target="../tags/tag55.xml"/><Relationship Id="rId7" Type="http://schemas.openxmlformats.org/officeDocument/2006/relationships/tags" Target="../tags/tag56.xml"/><Relationship Id="rId8" Type="http://schemas.openxmlformats.org/officeDocument/2006/relationships/tags" Target="../tags/tag57.xml"/><Relationship Id="rId33" Type="http://schemas.openxmlformats.org/officeDocument/2006/relationships/tags" Target="../tags/tag82.xml"/><Relationship Id="rId34" Type="http://schemas.openxmlformats.org/officeDocument/2006/relationships/tags" Target="../tags/tag83.xml"/><Relationship Id="rId35" Type="http://schemas.openxmlformats.org/officeDocument/2006/relationships/tags" Target="../tags/tag84.xml"/><Relationship Id="rId36" Type="http://schemas.openxmlformats.org/officeDocument/2006/relationships/slideLayout" Target="../slideLayouts/slideLayout3.xml"/><Relationship Id="rId10" Type="http://schemas.openxmlformats.org/officeDocument/2006/relationships/tags" Target="../tags/tag59.xml"/><Relationship Id="rId11" Type="http://schemas.openxmlformats.org/officeDocument/2006/relationships/tags" Target="../tags/tag60.xml"/><Relationship Id="rId12" Type="http://schemas.openxmlformats.org/officeDocument/2006/relationships/tags" Target="../tags/tag61.xml"/><Relationship Id="rId13" Type="http://schemas.openxmlformats.org/officeDocument/2006/relationships/tags" Target="../tags/tag62.xml"/><Relationship Id="rId14" Type="http://schemas.openxmlformats.org/officeDocument/2006/relationships/tags" Target="../tags/tag63.xml"/><Relationship Id="rId15" Type="http://schemas.openxmlformats.org/officeDocument/2006/relationships/tags" Target="../tags/tag64.xml"/><Relationship Id="rId16" Type="http://schemas.openxmlformats.org/officeDocument/2006/relationships/tags" Target="../tags/tag65.xml"/><Relationship Id="rId17" Type="http://schemas.openxmlformats.org/officeDocument/2006/relationships/tags" Target="../tags/tag66.xml"/><Relationship Id="rId18" Type="http://schemas.openxmlformats.org/officeDocument/2006/relationships/tags" Target="../tags/tag67.xml"/><Relationship Id="rId19" Type="http://schemas.openxmlformats.org/officeDocument/2006/relationships/tags" Target="../tags/tag68.xml"/><Relationship Id="rId37" Type="http://schemas.openxmlformats.org/officeDocument/2006/relationships/notesSlide" Target="../notesSlides/notesSlide15.xml"/><Relationship Id="rId38" Type="http://schemas.openxmlformats.org/officeDocument/2006/relationships/oleObject" Target="../embeddings/oleObject3.bin"/><Relationship Id="rId39" Type="http://schemas.openxmlformats.org/officeDocument/2006/relationships/image" Target="../media/image25.emf"/><Relationship Id="rId40" Type="http://schemas.openxmlformats.org/officeDocument/2006/relationships/oleObject" Target="../embeddings/oleObject4.bin"/><Relationship Id="rId41" Type="http://schemas.openxmlformats.org/officeDocument/2006/relationships/image" Target="../media/image26.emf"/><Relationship Id="rId42" Type="http://schemas.openxmlformats.org/officeDocument/2006/relationships/image" Target="../media/image27.png"/><Relationship Id="rId43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96.xml"/><Relationship Id="rId14" Type="http://schemas.openxmlformats.org/officeDocument/2006/relationships/tags" Target="../tags/tag97.xml"/><Relationship Id="rId15" Type="http://schemas.openxmlformats.org/officeDocument/2006/relationships/tags" Target="../tags/tag98.xml"/><Relationship Id="rId16" Type="http://schemas.openxmlformats.org/officeDocument/2006/relationships/tags" Target="../tags/tag99.xml"/><Relationship Id="rId17" Type="http://schemas.openxmlformats.org/officeDocument/2006/relationships/tags" Target="../tags/tag100.xml"/><Relationship Id="rId18" Type="http://schemas.openxmlformats.org/officeDocument/2006/relationships/tags" Target="../tags/tag101.xml"/><Relationship Id="rId19" Type="http://schemas.openxmlformats.org/officeDocument/2006/relationships/tags" Target="../tags/tag102.xml"/><Relationship Id="rId63" Type="http://schemas.openxmlformats.org/officeDocument/2006/relationships/image" Target="../media/image29.emf"/><Relationship Id="rId50" Type="http://schemas.openxmlformats.org/officeDocument/2006/relationships/tags" Target="../tags/tag133.xml"/><Relationship Id="rId51" Type="http://schemas.openxmlformats.org/officeDocument/2006/relationships/tags" Target="../tags/tag134.xml"/><Relationship Id="rId52" Type="http://schemas.openxmlformats.org/officeDocument/2006/relationships/tags" Target="../tags/tag135.xml"/><Relationship Id="rId53" Type="http://schemas.openxmlformats.org/officeDocument/2006/relationships/tags" Target="../tags/tag136.xml"/><Relationship Id="rId54" Type="http://schemas.openxmlformats.org/officeDocument/2006/relationships/tags" Target="../tags/tag137.xml"/><Relationship Id="rId55" Type="http://schemas.openxmlformats.org/officeDocument/2006/relationships/tags" Target="../tags/tag138.xml"/><Relationship Id="rId56" Type="http://schemas.openxmlformats.org/officeDocument/2006/relationships/tags" Target="../tags/tag139.xml"/><Relationship Id="rId57" Type="http://schemas.openxmlformats.org/officeDocument/2006/relationships/tags" Target="../tags/tag140.xml"/><Relationship Id="rId58" Type="http://schemas.openxmlformats.org/officeDocument/2006/relationships/tags" Target="../tags/tag141.xml"/><Relationship Id="rId59" Type="http://schemas.openxmlformats.org/officeDocument/2006/relationships/tags" Target="../tags/tag142.xml"/><Relationship Id="rId40" Type="http://schemas.openxmlformats.org/officeDocument/2006/relationships/tags" Target="../tags/tag123.xml"/><Relationship Id="rId41" Type="http://schemas.openxmlformats.org/officeDocument/2006/relationships/tags" Target="../tags/tag124.xml"/><Relationship Id="rId42" Type="http://schemas.openxmlformats.org/officeDocument/2006/relationships/tags" Target="../tags/tag125.xml"/><Relationship Id="rId43" Type="http://schemas.openxmlformats.org/officeDocument/2006/relationships/tags" Target="../tags/tag126.xml"/><Relationship Id="rId44" Type="http://schemas.openxmlformats.org/officeDocument/2006/relationships/tags" Target="../tags/tag127.xml"/><Relationship Id="rId45" Type="http://schemas.openxmlformats.org/officeDocument/2006/relationships/tags" Target="../tags/tag128.xml"/><Relationship Id="rId46" Type="http://schemas.openxmlformats.org/officeDocument/2006/relationships/tags" Target="../tags/tag129.xml"/><Relationship Id="rId47" Type="http://schemas.openxmlformats.org/officeDocument/2006/relationships/tags" Target="../tags/tag130.xml"/><Relationship Id="rId48" Type="http://schemas.openxmlformats.org/officeDocument/2006/relationships/tags" Target="../tags/tag131.xml"/><Relationship Id="rId49" Type="http://schemas.openxmlformats.org/officeDocument/2006/relationships/tags" Target="../tags/tag132.xml"/><Relationship Id="rId1" Type="http://schemas.openxmlformats.org/officeDocument/2006/relationships/vmlDrawing" Target="../drawings/vmlDrawing4.vml"/><Relationship Id="rId2" Type="http://schemas.openxmlformats.org/officeDocument/2006/relationships/tags" Target="../tags/tag85.xml"/><Relationship Id="rId3" Type="http://schemas.openxmlformats.org/officeDocument/2006/relationships/tags" Target="../tags/tag86.xml"/><Relationship Id="rId4" Type="http://schemas.openxmlformats.org/officeDocument/2006/relationships/tags" Target="../tags/tag87.xml"/><Relationship Id="rId5" Type="http://schemas.openxmlformats.org/officeDocument/2006/relationships/tags" Target="../tags/tag88.xml"/><Relationship Id="rId6" Type="http://schemas.openxmlformats.org/officeDocument/2006/relationships/tags" Target="../tags/tag89.xml"/><Relationship Id="rId7" Type="http://schemas.openxmlformats.org/officeDocument/2006/relationships/tags" Target="../tags/tag90.xml"/><Relationship Id="rId8" Type="http://schemas.openxmlformats.org/officeDocument/2006/relationships/tags" Target="../tags/tag91.xml"/><Relationship Id="rId9" Type="http://schemas.openxmlformats.org/officeDocument/2006/relationships/tags" Target="../tags/tag92.xml"/><Relationship Id="rId30" Type="http://schemas.openxmlformats.org/officeDocument/2006/relationships/tags" Target="../tags/tag113.xml"/><Relationship Id="rId31" Type="http://schemas.openxmlformats.org/officeDocument/2006/relationships/tags" Target="../tags/tag114.xml"/><Relationship Id="rId32" Type="http://schemas.openxmlformats.org/officeDocument/2006/relationships/tags" Target="../tags/tag115.xml"/><Relationship Id="rId33" Type="http://schemas.openxmlformats.org/officeDocument/2006/relationships/tags" Target="../tags/tag116.xml"/><Relationship Id="rId34" Type="http://schemas.openxmlformats.org/officeDocument/2006/relationships/tags" Target="../tags/tag117.xml"/><Relationship Id="rId35" Type="http://schemas.openxmlformats.org/officeDocument/2006/relationships/tags" Target="../tags/tag118.xml"/><Relationship Id="rId36" Type="http://schemas.openxmlformats.org/officeDocument/2006/relationships/tags" Target="../tags/tag119.xml"/><Relationship Id="rId37" Type="http://schemas.openxmlformats.org/officeDocument/2006/relationships/tags" Target="../tags/tag120.xml"/><Relationship Id="rId38" Type="http://schemas.openxmlformats.org/officeDocument/2006/relationships/tags" Target="../tags/tag121.xml"/><Relationship Id="rId39" Type="http://schemas.openxmlformats.org/officeDocument/2006/relationships/tags" Target="../tags/tag122.xml"/><Relationship Id="rId20" Type="http://schemas.openxmlformats.org/officeDocument/2006/relationships/tags" Target="../tags/tag103.xml"/><Relationship Id="rId21" Type="http://schemas.openxmlformats.org/officeDocument/2006/relationships/tags" Target="../tags/tag104.xml"/><Relationship Id="rId22" Type="http://schemas.openxmlformats.org/officeDocument/2006/relationships/tags" Target="../tags/tag105.xml"/><Relationship Id="rId23" Type="http://schemas.openxmlformats.org/officeDocument/2006/relationships/tags" Target="../tags/tag106.xml"/><Relationship Id="rId24" Type="http://schemas.openxmlformats.org/officeDocument/2006/relationships/tags" Target="../tags/tag107.xml"/><Relationship Id="rId25" Type="http://schemas.openxmlformats.org/officeDocument/2006/relationships/tags" Target="../tags/tag108.xml"/><Relationship Id="rId26" Type="http://schemas.openxmlformats.org/officeDocument/2006/relationships/tags" Target="../tags/tag109.xml"/><Relationship Id="rId27" Type="http://schemas.openxmlformats.org/officeDocument/2006/relationships/tags" Target="../tags/tag110.xml"/><Relationship Id="rId28" Type="http://schemas.openxmlformats.org/officeDocument/2006/relationships/tags" Target="../tags/tag111.xml"/><Relationship Id="rId29" Type="http://schemas.openxmlformats.org/officeDocument/2006/relationships/tags" Target="../tags/tag112.xml"/><Relationship Id="rId60" Type="http://schemas.openxmlformats.org/officeDocument/2006/relationships/tags" Target="../tags/tag143.xml"/><Relationship Id="rId61" Type="http://schemas.openxmlformats.org/officeDocument/2006/relationships/slideLayout" Target="../slideLayouts/slideLayout3.xml"/><Relationship Id="rId62" Type="http://schemas.openxmlformats.org/officeDocument/2006/relationships/oleObject" Target="../embeddings/oleObject5.bin"/><Relationship Id="rId10" Type="http://schemas.openxmlformats.org/officeDocument/2006/relationships/tags" Target="../tags/tag93.xml"/><Relationship Id="rId11" Type="http://schemas.openxmlformats.org/officeDocument/2006/relationships/tags" Target="../tags/tag94.xml"/><Relationship Id="rId12" Type="http://schemas.openxmlformats.org/officeDocument/2006/relationships/tags" Target="../tags/tag9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g"/><Relationship Id="rId5" Type="http://schemas.openxmlformats.org/officeDocument/2006/relationships/hyperlink" Target="http://goo.gl/91NkW8" TargetMode="External"/><Relationship Id="rId1" Type="http://schemas.openxmlformats.org/officeDocument/2006/relationships/slideLayout" Target="../slideLayouts/slideLayout3.xml"/><Relationship Id="rId2" Type="http://schemas.openxmlformats.org/officeDocument/2006/relationships/hyperlink" Target="http://goo.gl/lmBDtr" TargetMode="External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3.png"/><Relationship Id="rId12" Type="http://schemas.openxmlformats.org/officeDocument/2006/relationships/hyperlink" Target="twitter.com%5Cicann" TargetMode="External"/><Relationship Id="rId13" Type="http://schemas.openxmlformats.org/officeDocument/2006/relationships/image" Target="../media/image34.png"/><Relationship Id="rId14" Type="http://schemas.openxmlformats.org/officeDocument/2006/relationships/hyperlink" Target="gplus.to%5Cicann" TargetMode="External"/><Relationship Id="rId15" Type="http://schemas.openxmlformats.org/officeDocument/2006/relationships/image" Target="../media/image35.png"/><Relationship Id="rId16" Type="http://schemas.openxmlformats.org/officeDocument/2006/relationships/hyperlink" Target="weibo.com%5CICANNorg" TargetMode="External"/><Relationship Id="rId17" Type="http://schemas.openxmlformats.org/officeDocument/2006/relationships/image" Target="../media/image36.png"/><Relationship Id="rId18" Type="http://schemas.openxmlformats.org/officeDocument/2006/relationships/hyperlink" Target="slideshare.net%5Cicannpresentations" TargetMode="External"/><Relationship Id="rId19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2.emf"/><Relationship Id="rId4" Type="http://schemas.openxmlformats.org/officeDocument/2006/relationships/hyperlink" Target="flickr.com%5Cphotos%5Cicann" TargetMode="External"/><Relationship Id="rId5" Type="http://schemas.openxmlformats.org/officeDocument/2006/relationships/image" Target="../media/image30.png"/><Relationship Id="rId6" Type="http://schemas.openxmlformats.org/officeDocument/2006/relationships/hyperlink" Target="facebook.com%5Cicannorg" TargetMode="External"/><Relationship Id="rId7" Type="http://schemas.openxmlformats.org/officeDocument/2006/relationships/image" Target="../media/image31.png"/><Relationship Id="rId8" Type="http://schemas.openxmlformats.org/officeDocument/2006/relationships/hyperlink" Target="youtube.com%5Cuser%5CICANNnews" TargetMode="External"/><Relationship Id="rId9" Type="http://schemas.openxmlformats.org/officeDocument/2006/relationships/image" Target="../media/image32.png"/><Relationship Id="rId10" Type="http://schemas.openxmlformats.org/officeDocument/2006/relationships/hyperlink" Target="linkedin.com%5Ccompany%5Cicann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extBox 5"/>
          <p:cNvSpPr txBox="1">
            <a:spLocks noChangeArrowheads="1"/>
          </p:cNvSpPr>
          <p:nvPr/>
        </p:nvSpPr>
        <p:spPr bwMode="auto">
          <a:xfrm>
            <a:off x="2076450" y="4271963"/>
            <a:ext cx="6712180" cy="129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lnSpc>
                <a:spcPts val="4700"/>
              </a:lnSpc>
            </a:pPr>
            <a:r>
              <a:rPr lang="en-US" sz="4000" dirty="0" smtClean="0">
                <a:solidFill>
                  <a:srgbClr val="FFFFFF"/>
                </a:solidFill>
                <a:latin typeface="Source Sans Pro" charset="0"/>
                <a:cs typeface="Source Sans Pro" charset="0"/>
              </a:rPr>
              <a:t>Greasing the Wheels of the Internet Economy</a:t>
            </a:r>
            <a:endParaRPr lang="en-US" sz="4000" dirty="0">
              <a:solidFill>
                <a:srgbClr val="FFFFFF"/>
              </a:solidFill>
              <a:latin typeface="Source Sans Pro" charset="0"/>
              <a:cs typeface="Source Sans Pro" charset="0"/>
            </a:endParaRPr>
          </a:p>
        </p:txBody>
      </p:sp>
      <p:sp>
        <p:nvSpPr>
          <p:cNvPr id="8194" name="TextBox 3"/>
          <p:cNvSpPr txBox="1">
            <a:spLocks noChangeArrowheads="1"/>
          </p:cNvSpPr>
          <p:nvPr/>
        </p:nvSpPr>
        <p:spPr bwMode="auto">
          <a:xfrm>
            <a:off x="2076450" y="5557462"/>
            <a:ext cx="637825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  <a:latin typeface="Source Sans Pro" charset="0"/>
                <a:cs typeface="Source Sans Pro" charset="0"/>
              </a:rPr>
              <a:t>Pierre Dandjinou, VP Africa</a:t>
            </a:r>
            <a:r>
              <a:rPr lang="en-US" dirty="0" smtClean="0">
                <a:solidFill>
                  <a:srgbClr val="FFFFFF"/>
                </a:solidFill>
                <a:latin typeface="Source Sans Pro" charset="0"/>
                <a:cs typeface="Source Sans Pro" charset="0"/>
              </a:rPr>
              <a:t>|  AFICTA, Abuja</a:t>
            </a:r>
            <a:r>
              <a:rPr lang="en-US" dirty="0" smtClean="0">
                <a:solidFill>
                  <a:srgbClr val="FFFFFF"/>
                </a:solidFill>
                <a:latin typeface="Source Sans Pro" charset="0"/>
                <a:ea typeface="Wingdings" charset="0"/>
                <a:sym typeface="Wingdings" charset="0"/>
              </a:rPr>
              <a:t>|  10 June 2015e</a:t>
            </a:r>
            <a:endParaRPr lang="en-US" dirty="0">
              <a:solidFill>
                <a:srgbClr val="FFFFFF"/>
              </a:solidFill>
              <a:latin typeface="Source Sans Pro" charset="0"/>
              <a:cs typeface="Source Sans Pro" charset="0"/>
            </a:endParaRPr>
          </a:p>
        </p:txBody>
      </p:sp>
      <p:sp>
        <p:nvSpPr>
          <p:cNvPr id="8195" name="TextBox 4"/>
          <p:cNvSpPr txBox="1">
            <a:spLocks noChangeArrowheads="1"/>
          </p:cNvSpPr>
          <p:nvPr/>
        </p:nvSpPr>
        <p:spPr bwMode="auto">
          <a:xfrm>
            <a:off x="6145213" y="627063"/>
            <a:ext cx="1857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in Sources of E-Friction</a:t>
            </a:r>
            <a:endParaRPr lang="en-US" dirty="0"/>
          </a:p>
        </p:txBody>
      </p:sp>
      <p:sp>
        <p:nvSpPr>
          <p:cNvPr id="4" name="Pie 3"/>
          <p:cNvSpPr/>
          <p:nvPr/>
        </p:nvSpPr>
        <p:spPr>
          <a:xfrm flipV="1">
            <a:off x="2173289" y="1200150"/>
            <a:ext cx="4605337" cy="4637088"/>
          </a:xfrm>
          <a:prstGeom prst="pie">
            <a:avLst>
              <a:gd name="adj1" fmla="val 9273681"/>
              <a:gd name="adj2" fmla="val 16301501"/>
            </a:avLst>
          </a:prstGeom>
          <a:solidFill>
            <a:schemeClr val="accent4"/>
          </a:solidFill>
          <a:ln w="1270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  <a:latin typeface="Source Sans Pro"/>
              <a:cs typeface="Source Sans Pro"/>
            </a:endParaRPr>
          </a:p>
        </p:txBody>
      </p:sp>
      <p:sp>
        <p:nvSpPr>
          <p:cNvPr id="5" name="Pie 4"/>
          <p:cNvSpPr/>
          <p:nvPr/>
        </p:nvSpPr>
        <p:spPr>
          <a:xfrm flipV="1">
            <a:off x="2173289" y="1200150"/>
            <a:ext cx="4605337" cy="4637088"/>
          </a:xfrm>
          <a:prstGeom prst="pie">
            <a:avLst>
              <a:gd name="adj1" fmla="val 16230648"/>
              <a:gd name="adj2" fmla="val 2050651"/>
            </a:avLst>
          </a:prstGeom>
          <a:solidFill>
            <a:srgbClr val="B2B2B2"/>
          </a:solidFill>
          <a:ln w="1270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  <a:latin typeface="Source Sans Pro"/>
              <a:cs typeface="Source Sans Pro"/>
            </a:endParaRPr>
          </a:p>
        </p:txBody>
      </p:sp>
      <p:sp>
        <p:nvSpPr>
          <p:cNvPr id="7" name="Pie 6"/>
          <p:cNvSpPr/>
          <p:nvPr/>
        </p:nvSpPr>
        <p:spPr>
          <a:xfrm flipV="1">
            <a:off x="2173289" y="1200150"/>
            <a:ext cx="4605337" cy="4637088"/>
          </a:xfrm>
          <a:prstGeom prst="pie">
            <a:avLst>
              <a:gd name="adj1" fmla="val 1406452"/>
              <a:gd name="adj2" fmla="val 9349107"/>
            </a:avLst>
          </a:prstGeom>
          <a:solidFill>
            <a:schemeClr val="accent3"/>
          </a:solidFill>
          <a:ln w="1270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  <a:latin typeface="Source Sans Pro"/>
              <a:cs typeface="Source Sans Pro"/>
            </a:endParaRPr>
          </a:p>
        </p:txBody>
      </p:sp>
      <p:sp>
        <p:nvSpPr>
          <p:cNvPr id="8" name="Oval 7"/>
          <p:cNvSpPr/>
          <p:nvPr/>
        </p:nvSpPr>
        <p:spPr>
          <a:xfrm>
            <a:off x="3059113" y="2108200"/>
            <a:ext cx="2833687" cy="2820988"/>
          </a:xfrm>
          <a:prstGeom prst="ellipse">
            <a:avLst/>
          </a:prstGeom>
          <a:solidFill>
            <a:schemeClr val="accent1"/>
          </a:solidFill>
          <a:ln w="1270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dirty="0">
                <a:solidFill>
                  <a:srgbClr val="FFFFFF"/>
                </a:solidFill>
                <a:latin typeface="Source Sans Pro"/>
                <a:cs typeface="Source Sans Pro"/>
              </a:rPr>
              <a:t>Infrastructure</a:t>
            </a:r>
            <a:br>
              <a:rPr lang="en-GB" sz="2400" b="1" dirty="0">
                <a:solidFill>
                  <a:srgbClr val="FFFFFF"/>
                </a:solidFill>
                <a:latin typeface="Source Sans Pro"/>
                <a:cs typeface="Source Sans Pro"/>
              </a:rPr>
            </a:br>
            <a:r>
              <a:rPr lang="en-GB" sz="1400" dirty="0">
                <a:solidFill>
                  <a:srgbClr val="FFFFFF"/>
                </a:solidFill>
                <a:latin typeface="Source Sans Pro"/>
                <a:cs typeface="Source Sans Pro"/>
              </a:rPr>
              <a:t>Weighted 3/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00" dirty="0">
              <a:solidFill>
                <a:schemeClr val="bg1"/>
              </a:solidFill>
              <a:latin typeface="Source Sans Pro"/>
              <a:cs typeface="Source Sans Pro"/>
            </a:endParaRPr>
          </a:p>
        </p:txBody>
      </p:sp>
      <p:sp>
        <p:nvSpPr>
          <p:cNvPr id="9" name="Rectangle 8"/>
          <p:cNvSpPr/>
          <p:nvPr/>
        </p:nvSpPr>
        <p:spPr>
          <a:xfrm rot="5400000" flipH="1">
            <a:off x="3882246" y="665917"/>
            <a:ext cx="1186407" cy="2023321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endParaRPr lang="en-GB" sz="2400" b="1" dirty="0">
              <a:solidFill>
                <a:srgbClr val="FFFFFF"/>
              </a:solidFill>
              <a:latin typeface="Source Sans Pro"/>
              <a:cs typeface="Source Sans Pro"/>
            </a:endParaRP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endParaRPr lang="en-GB" sz="2400" b="1" dirty="0">
              <a:solidFill>
                <a:srgbClr val="FFFFFF"/>
              </a:solidFill>
              <a:latin typeface="Source Sans Pro"/>
              <a:cs typeface="Source Sans Pro"/>
            </a:endParaRP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400" b="1" dirty="0">
                <a:solidFill>
                  <a:srgbClr val="FFFFFF"/>
                </a:solidFill>
                <a:latin typeface="Source Sans Pro"/>
                <a:cs typeface="Source Sans Pro"/>
              </a:rPr>
              <a:t>Industry</a:t>
            </a: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400" dirty="0">
                <a:solidFill>
                  <a:srgbClr val="FFFFFF"/>
                </a:solidFill>
                <a:latin typeface="Source Sans Pro"/>
                <a:cs typeface="Source Sans Pro"/>
              </a:rPr>
              <a:t>Weighted 1/6</a:t>
            </a:r>
            <a:endParaRPr lang="en-GB" sz="3200" dirty="0">
              <a:solidFill>
                <a:srgbClr val="FFFFFF"/>
              </a:solidFill>
              <a:latin typeface="Source Sans Pro"/>
              <a:cs typeface="Source Sans Pro"/>
            </a:endParaRP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endParaRPr lang="en-GB" sz="2400" b="1" dirty="0">
              <a:solidFill>
                <a:srgbClr val="FFFFFF"/>
              </a:solidFill>
              <a:latin typeface="Source Sans Pro"/>
              <a:cs typeface="Source Sans Pro"/>
            </a:endParaRP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endParaRPr lang="en-GB" sz="2400" b="1" dirty="0">
              <a:solidFill>
                <a:srgbClr val="FFFFFF"/>
              </a:solidFill>
              <a:latin typeface="Source Sans Pro"/>
              <a:cs typeface="Source Sans Pro"/>
            </a:endParaRPr>
          </a:p>
        </p:txBody>
      </p:sp>
      <p:sp>
        <p:nvSpPr>
          <p:cNvPr id="10" name="Rectangle 9"/>
          <p:cNvSpPr/>
          <p:nvPr/>
        </p:nvSpPr>
        <p:spPr>
          <a:xfrm rot="9051169" flipH="1">
            <a:off x="2368284" y="3465866"/>
            <a:ext cx="1149902" cy="1899500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400" b="1" dirty="0">
                <a:solidFill>
                  <a:srgbClr val="FFFFFF"/>
                </a:solidFill>
                <a:latin typeface="Source Sans Pro"/>
                <a:cs typeface="Source Sans Pro"/>
              </a:rPr>
              <a:t>Information</a:t>
            </a: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400" dirty="0">
                <a:solidFill>
                  <a:srgbClr val="FFFFFF"/>
                </a:solidFill>
                <a:latin typeface="Source Sans Pro"/>
                <a:cs typeface="Source Sans Pro"/>
              </a:rPr>
              <a:t>Weighted 1/6</a:t>
            </a:r>
          </a:p>
        </p:txBody>
      </p:sp>
      <p:sp>
        <p:nvSpPr>
          <p:cNvPr id="11" name="Rectangle 10"/>
          <p:cNvSpPr/>
          <p:nvPr/>
        </p:nvSpPr>
        <p:spPr>
          <a:xfrm rot="1965674" flipH="1">
            <a:off x="5408348" y="3312417"/>
            <a:ext cx="1149902" cy="2246698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2400" b="1" dirty="0">
                <a:solidFill>
                  <a:srgbClr val="FFFFFF"/>
                </a:solidFill>
                <a:latin typeface="Source Sans Pro"/>
                <a:cs typeface="Source Sans Pro"/>
              </a:rPr>
              <a:t>Individual</a:t>
            </a:r>
          </a:p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600" dirty="0">
                <a:solidFill>
                  <a:srgbClr val="FFFFFF"/>
                </a:solidFill>
                <a:latin typeface="Source Sans Pro"/>
                <a:cs typeface="Source Sans Pro"/>
              </a:rPr>
              <a:t>Weighted 1/6</a:t>
            </a:r>
            <a:endParaRPr lang="en-GB" sz="1200" dirty="0">
              <a:solidFill>
                <a:srgbClr val="FFFFFF"/>
              </a:solidFill>
              <a:latin typeface="Source Sans Pro"/>
              <a:cs typeface="Source Sans Pro"/>
            </a:endParaRPr>
          </a:p>
        </p:txBody>
      </p:sp>
      <p:sp>
        <p:nvSpPr>
          <p:cNvPr id="12" name="Oval Callout 11"/>
          <p:cNvSpPr>
            <a:spLocks noChangeArrowheads="1"/>
          </p:cNvSpPr>
          <p:nvPr/>
        </p:nvSpPr>
        <p:spPr bwMode="auto">
          <a:xfrm>
            <a:off x="6072188" y="1058863"/>
            <a:ext cx="2433637" cy="1211262"/>
          </a:xfrm>
          <a:prstGeom prst="wedgeEllipseCallout">
            <a:avLst>
              <a:gd name="adj1" fmla="val -56116"/>
              <a:gd name="adj2" fmla="val 76662"/>
            </a:avLst>
          </a:prstGeom>
          <a:solidFill>
            <a:schemeClr val="accent3">
              <a:alpha val="45999"/>
            </a:schemeClr>
          </a:solidFill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123026">
                <a:alpha val="39999"/>
              </a:srgbClr>
            </a:outerShdw>
          </a:effectLst>
        </p:spPr>
        <p:txBody>
          <a:bodyPr lIns="0" tIns="90000" rIns="0" bIns="90000" anchor="ctr"/>
          <a:lstStyle/>
          <a:p>
            <a:pPr marL="0" lvl="1">
              <a:buClr>
                <a:schemeClr val="tx2"/>
              </a:buClr>
            </a:pPr>
            <a:r>
              <a:rPr lang="en-GB" sz="1600" b="1" i="1" dirty="0">
                <a:solidFill>
                  <a:schemeClr val="bg1"/>
                </a:solidFill>
                <a:latin typeface="Source Sans Pro"/>
                <a:cs typeface="Source Sans Pro"/>
              </a:rPr>
              <a:t>Frictions holding back companies from adopting the Internet</a:t>
            </a:r>
          </a:p>
        </p:txBody>
      </p:sp>
      <p:sp>
        <p:nvSpPr>
          <p:cNvPr id="13" name="Oval Callout 12"/>
          <p:cNvSpPr>
            <a:spLocks noChangeArrowheads="1"/>
          </p:cNvSpPr>
          <p:nvPr/>
        </p:nvSpPr>
        <p:spPr bwMode="auto">
          <a:xfrm>
            <a:off x="409576" y="5100638"/>
            <a:ext cx="2532063" cy="1058862"/>
          </a:xfrm>
          <a:prstGeom prst="wedgeEllipseCallout">
            <a:avLst>
              <a:gd name="adj1" fmla="val 45708"/>
              <a:gd name="adj2" fmla="val -60931"/>
            </a:avLst>
          </a:prstGeom>
          <a:solidFill>
            <a:schemeClr val="accent4">
              <a:alpha val="45999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8100" dir="2700000" algn="tl" rotWithShape="0">
              <a:srgbClr val="123026">
                <a:alpha val="39999"/>
              </a:srgbClr>
            </a:outerShdw>
          </a:effectLst>
        </p:spPr>
        <p:txBody>
          <a:bodyPr lIns="0" tIns="90000" rIns="0" bIns="90000" anchor="ctr"/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600" b="1" i="1" dirty="0">
                <a:solidFill>
                  <a:srgbClr val="FFFFFF"/>
                </a:solidFill>
                <a:latin typeface="Source Sans Pro"/>
                <a:ea typeface="+mn-ea"/>
                <a:cs typeface="Source Sans Pro"/>
              </a:rPr>
              <a:t>Frictions related to the availability of content</a:t>
            </a:r>
          </a:p>
        </p:txBody>
      </p:sp>
      <p:sp>
        <p:nvSpPr>
          <p:cNvPr id="14" name="Oval Callout 13"/>
          <p:cNvSpPr>
            <a:spLocks noChangeArrowheads="1"/>
          </p:cNvSpPr>
          <p:nvPr/>
        </p:nvSpPr>
        <p:spPr bwMode="auto">
          <a:xfrm>
            <a:off x="6286501" y="4891088"/>
            <a:ext cx="2647950" cy="1268412"/>
          </a:xfrm>
          <a:prstGeom prst="wedgeEllipseCallout">
            <a:avLst>
              <a:gd name="adj1" fmla="val -52843"/>
              <a:gd name="adj2" fmla="val -63616"/>
            </a:avLst>
          </a:prstGeom>
          <a:solidFill>
            <a:schemeClr val="bg2">
              <a:lumMod val="50000"/>
              <a:alpha val="45999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dist="38100" dir="2700000" algn="tl" rotWithShape="0">
              <a:srgbClr val="123026">
                <a:alpha val="39999"/>
              </a:srgbClr>
            </a:outerShdw>
          </a:effectLst>
        </p:spPr>
        <p:txBody>
          <a:bodyPr lIns="0" tIns="90000" rIns="0" bIns="90000" anchor="ctr"/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600" b="1" i="1" dirty="0">
                <a:solidFill>
                  <a:srgbClr val="FFFFFF"/>
                </a:solidFill>
                <a:latin typeface="Source Sans Pro"/>
                <a:cs typeface="Source Sans Pro"/>
              </a:rPr>
              <a:t>Frictions</a:t>
            </a:r>
            <a:r>
              <a:rPr lang="en-GB" sz="1600" b="1" i="1" dirty="0">
                <a:solidFill>
                  <a:srgbClr val="FFFFFF"/>
                </a:solidFill>
                <a:latin typeface="Source Sans Pro"/>
                <a:ea typeface="+mn-ea"/>
                <a:cs typeface="Source Sans Pro"/>
              </a:rPr>
              <a:t> deterring consumers from online activity</a:t>
            </a:r>
          </a:p>
        </p:txBody>
      </p:sp>
      <p:sp>
        <p:nvSpPr>
          <p:cNvPr id="15" name="Oval Callout 14"/>
          <p:cNvSpPr>
            <a:spLocks noChangeArrowheads="1"/>
          </p:cNvSpPr>
          <p:nvPr/>
        </p:nvSpPr>
        <p:spPr bwMode="auto">
          <a:xfrm>
            <a:off x="409576" y="1562100"/>
            <a:ext cx="2532063" cy="1295400"/>
          </a:xfrm>
          <a:prstGeom prst="wedgeEllipseCallout">
            <a:avLst>
              <a:gd name="adj1" fmla="val 72079"/>
              <a:gd name="adj2" fmla="val 64898"/>
            </a:avLst>
          </a:prstGeom>
          <a:solidFill>
            <a:schemeClr val="accent1">
              <a:alpha val="45999"/>
            </a:schemeClr>
          </a:solidFill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123026">
                <a:alpha val="39999"/>
              </a:srgbClr>
            </a:outerShdw>
          </a:effectLst>
        </p:spPr>
        <p:txBody>
          <a:bodyPr lIns="0" tIns="90000" rIns="0" bIns="90000" anchor="ctr"/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600" b="1" i="1" dirty="0">
                <a:solidFill>
                  <a:schemeClr val="bg1"/>
                </a:solidFill>
                <a:latin typeface="Source Sans Pro"/>
                <a:ea typeface="+mn-ea"/>
                <a:cs typeface="Source Sans Pro"/>
              </a:rPr>
              <a:t>Frictions reducing opportunities to access the </a:t>
            </a:r>
            <a:r>
              <a:rPr lang="en-GB" sz="1600" b="1" i="1" dirty="0" smtClean="0">
                <a:solidFill>
                  <a:schemeClr val="bg1"/>
                </a:solidFill>
                <a:latin typeface="Source Sans Pro"/>
                <a:ea typeface="+mn-ea"/>
                <a:cs typeface="Source Sans Pro"/>
              </a:rPr>
              <a:t>Internet</a:t>
            </a:r>
            <a:endParaRPr lang="en-GB" sz="1600" b="1" i="1" dirty="0">
              <a:solidFill>
                <a:schemeClr val="bg1"/>
              </a:solidFill>
              <a:latin typeface="Source Sans Pro"/>
              <a:ea typeface="+mn-ea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1405779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478"/>
            <a:ext cx="9144000" cy="629778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US" sz="2800" dirty="0"/>
              <a:t>E</a:t>
            </a:r>
            <a:r>
              <a:rPr lang="en-US" sz="2800" dirty="0" smtClean="0"/>
              <a:t>-Friction Index includes 65 countries</a:t>
            </a:r>
            <a:br>
              <a:rPr lang="en-US" sz="2800" dirty="0" smtClean="0"/>
            </a:br>
            <a:r>
              <a:rPr lang="en-US" sz="1600" dirty="0" smtClean="0"/>
              <a:t>Covering ca. 92% of global economy and ca. 81% of global population</a:t>
            </a:r>
            <a:endParaRPr lang="en-US" sz="1600" dirty="0"/>
          </a:p>
        </p:txBody>
      </p:sp>
      <p:graphicFrame>
        <p:nvGraphicFramePr>
          <p:cNvPr id="3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9618449"/>
              </p:ext>
            </p:extLst>
          </p:nvPr>
        </p:nvGraphicFramePr>
        <p:xfrm>
          <a:off x="57150" y="725488"/>
          <a:ext cx="4225924" cy="5359406"/>
        </p:xfrm>
        <a:graphic>
          <a:graphicData uri="http://schemas.openxmlformats.org/drawingml/2006/table">
            <a:tbl>
              <a:tblPr/>
              <a:tblGrid>
                <a:gridCol w="1127429"/>
                <a:gridCol w="619699"/>
                <a:gridCol w="619699"/>
                <a:gridCol w="619699"/>
                <a:gridCol w="619699"/>
                <a:gridCol w="619699"/>
              </a:tblGrid>
              <a:tr h="33527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ntry</a:t>
                      </a:r>
                    </a:p>
                  </a:txBody>
                  <a:tcPr marL="94336" marR="94336" marT="91439" marB="91439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e-Friction score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fra-structure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dustry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dividual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for-mation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. Swede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. Fin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. Denmark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. Switzer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5. Hong Kong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6. United States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7. Ice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8. Norway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9. Netherlands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0. Canad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1. Germany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2. United Kingdom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3. Austr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4. Austral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30</a:t>
                      </a:r>
                      <a:endParaRPr lang="en-GB" sz="800" b="1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5. Singapore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6. Belgium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7. New Zea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chemeClr val="tx1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8. Ire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9. France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0. Eston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35</a:t>
                      </a:r>
                      <a:endParaRPr lang="en-GB" sz="800" b="1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1. Japa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2. Israel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  <a:endParaRPr lang="en-GB" sz="800" b="1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3. Qatar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4. </a:t>
                      </a:r>
                      <a:r>
                        <a:rPr lang="en-GB" sz="800" b="0" i="0" u="none" strike="noStrike" dirty="0" smtClean="0">
                          <a:solidFill>
                            <a:srgbClr val="FFFFFF"/>
                          </a:solidFill>
                          <a:latin typeface="Arial"/>
                        </a:rPr>
                        <a:t>UAE</a:t>
                      </a:r>
                      <a:endParaRPr lang="en-GB" sz="800" b="0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5. Korea, Rep.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6. Sloven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i="0" u="none" strike="noStrike" dirty="0" smtClean="0">
                          <a:solidFill>
                            <a:srgbClr val="0A1F24"/>
                          </a:solidFill>
                          <a:latin typeface="+mn-lt"/>
                        </a:rPr>
                        <a:t>44</a:t>
                      </a:r>
                      <a:endParaRPr lang="en-GB" sz="800" b="1" i="0" u="none" strike="noStrike" dirty="0">
                        <a:solidFill>
                          <a:srgbClr val="0A1F24"/>
                        </a:solidFill>
                        <a:latin typeface="+mn-lt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7. Bahrai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b="1" i="0" u="none" strike="noStrike" dirty="0" smtClean="0">
                          <a:solidFill>
                            <a:srgbClr val="0A1F24"/>
                          </a:solidFill>
                          <a:latin typeface="Arial"/>
                        </a:rPr>
                        <a:t>44</a:t>
                      </a:r>
                      <a:endParaRPr lang="en-GB" sz="800" b="1" i="0" u="none" strike="noStrike" dirty="0">
                        <a:solidFill>
                          <a:srgbClr val="0A1F24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6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. Malays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. Po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0. Portugal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1. Roman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8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7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4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2. Czech Republic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0A1F24"/>
                          </a:solidFill>
                          <a:latin typeface="Arial"/>
                        </a:rPr>
                        <a:t>5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294665"/>
              </p:ext>
            </p:extLst>
          </p:nvPr>
        </p:nvGraphicFramePr>
        <p:xfrm>
          <a:off x="4830763" y="725488"/>
          <a:ext cx="4225924" cy="5516554"/>
        </p:xfrm>
        <a:graphic>
          <a:graphicData uri="http://schemas.openxmlformats.org/drawingml/2006/table">
            <a:tbl>
              <a:tblPr/>
              <a:tblGrid>
                <a:gridCol w="1127429"/>
                <a:gridCol w="619699"/>
                <a:gridCol w="619699"/>
                <a:gridCol w="619699"/>
                <a:gridCol w="619699"/>
                <a:gridCol w="619699"/>
              </a:tblGrid>
              <a:tr h="33529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ntry</a:t>
                      </a:r>
                    </a:p>
                  </a:txBody>
                  <a:tcPr marL="94336" marR="94336" marT="91442" marB="91442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e-Friction score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fra-structure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dustry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dividual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Infor-mation</a:t>
                      </a:r>
                      <a:endParaRPr lang="en-GB" sz="10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3. Spai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4. Panam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5. Hungary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6. Italy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7. Bulgar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8. Greece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9. Ukraine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54</a:t>
                      </a:r>
                      <a:endParaRPr lang="en-GB" sz="800" b="1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0. Kuwait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1. Chile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0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2. Jorda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3. Russ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4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4. Saudi Arab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3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5. Turkey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6. Kazakhsta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7. Philippines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8. Thailand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9. Argentin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9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0. South Afric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1. Mexico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68</a:t>
                      </a:r>
                      <a:endParaRPr lang="en-GB" sz="800" b="1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2. Brazil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3. Chin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4. Morocco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0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5. Venezuel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6. Colomb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7. Keny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  <a:endParaRPr lang="en-GB" sz="800" b="1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0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1" i="0" u="none" strike="noStrike" smtClean="0">
                          <a:solidFill>
                            <a:schemeClr val="bg1"/>
                          </a:solidFill>
                          <a:latin typeface="Arial"/>
                        </a:rPr>
                        <a:t>58. India</a:t>
                      </a:r>
                      <a:endParaRPr lang="en-GB" sz="8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 smtClean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  <a:endParaRPr lang="en-GB" sz="800" b="1" i="0" u="none" strike="noStrike" dirty="0">
                        <a:solidFill>
                          <a:srgbClr val="4D4D4D"/>
                        </a:solidFill>
                        <a:latin typeface="Arial"/>
                      </a:endParaRP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9. Indones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8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0. Peru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4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1. Vietnam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2. Bangladesh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FB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3. Egypt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6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8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4. Pakistan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</a:tr>
              <a:tr h="157008"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b="0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5. Nigeria</a:t>
                      </a:r>
                    </a:p>
                  </a:txBody>
                  <a:tcPr marL="9524" marR="9524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1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9524" marR="9524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77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EA09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800" b="0" i="0" u="none" strike="noStrike" dirty="0">
                          <a:solidFill>
                            <a:srgbClr val="4D4D4D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9524" marR="9524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C77B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11"/>
          <p:cNvGrpSpPr>
            <a:grpSpLocks/>
          </p:cNvGrpSpPr>
          <p:nvPr/>
        </p:nvGrpSpPr>
        <p:grpSpPr bwMode="auto">
          <a:xfrm>
            <a:off x="339725" y="6113463"/>
            <a:ext cx="1136650" cy="90487"/>
            <a:chOff x="892495" y="6529789"/>
            <a:chExt cx="1136335" cy="157005"/>
          </a:xfrm>
        </p:grpSpPr>
        <p:sp>
          <p:nvSpPr>
            <p:cNvPr id="6" name="Rectangle 5"/>
            <p:cNvSpPr/>
            <p:nvPr/>
          </p:nvSpPr>
          <p:spPr>
            <a:xfrm>
              <a:off x="892495" y="6529789"/>
              <a:ext cx="222188" cy="15700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90000" rIns="504000" bIns="9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dirty="0">
                  <a:solidFill>
                    <a:srgbClr val="4D4D4D"/>
                  </a:solidFill>
                  <a:cs typeface="Arial" pitchFamily="34" charset="0"/>
                </a:rPr>
                <a:t>Top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1121032" y="6529789"/>
              <a:ext cx="222188" cy="15700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00" dirty="0">
                <a:solidFill>
                  <a:srgbClr val="4D4D4D"/>
                </a:solidFill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349568" y="6529789"/>
              <a:ext cx="222188" cy="157005"/>
            </a:xfrm>
            <a:prstGeom prst="rect">
              <a:avLst/>
            </a:prstGeom>
            <a:solidFill>
              <a:srgbClr val="F9EFBD"/>
            </a:solidFill>
            <a:ln w="9525">
              <a:solidFill>
                <a:srgbClr val="F9EFB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00" dirty="0">
                <a:solidFill>
                  <a:srgbClr val="4D4D4D"/>
                </a:solidFill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578105" y="6529789"/>
              <a:ext cx="222188" cy="157005"/>
            </a:xfrm>
            <a:prstGeom prst="rect">
              <a:avLst/>
            </a:prstGeom>
            <a:solidFill>
              <a:srgbClr val="F5C77B"/>
            </a:solidFill>
            <a:ln w="9525">
              <a:solidFill>
                <a:srgbClr val="F5C77B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00" dirty="0">
                <a:solidFill>
                  <a:srgbClr val="4D4D4D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806642" y="6529789"/>
              <a:ext cx="222188" cy="157005"/>
            </a:xfrm>
            <a:prstGeom prst="rect">
              <a:avLst/>
            </a:prstGeom>
            <a:solidFill>
              <a:srgbClr val="CEA09D"/>
            </a:solidFill>
            <a:ln w="9525">
              <a:solidFill>
                <a:srgbClr val="CEA09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90000" rIns="0" bIns="90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800" dirty="0">
                  <a:solidFill>
                    <a:srgbClr val="4D4D4D"/>
                  </a:solidFill>
                  <a:cs typeface="Arial" pitchFamily="34" charset="0"/>
                </a:rPr>
                <a:t>      Bottom - Quintiles</a:t>
              </a:r>
            </a:p>
          </p:txBody>
        </p:sp>
      </p:grp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114300" y="6000750"/>
            <a:ext cx="7292975" cy="328613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GB" sz="800" dirty="0">
                <a:solidFill>
                  <a:srgbClr val="4D4D4D"/>
                </a:solidFill>
                <a:cs typeface="Arial" pitchFamily="34" charset="0"/>
              </a:rPr>
              <a:t>Note: Best e-Friction available is 0, worst is 100</a:t>
            </a:r>
          </a:p>
        </p:txBody>
      </p:sp>
    </p:spTree>
    <p:extLst>
      <p:ext uri="{BB962C8B-B14F-4D97-AF65-F5344CB8AC3E}">
        <p14:creationId xmlns:p14="http://schemas.microsoft.com/office/powerpoint/2010/main" val="1705525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/>
              <a:t>Significant Positive Economic Impact </a:t>
            </a:r>
            <a:endParaRPr lang="en-US" dirty="0"/>
          </a:p>
        </p:txBody>
      </p:sp>
      <p:graphicFrame>
        <p:nvGraphicFramePr>
          <p:cNvPr id="4" name="Object 6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470969"/>
              </p:ext>
            </p:extLst>
          </p:nvPr>
        </p:nvGraphicFramePr>
        <p:xfrm>
          <a:off x="1270000" y="1849438"/>
          <a:ext cx="6946900" cy="3263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4" name="Chart" r:id="rId52" imgW="6946900" imgH="3263900" progId="MSGraph.Chart.8">
                  <p:embed followColorScheme="full"/>
                </p:oleObj>
              </mc:Choice>
              <mc:Fallback>
                <p:oleObj name="Chart" r:id="rId52" imgW="6946900" imgH="32639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70000" y="1849438"/>
                        <a:ext cx="6946900" cy="3263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8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135063" y="4933950"/>
            <a:ext cx="1825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0%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7" name="Text Placeholder 127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35063" y="1885950"/>
            <a:ext cx="1825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8%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8" name="Text Placeholder 12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135063" y="2647950"/>
            <a:ext cx="1825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6%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9" name="Text Placeholder 20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187575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7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0" name="Text Placeholder 12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35063" y="3409950"/>
            <a:ext cx="1825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4%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1" name="Text Placeholder 124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35063" y="4171950"/>
            <a:ext cx="1825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2%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2" name="Text Placeholder 20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863975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fld id="{DD8C910D-10BE-4723-9E30-DF5CA5816896}" type="datetime'''''5''''''''''''''''''0'''''">
              <a:rPr lang="en-US" sz="1000">
                <a:solidFill>
                  <a:srgbClr val="000000"/>
                </a:solidFill>
              </a:rPr>
              <a:pPr algn="ctr"/>
              <a:t>50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3" name="Text Placeholder 21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80376" y="5127625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4" name="Text Placeholder 21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207250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1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5" name="Text Placeholder 211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69050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2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6" name="Text Placeholder 209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30850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3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7" name="Text Placeholder 20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702175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4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8" name="Text Placeholder 46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49375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sz="1000" dirty="0">
                <a:solidFill>
                  <a:srgbClr val="000000"/>
                </a:solidFill>
              </a:rPr>
              <a:t>80</a:t>
            </a:r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9" name="Text Placeholder 20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25775" y="5127625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GB" sz="1000" dirty="0">
                <a:solidFill>
                  <a:srgbClr val="000000"/>
                </a:solidFill>
                <a:sym typeface="Arial" pitchFamily="34" charset="0"/>
              </a:rPr>
              <a:t>60</a:t>
            </a:r>
          </a:p>
        </p:txBody>
      </p:sp>
      <p:cxnSp>
        <p:nvCxnSpPr>
          <p:cNvPr id="20" name="Straight Connector 19"/>
          <p:cNvCxnSpPr/>
          <p:nvPr>
            <p:custDataLst>
              <p:tags r:id="rId17"/>
            </p:custDataLst>
          </p:nvPr>
        </p:nvCxnSpPr>
        <p:spPr bwMode="gray">
          <a:xfrm flipV="1">
            <a:off x="1724026" y="3105152"/>
            <a:ext cx="5191125" cy="14573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8"/>
            </p:custDataLst>
          </p:nvPr>
        </p:nvCxnSpPr>
        <p:spPr bwMode="gray">
          <a:xfrm flipH="1" flipV="1">
            <a:off x="2505076" y="4221164"/>
            <a:ext cx="34925" cy="31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9"/>
            </p:custDataLst>
          </p:nvPr>
        </p:nvCxnSpPr>
        <p:spPr bwMode="gray">
          <a:xfrm>
            <a:off x="2476500" y="4156077"/>
            <a:ext cx="0" cy="53975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3" name="Text Placeholder 9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00375" y="4511675"/>
            <a:ext cx="4381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533D7737-CAF3-47B4-ACCE-781F32A75716}" type="datetime'''''''''''''''''''''''Tur''''''k''e''''''''''''y'''''''''''''">
              <a:rPr lang="en-US" sz="1000">
                <a:solidFill>
                  <a:srgbClr val="000000"/>
                </a:solidFill>
              </a:rPr>
              <a:pPr/>
              <a:t>Turkey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4" name="Text Placeholder 94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978651" y="2819400"/>
            <a:ext cx="5064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30317B36-3900-421A-9950-0E3C32C86AB5}" type="datetime'''''''''S''''''''w''''''''e''d''''''''''''''''''''en'">
              <a:rPr lang="en-US" sz="1000">
                <a:solidFill>
                  <a:srgbClr val="000000"/>
                </a:solidFill>
              </a:rPr>
              <a:pPr/>
              <a:t>Sweden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5" name="Text Placeholder 9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108200" y="4003675"/>
            <a:ext cx="738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C2122EC9-3777-498D-8326-F60B2B19F551}" type="datetime'''S''o''''''u''''''''''''t''''''h A''f''''ri''''''''ca'''''''">
              <a:rPr lang="en-US" sz="1000">
                <a:solidFill>
                  <a:srgbClr val="000000"/>
                </a:solidFill>
              </a:rPr>
              <a:pPr/>
              <a:t>South Afric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6" name="Text Placeholder 9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365501" y="4111625"/>
            <a:ext cx="773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AC9EB91D-44F7-423A-8E55-99252FA6E4D1}" type="datetime'Sa''''''u''d''''''''''''''i ''A''r''''''a''''''b''''''i''''a'">
              <a:rPr lang="en-US" sz="1000">
                <a:solidFill>
                  <a:srgbClr val="000000"/>
                </a:solidFill>
              </a:rPr>
              <a:pPr/>
              <a:t>Saudi Arabi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7" name="Text Placeholder 91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63914" y="4310062"/>
            <a:ext cx="4381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97549480-E064-45E2-BF0C-3EFB85255594}" type="datetime'''''''''R''''''''''''''''''us''''''''''''''s''ia'''''''''">
              <a:rPr lang="en-US" sz="1000">
                <a:solidFill>
                  <a:srgbClr val="000000"/>
                </a:solidFill>
              </a:rPr>
              <a:pPr/>
              <a:t>Russi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8" name="Text Placeholder 90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387851" y="3638550"/>
            <a:ext cx="442913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797536EA-FCC8-48E9-8245-3218F6EB3652}" type="datetime'''P''''''''''''''o''''la''''''n''''''''''''''''''d'">
              <a:rPr lang="en-US" sz="1000">
                <a:solidFill>
                  <a:srgbClr val="000000"/>
                </a:solidFill>
              </a:rPr>
              <a:pPr/>
              <a:t>Poland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29" name="Text Placeholder 89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092825" y="3257550"/>
            <a:ext cx="7318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1D6C2B76-EC56-47DA-81CB-4E2107330534}" type="datetime'N''''''e''''''''t''''''h''''e''''r''''la''''''n''d''s'">
              <a:rPr lang="en-US" sz="1000">
                <a:solidFill>
                  <a:srgbClr val="000000"/>
                </a:solidFill>
              </a:rPr>
              <a:pPr/>
              <a:t>Netherlands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0" name="Text Placeholder 88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40001" y="4159250"/>
            <a:ext cx="4524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BB4938EC-00F3-4493-8B02-2A4287D67F8C}" type="datetime'''''''''''''M''e''''''''x''''''''''ic''''''o'">
              <a:rPr lang="en-US" sz="1000">
                <a:solidFill>
                  <a:srgbClr val="000000"/>
                </a:solidFill>
              </a:rPr>
              <a:pPr/>
              <a:t>Mexico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1" name="Text Placeholder 8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27476" y="3343275"/>
            <a:ext cx="723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C592A3A2-159A-4D24-A688-8B105E5D611D}" type="datetime'''Ko''''''''''''''''''''rea,'''''' ''''''''''''''Rep''.'">
              <a:rPr lang="en-US" sz="1000">
                <a:solidFill>
                  <a:srgbClr val="000000"/>
                </a:solidFill>
              </a:rPr>
              <a:pPr/>
              <a:t>Korea, Rep.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2" name="Text Placeholder 86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930775" y="3343275"/>
            <a:ext cx="393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A9B7EC79-601F-467E-88CF-CA9E3D1F2731}" type="datetime'''J''''a''''''''''''''''''''''''''''p''a''''''''n'''''''">
              <a:rPr lang="en-US" sz="1000">
                <a:solidFill>
                  <a:srgbClr val="000000"/>
                </a:solidFill>
              </a:rPr>
              <a:pPr/>
              <a:t>Japan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3" name="Text Placeholder 85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073526" y="3943350"/>
            <a:ext cx="2825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EE2BC71C-4D62-47ED-8A59-B6DD9748DF27}" type="datetime'I''''''''''''''''''''''t''''''''''''''''''''a''l''''''''y'''''">
              <a:rPr lang="en-US" sz="1000">
                <a:solidFill>
                  <a:srgbClr val="000000"/>
                </a:solidFill>
              </a:rPr>
              <a:pPr/>
              <a:t>Italy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4" name="Text Placeholder 84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635125" y="4749800"/>
            <a:ext cx="596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C6A95523-0C80-41E5-9690-119725E97FFC}" type="datetime'''In''''''''''d''o''''''''''n''e''s''''''i''''a'''''''''">
              <a:rPr lang="en-US" sz="1000">
                <a:solidFill>
                  <a:srgbClr val="000000"/>
                </a:solidFill>
              </a:rPr>
              <a:pPr/>
              <a:t>Indonesi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5" name="Text Placeholder 8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622425" y="4470400"/>
            <a:ext cx="3238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1305FB2A-D778-43EE-A488-322EBEB9E7CB}" type="datetime'''''''''''''''''''''''In''''''''''''''''''''''''''dia'''''''">
              <a:rPr lang="en-US" sz="1000">
                <a:solidFill>
                  <a:srgbClr val="000000"/>
                </a:solidFill>
              </a:rPr>
              <a:pPr/>
              <a:t>Indi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6" name="Text Placeholder 8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416675" y="3533775"/>
            <a:ext cx="6810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E2FDEE2A-A015-4DAB-A940-818AE605C1E9}" type="datetime'''Ho''ng'''''''''''''''' K''''''o''ng'''''">
              <a:rPr lang="en-US" sz="1000">
                <a:solidFill>
                  <a:srgbClr val="000000"/>
                </a:solidFill>
              </a:rPr>
              <a:pPr/>
              <a:t>Hong Kong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7" name="Text Placeholder 81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425825" y="3832225"/>
            <a:ext cx="465138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05A75DDE-A0EE-484A-94F1-C087FBF51F23}" type="datetime'''''''''G''r''''''e''''''''''e''''''''c''''e'''">
              <a:rPr lang="en-US" sz="1000">
                <a:solidFill>
                  <a:srgbClr val="000000"/>
                </a:solidFill>
              </a:rPr>
              <a:pPr/>
              <a:t>Greece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8" name="Text Placeholder 80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686426" y="3959225"/>
            <a:ext cx="571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47E94DF2-D22E-4F32-B7ED-0158630E733D}" type="datetime'''''''''G''e''''''rm''''''''''''''''''a''''n''y'''''''''">
              <a:rPr lang="en-US" sz="1000">
                <a:solidFill>
                  <a:srgbClr val="000000"/>
                </a:solidFill>
              </a:rPr>
              <a:pPr/>
              <a:t>Germany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39" name="Text Placeholder 79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016500" y="4044950"/>
            <a:ext cx="444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EE6C7888-7DE2-48AC-9230-165D46CC7E85}" type="datetime'''''''F''''''r''a''''''n''''''''''''c''''e'''''''''''''''">
              <a:rPr lang="en-US" sz="1000">
                <a:solidFill>
                  <a:srgbClr val="000000"/>
                </a:solidFill>
              </a:rPr>
              <a:pPr/>
              <a:t>France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40" name="Text Placeholder 28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908925" y="5318125"/>
            <a:ext cx="1222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r>
              <a:rPr lang="en-US" sz="1000" dirty="0">
                <a:solidFill>
                  <a:srgbClr val="000000"/>
                </a:solidFill>
                <a:sym typeface="+mn-lt" charset="0"/>
              </a:rPr>
              <a:t>e-Friction score, 2013</a:t>
            </a:r>
            <a:endParaRPr lang="en-GB" sz="1000" dirty="0">
              <a:solidFill>
                <a:srgbClr val="000000"/>
              </a:solidFill>
              <a:sym typeface="+mn-lt" charset="0"/>
            </a:endParaRPr>
          </a:p>
        </p:txBody>
      </p:sp>
      <p:sp useBgFill="1">
        <p:nvSpPr>
          <p:cNvPr id="41" name="Text Placeholder 77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435725" y="2514600"/>
            <a:ext cx="5651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C14A074F-8DA3-4A09-8573-9E697A15EE1A}" type="datetime'''''''De''''''n''''''''''ma''''''''''r''''''''''''''''''k'''">
              <a:rPr lang="en-US" sz="1000">
                <a:solidFill>
                  <a:srgbClr val="000000"/>
                </a:solidFill>
              </a:rPr>
              <a:pPr/>
              <a:t>Denmark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2" name="Text Placeholder 76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228976" y="3571875"/>
            <a:ext cx="9366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F3594C3D-0492-40E0-A8F6-926C9437C0A8}" type="datetime'''''Czec''h'''' ''''''Re''''p''''u''bl''''''''ic'''''''''">
              <a:rPr lang="en-US" sz="1000">
                <a:solidFill>
                  <a:srgbClr val="000000"/>
                </a:solidFill>
              </a:rPr>
              <a:pPr/>
              <a:t>Czech Republic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3" name="Text Placeholder 75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133600" y="4492625"/>
            <a:ext cx="381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97DC59B1-6049-4536-8A7A-09AFD0E21441}" type="datetime'''''Ch''''''''''i''''n''''''''''''''''''''''a'''''''''''">
              <a:rPr lang="en-US" sz="1000">
                <a:solidFill>
                  <a:srgbClr val="000000"/>
                </a:solidFill>
              </a:rPr>
              <a:pPr/>
              <a:t>Chin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4" name="Text Placeholder 74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054726" y="3779837"/>
            <a:ext cx="492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2942E0BE-4395-4E70-B986-0CE024B693D4}" type="datetime'''C''''a''n''''''''''a''''''''''''d''''''''a'''">
              <a:rPr lang="en-US" sz="1000">
                <a:solidFill>
                  <a:srgbClr val="000000"/>
                </a:solidFill>
              </a:rPr>
              <a:pPr/>
              <a:t>Canad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5" name="Text Placeholder 7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951038" y="4159250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706559DF-FE36-4E3B-ABC1-C150FEA87107}" type="datetime'''''''''''''B''r''''''''''''''a''''''''''''''''z''il'''''''''">
              <a:rPr lang="en-US" sz="1000">
                <a:solidFill>
                  <a:srgbClr val="000000"/>
                </a:solidFill>
              </a:rPr>
              <a:pPr/>
              <a:t>Brazil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6" name="Text Placeholder 78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538288" y="4311650"/>
            <a:ext cx="3730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F0B682E6-6B7D-4297-B489-9A925EBB2B17}" type="datetime'''E''''''''''''''g''''yp''''''''''''t'''''''''''''''''''''''">
              <a:rPr lang="en-US" sz="1000">
                <a:solidFill>
                  <a:srgbClr val="000000"/>
                </a:solidFill>
              </a:rPr>
              <a:pPr/>
              <a:t>Egypt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7" name="Text Placeholder 71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626101" y="3619500"/>
            <a:ext cx="5429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BB965658-AA4B-4E4D-A7A0-B738B9A90180}" type="datetime'''''''A''''u''''''''''''''''s''t''r''''''''a''l''i''''a'''">
              <a:rPr lang="en-US" sz="1000">
                <a:solidFill>
                  <a:srgbClr val="000000"/>
                </a:solidFill>
              </a:rPr>
              <a:pPr/>
              <a:t>Australi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48" name="Text Placeholder 70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549525" y="4322762"/>
            <a:ext cx="590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699CE60C-1ECF-4295-BC25-CE38FF97EA39}" type="datetime'''Ar''g''''''''''en''t''''''''''''''i''''''''''''''''''''''na'">
              <a:rPr lang="en-US" sz="1000">
                <a:solidFill>
                  <a:srgbClr val="000000"/>
                </a:solidFill>
              </a:rPr>
              <a:pPr/>
              <a:t>Argentina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49" name="Text Placeholder 29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5876" y="2267744"/>
            <a:ext cx="3009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r>
              <a:rPr lang="en-GB" sz="1000" dirty="0">
                <a:solidFill>
                  <a:srgbClr val="000000"/>
                </a:solidFill>
                <a:sym typeface="+mn-lt" charset="0"/>
              </a:rPr>
              <a:t>2013 digital economy</a:t>
            </a:r>
            <a:r>
              <a:rPr lang="en-GB" sz="1000" baseline="30000" dirty="0">
                <a:solidFill>
                  <a:srgbClr val="000000"/>
                </a:solidFill>
                <a:sym typeface="+mn-lt" charset="0"/>
              </a:rPr>
              <a:t>1</a:t>
            </a:r>
            <a:r>
              <a:rPr lang="en-GB" sz="1000" dirty="0">
                <a:solidFill>
                  <a:srgbClr val="000000"/>
                </a:solidFill>
                <a:sym typeface="+mn-lt" charset="0"/>
              </a:rPr>
              <a:t> </a:t>
            </a:r>
            <a:endParaRPr lang="en-GB" sz="1000" dirty="0" smtClean="0">
              <a:solidFill>
                <a:srgbClr val="000000"/>
              </a:solidFill>
              <a:sym typeface="+mn-lt" charset="0"/>
            </a:endParaRPr>
          </a:p>
          <a:p>
            <a:r>
              <a:rPr lang="en-GB" sz="1000" dirty="0" smtClean="0">
                <a:solidFill>
                  <a:srgbClr val="000000"/>
                </a:solidFill>
                <a:sym typeface="+mn-lt" charset="0"/>
              </a:rPr>
              <a:t>as </a:t>
            </a:r>
            <a:r>
              <a:rPr lang="en-GB" sz="1000" dirty="0">
                <a:solidFill>
                  <a:srgbClr val="000000"/>
                </a:solidFill>
                <a:sym typeface="+mn-lt" charset="0"/>
              </a:rPr>
              <a:t>% of </a:t>
            </a:r>
            <a:r>
              <a:rPr lang="en-GB" sz="1000" dirty="0" smtClean="0">
                <a:solidFill>
                  <a:srgbClr val="000000"/>
                </a:solidFill>
                <a:sym typeface="+mn-lt" charset="0"/>
              </a:rPr>
              <a:t>GDP (</a:t>
            </a:r>
            <a:r>
              <a:rPr lang="en-GB" sz="1000" dirty="0">
                <a:solidFill>
                  <a:srgbClr val="000000"/>
                </a:solidFill>
                <a:sym typeface="+mn-lt" charset="0"/>
              </a:rPr>
              <a:t>est.) </a:t>
            </a:r>
            <a:endParaRPr lang="en-GB" sz="1000" baseline="30000" dirty="0">
              <a:solidFill>
                <a:srgbClr val="000000"/>
              </a:solidFill>
              <a:sym typeface="+mn-lt" charset="0"/>
            </a:endParaRPr>
          </a:p>
        </p:txBody>
      </p:sp>
      <p:sp useBgFill="1">
        <p:nvSpPr>
          <p:cNvPr id="50" name="Text Placeholder 97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367339" y="3454400"/>
            <a:ext cx="808037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DE4245B5-16CA-4053-B23B-B8C421C7FC63}" type="datetime'U''''ni''t''''''''''ed'''''' St''''a''''''''t''e''''''s'''''''">
              <a:rPr lang="en-US" sz="1000">
                <a:solidFill>
                  <a:srgbClr val="000000"/>
                </a:solidFill>
              </a:rPr>
              <a:pPr/>
              <a:t>United States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51" name="Text Placeholder 96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835651" y="2028825"/>
            <a:ext cx="949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53510FC4-D481-49AB-B9CD-CA9704F10489}" type="datetime'''U''n''it''ed K''''i''''ng''do''''''''''''m'''">
              <a:rPr lang="en-US" sz="1000">
                <a:solidFill>
                  <a:srgbClr val="000000"/>
                </a:solidFill>
              </a:rPr>
              <a:pPr/>
              <a:t>United Kingdom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 useBgFill="1">
        <p:nvSpPr>
          <p:cNvPr id="52" name="Text Placeholder 7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841876" y="3686175"/>
            <a:ext cx="508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3D1588DA-935C-435A-B2B2-1B8AF13A43EC}" type="datetime'''''''''''''''''''''B''''''''''''e''''''lg''''i''u''''''''''m'">
              <a:rPr lang="en-US" sz="1000">
                <a:solidFill>
                  <a:srgbClr val="000000"/>
                </a:solidFill>
              </a:rPr>
              <a:pPr/>
              <a:t>Belgium</a:t>
            </a:fld>
            <a:endParaRPr lang="en-GB" sz="1000" dirty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538289" y="2086769"/>
            <a:ext cx="993775" cy="28733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srgbClr val="DC6E00"/>
                </a:solidFill>
                <a:cs typeface="Arial" pitchFamily="34" charset="0"/>
              </a:rPr>
              <a:t>R</a:t>
            </a:r>
            <a:r>
              <a:rPr lang="en-GB" sz="1000" baseline="30000" dirty="0">
                <a:solidFill>
                  <a:srgbClr val="DC6E00"/>
                </a:solidFill>
                <a:cs typeface="Arial" pitchFamily="34" charset="0"/>
              </a:rPr>
              <a:t>2</a:t>
            </a:r>
            <a:r>
              <a:rPr lang="en-GB" sz="1000" dirty="0">
                <a:solidFill>
                  <a:srgbClr val="DC6E00"/>
                </a:solidFill>
                <a:cs typeface="Arial" pitchFamily="34" charset="0"/>
              </a:rPr>
              <a:t>=0.60</a:t>
            </a:r>
            <a:endParaRPr lang="en-GB" sz="1000" baseline="30000" dirty="0">
              <a:solidFill>
                <a:srgbClr val="DC6E00"/>
              </a:solidFill>
              <a:cs typeface="Arial" pitchFamily="34" charset="0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2663826" y="4191000"/>
            <a:ext cx="5815013" cy="14288"/>
          </a:xfrm>
          <a:prstGeom prst="line">
            <a:avLst/>
          </a:prstGeom>
          <a:ln>
            <a:solidFill>
              <a:srgbClr val="C413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5476876" y="3390900"/>
            <a:ext cx="2862263" cy="6350"/>
          </a:xfrm>
          <a:prstGeom prst="line">
            <a:avLst/>
          </a:prstGeom>
          <a:ln>
            <a:solidFill>
              <a:srgbClr val="C413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Pentagon 55"/>
          <p:cNvSpPr/>
          <p:nvPr/>
        </p:nvSpPr>
        <p:spPr>
          <a:xfrm rot="16200000">
            <a:off x="7935119" y="3671095"/>
            <a:ext cx="811212" cy="266700"/>
          </a:xfrm>
          <a:prstGeom prst="homePlate">
            <a:avLst/>
          </a:prstGeom>
          <a:solidFill>
            <a:srgbClr val="E7C7C7"/>
          </a:solidFill>
          <a:ln w="9525">
            <a:solidFill>
              <a:srgbClr val="E7C7C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799388" y="3608388"/>
            <a:ext cx="1084262" cy="417512"/>
          </a:xfrm>
          <a:prstGeom prst="rect">
            <a:avLst/>
          </a:prstGeom>
          <a:solidFill>
            <a:srgbClr val="E7C7C7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000000"/>
                </a:solidFill>
                <a:cs typeface="Arial" pitchFamily="34" charset="0"/>
              </a:rPr>
              <a:t>Equivalent to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b="1" dirty="0">
                <a:solidFill>
                  <a:srgbClr val="000000"/>
                </a:solidFill>
                <a:cs typeface="Arial" pitchFamily="34" charset="0"/>
              </a:rPr>
              <a:t>2.5 pts </a:t>
            </a:r>
            <a:r>
              <a:rPr lang="en-GB" sz="800" dirty="0">
                <a:solidFill>
                  <a:srgbClr val="000000"/>
                </a:solidFill>
                <a:cs typeface="Arial" pitchFamily="34" charset="0"/>
              </a:rPr>
              <a:t>of th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dirty="0">
                <a:solidFill>
                  <a:srgbClr val="000000"/>
                </a:solidFill>
                <a:cs typeface="Arial" pitchFamily="34" charset="0"/>
              </a:rPr>
              <a:t>overall economy</a:t>
            </a:r>
          </a:p>
        </p:txBody>
      </p:sp>
      <p:sp>
        <p:nvSpPr>
          <p:cNvPr id="58" name="Rectangular Callout 57"/>
          <p:cNvSpPr/>
          <p:nvPr/>
        </p:nvSpPr>
        <p:spPr>
          <a:xfrm>
            <a:off x="6326188" y="4291015"/>
            <a:ext cx="1020762" cy="479425"/>
          </a:xfrm>
          <a:prstGeom prst="wedgeRectCallout">
            <a:avLst>
              <a:gd name="adj1" fmla="val -161421"/>
              <a:gd name="adj2" fmla="val -60487"/>
            </a:avLst>
          </a:prstGeom>
          <a:solidFill>
            <a:srgbClr val="E7C7C7"/>
          </a:solidFill>
          <a:ln w="9525">
            <a:solidFill>
              <a:srgbClr val="E7C7C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cs typeface="Arial" pitchFamily="34" charset="0"/>
              </a:rPr>
              <a:t>Bottom quintile e-Friction</a:t>
            </a:r>
          </a:p>
        </p:txBody>
      </p:sp>
      <p:sp>
        <p:nvSpPr>
          <p:cNvPr id="59" name="Rectangular Callout 58"/>
          <p:cNvSpPr/>
          <p:nvPr/>
        </p:nvSpPr>
        <p:spPr>
          <a:xfrm>
            <a:off x="7829551" y="2771775"/>
            <a:ext cx="1020763" cy="457200"/>
          </a:xfrm>
          <a:prstGeom prst="wedgeRectCallout">
            <a:avLst>
              <a:gd name="adj1" fmla="val -118286"/>
              <a:gd name="adj2" fmla="val 75876"/>
            </a:avLst>
          </a:prstGeom>
          <a:solidFill>
            <a:srgbClr val="E7C7C7"/>
          </a:solidFill>
          <a:ln w="9525">
            <a:solidFill>
              <a:srgbClr val="E7C7C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cs typeface="Arial" pitchFamily="34" charset="0"/>
              </a:rPr>
              <a:t>Top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>
                <a:solidFill>
                  <a:srgbClr val="000000"/>
                </a:solidFill>
                <a:cs typeface="Arial" pitchFamily="34" charset="0"/>
              </a:rPr>
              <a:t>quintile e-Friction</a:t>
            </a:r>
          </a:p>
        </p:txBody>
      </p:sp>
      <p:sp>
        <p:nvSpPr>
          <p:cNvPr id="60" name="Left Brace 59"/>
          <p:cNvSpPr/>
          <p:nvPr/>
        </p:nvSpPr>
        <p:spPr>
          <a:xfrm rot="5400000">
            <a:off x="2266950" y="765175"/>
            <a:ext cx="342900" cy="2000250"/>
          </a:xfrm>
          <a:prstGeom prst="leftBrace">
            <a:avLst>
              <a:gd name="adj1" fmla="val 28703"/>
              <a:gd name="adj2" fmla="val 50000"/>
            </a:avLst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1" name="Rectangle 60"/>
          <p:cNvSpPr/>
          <p:nvPr/>
        </p:nvSpPr>
        <p:spPr>
          <a:xfrm>
            <a:off x="1438275" y="1339850"/>
            <a:ext cx="2000250" cy="2413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&gt; 3.2 B unconnected people</a:t>
            </a:r>
          </a:p>
        </p:txBody>
      </p:sp>
    </p:spTree>
    <p:extLst>
      <p:ext uri="{BB962C8B-B14F-4D97-AF65-F5344CB8AC3E}">
        <p14:creationId xmlns:p14="http://schemas.microsoft.com/office/powerpoint/2010/main" val="1043728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478"/>
            <a:ext cx="9144000" cy="1226678"/>
          </a:xfrm>
        </p:spPr>
        <p:txBody>
          <a:bodyPr/>
          <a:lstStyle/>
          <a:p>
            <a:r>
              <a:rPr lang="en-US" dirty="0" smtClean="0"/>
              <a:t>An Analysis of E-Friction &amp; Per Capita GDP Reveals 8 Clusters with Similar Issues</a:t>
            </a:r>
            <a:endParaRPr lang="en-US" dirty="0"/>
          </a:p>
        </p:txBody>
      </p:sp>
      <p:pic>
        <p:nvPicPr>
          <p:cNvPr id="3" name="Picture 2" descr="Exhibit2_Clusters_Which Wheels to Grease_BCG_April2015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31" t="18053" r="2378" b="15416"/>
          <a:stretch/>
        </p:blipFill>
        <p:spPr>
          <a:xfrm>
            <a:off x="508000" y="1587500"/>
            <a:ext cx="8089900" cy="4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593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-Friction and the Private Sector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27554" y="1853652"/>
            <a:ext cx="5707886" cy="313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1283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he Internet and SMEs</a:t>
            </a:r>
            <a:endParaRPr lang="en-US" dirty="0"/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8552289" y="2826027"/>
            <a:ext cx="0" cy="984250"/>
          </a:xfrm>
          <a:prstGeom prst="straightConnector1">
            <a:avLst/>
          </a:prstGeom>
          <a:ln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75"/>
          <p:cNvSpPr txBox="1">
            <a:spLocks noChangeArrowheads="1"/>
          </p:cNvSpPr>
          <p:nvPr/>
        </p:nvSpPr>
        <p:spPr bwMode="auto">
          <a:xfrm>
            <a:off x="8336046" y="3186391"/>
            <a:ext cx="530915" cy="39720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tIns="90000" bIns="90000">
            <a:spAutoFit/>
          </a:bodyPr>
          <a:lstStyle/>
          <a:p>
            <a:pPr algn="ctr"/>
            <a:r>
              <a:rPr lang="en-GB" sz="1400" b="1" dirty="0">
                <a:solidFill>
                  <a:schemeClr val="tx2"/>
                </a:solidFill>
                <a:latin typeface="Source Sans Pro"/>
                <a:cs typeface="Source Sans Pro"/>
              </a:rPr>
              <a:t>+7%</a:t>
            </a:r>
          </a:p>
        </p:txBody>
      </p:sp>
      <p:grpSp>
        <p:nvGrpSpPr>
          <p:cNvPr id="7" name="Group 81"/>
          <p:cNvGrpSpPr>
            <a:grpSpLocks/>
          </p:cNvGrpSpPr>
          <p:nvPr/>
        </p:nvGrpSpPr>
        <p:grpSpPr bwMode="auto">
          <a:xfrm>
            <a:off x="970389" y="2641879"/>
            <a:ext cx="6469063" cy="2105025"/>
            <a:chOff x="1407381" y="3029447"/>
            <a:chExt cx="3745064" cy="1808387"/>
          </a:xfrm>
        </p:grpSpPr>
        <p:sp>
          <p:nvSpPr>
            <p:cNvPr id="8" name="Freeform 7"/>
            <p:cNvSpPr/>
            <p:nvPr/>
          </p:nvSpPr>
          <p:spPr>
            <a:xfrm>
              <a:off x="1407381" y="3029447"/>
              <a:ext cx="3745064" cy="1693829"/>
            </a:xfrm>
            <a:custGeom>
              <a:avLst/>
              <a:gdLst>
                <a:gd name="connsiteX0" fmla="*/ 0 w 3745064"/>
                <a:gd name="connsiteY0" fmla="*/ 731520 h 1693628"/>
                <a:gd name="connsiteX1" fmla="*/ 7951 w 3745064"/>
                <a:gd name="connsiteY1" fmla="*/ 1494845 h 1693628"/>
                <a:gd name="connsiteX2" fmla="*/ 381662 w 3745064"/>
                <a:gd name="connsiteY2" fmla="*/ 500932 h 1693628"/>
                <a:gd name="connsiteX3" fmla="*/ 755374 w 3745064"/>
                <a:gd name="connsiteY3" fmla="*/ 254442 h 1693628"/>
                <a:gd name="connsiteX4" fmla="*/ 1137036 w 3745064"/>
                <a:gd name="connsiteY4" fmla="*/ 691763 h 1693628"/>
                <a:gd name="connsiteX5" fmla="*/ 1494845 w 3745064"/>
                <a:gd name="connsiteY5" fmla="*/ 1693628 h 1693628"/>
                <a:gd name="connsiteX6" fmla="*/ 1884459 w 3745064"/>
                <a:gd name="connsiteY6" fmla="*/ 1025718 h 1693628"/>
                <a:gd name="connsiteX7" fmla="*/ 2258170 w 3745064"/>
                <a:gd name="connsiteY7" fmla="*/ 1160890 h 1693628"/>
                <a:gd name="connsiteX8" fmla="*/ 2623930 w 3745064"/>
                <a:gd name="connsiteY8" fmla="*/ 1224501 h 1693628"/>
                <a:gd name="connsiteX9" fmla="*/ 2997642 w 3745064"/>
                <a:gd name="connsiteY9" fmla="*/ 1351722 h 1693628"/>
                <a:gd name="connsiteX10" fmla="*/ 3371353 w 3745064"/>
                <a:gd name="connsiteY10" fmla="*/ 1351722 h 1693628"/>
                <a:gd name="connsiteX11" fmla="*/ 3745064 w 3745064"/>
                <a:gd name="connsiteY11" fmla="*/ 938254 h 1693628"/>
                <a:gd name="connsiteX12" fmla="*/ 3745064 w 3745064"/>
                <a:gd name="connsiteY12" fmla="*/ 508883 h 1693628"/>
                <a:gd name="connsiteX13" fmla="*/ 3363402 w 3745064"/>
                <a:gd name="connsiteY13" fmla="*/ 1224501 h 1693628"/>
                <a:gd name="connsiteX14" fmla="*/ 2981739 w 3745064"/>
                <a:gd name="connsiteY14" fmla="*/ 1105231 h 1693628"/>
                <a:gd name="connsiteX15" fmla="*/ 2623930 w 3745064"/>
                <a:gd name="connsiteY15" fmla="*/ 540689 h 1693628"/>
                <a:gd name="connsiteX16" fmla="*/ 2226365 w 3745064"/>
                <a:gd name="connsiteY16" fmla="*/ 612250 h 1693628"/>
                <a:gd name="connsiteX17" fmla="*/ 1868556 w 3745064"/>
                <a:gd name="connsiteY17" fmla="*/ 644056 h 1693628"/>
                <a:gd name="connsiteX18" fmla="*/ 1494845 w 3745064"/>
                <a:gd name="connsiteY18" fmla="*/ 1097280 h 1693628"/>
                <a:gd name="connsiteX19" fmla="*/ 1129085 w 3745064"/>
                <a:gd name="connsiteY19" fmla="*/ 333955 h 1693628"/>
                <a:gd name="connsiteX20" fmla="*/ 755374 w 3745064"/>
                <a:gd name="connsiteY20" fmla="*/ 0 h 1693628"/>
                <a:gd name="connsiteX21" fmla="*/ 373711 w 3745064"/>
                <a:gd name="connsiteY21" fmla="*/ 389614 h 1693628"/>
                <a:gd name="connsiteX22" fmla="*/ 0 w 3745064"/>
                <a:gd name="connsiteY22" fmla="*/ 731520 h 1693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45064" h="1693628">
                  <a:moveTo>
                    <a:pt x="0" y="731520"/>
                  </a:moveTo>
                  <a:cubicBezTo>
                    <a:pt x="2650" y="985962"/>
                    <a:pt x="5301" y="1240403"/>
                    <a:pt x="7951" y="1494845"/>
                  </a:cubicBezTo>
                  <a:lnTo>
                    <a:pt x="381662" y="500932"/>
                  </a:lnTo>
                  <a:lnTo>
                    <a:pt x="755374" y="254442"/>
                  </a:lnTo>
                  <a:lnTo>
                    <a:pt x="1137036" y="691763"/>
                  </a:lnTo>
                  <a:lnTo>
                    <a:pt x="1494845" y="1693628"/>
                  </a:lnTo>
                  <a:lnTo>
                    <a:pt x="1884459" y="1025718"/>
                  </a:lnTo>
                  <a:lnTo>
                    <a:pt x="2258170" y="1160890"/>
                  </a:lnTo>
                  <a:lnTo>
                    <a:pt x="2623930" y="1224501"/>
                  </a:lnTo>
                  <a:lnTo>
                    <a:pt x="2997642" y="1351722"/>
                  </a:lnTo>
                  <a:lnTo>
                    <a:pt x="3371353" y="1351722"/>
                  </a:lnTo>
                  <a:lnTo>
                    <a:pt x="3745064" y="938254"/>
                  </a:lnTo>
                  <a:lnTo>
                    <a:pt x="3745064" y="508883"/>
                  </a:lnTo>
                  <a:lnTo>
                    <a:pt x="3363402" y="1224501"/>
                  </a:lnTo>
                  <a:lnTo>
                    <a:pt x="2981739" y="1105231"/>
                  </a:lnTo>
                  <a:lnTo>
                    <a:pt x="2623930" y="540689"/>
                  </a:lnTo>
                  <a:lnTo>
                    <a:pt x="2226365" y="612250"/>
                  </a:lnTo>
                  <a:lnTo>
                    <a:pt x="1868556" y="644056"/>
                  </a:lnTo>
                  <a:lnTo>
                    <a:pt x="1494845" y="1097280"/>
                  </a:lnTo>
                  <a:lnTo>
                    <a:pt x="1129085" y="333955"/>
                  </a:lnTo>
                  <a:lnTo>
                    <a:pt x="755374" y="0"/>
                  </a:lnTo>
                  <a:lnTo>
                    <a:pt x="373711" y="389614"/>
                  </a:lnTo>
                  <a:lnTo>
                    <a:pt x="0" y="73152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dirty="0">
                <a:solidFill>
                  <a:schemeClr val="tx1"/>
                </a:solidFill>
                <a:latin typeface="Source Sans Pro"/>
                <a:cs typeface="Source Sans Pro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5139579" y="3569508"/>
              <a:ext cx="0" cy="1266962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764613" y="4235038"/>
              <a:ext cx="3676" cy="602796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4394242" y="4130026"/>
              <a:ext cx="8272" cy="706444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>
              <a:stCxn id="8" idx="15"/>
            </p:cNvCxnSpPr>
            <p:nvPr/>
          </p:nvCxnSpPr>
          <p:spPr>
            <a:xfrm flipH="1">
              <a:off x="4023871" y="3569508"/>
              <a:ext cx="7352" cy="1266962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3649824" y="4836470"/>
              <a:ext cx="0" cy="0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8" idx="17"/>
            </p:cNvCxnSpPr>
            <p:nvPr/>
          </p:nvCxnSpPr>
          <p:spPr>
            <a:xfrm>
              <a:off x="3275777" y="3673156"/>
              <a:ext cx="3676" cy="1163313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2888864" y="4112297"/>
              <a:ext cx="18381" cy="724173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stCxn id="8" idx="19"/>
            </p:cNvCxnSpPr>
            <p:nvPr/>
          </p:nvCxnSpPr>
          <p:spPr>
            <a:xfrm flipH="1">
              <a:off x="2535036" y="3363575"/>
              <a:ext cx="1838" cy="1472894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8" idx="20"/>
            </p:cNvCxnSpPr>
            <p:nvPr/>
          </p:nvCxnSpPr>
          <p:spPr>
            <a:xfrm>
              <a:off x="2162827" y="3029447"/>
              <a:ext cx="0" cy="1808387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stCxn id="8" idx="21"/>
            </p:cNvCxnSpPr>
            <p:nvPr/>
          </p:nvCxnSpPr>
          <p:spPr>
            <a:xfrm>
              <a:off x="1781428" y="3419491"/>
              <a:ext cx="11028" cy="1416979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stCxn id="8" idx="16"/>
            </p:cNvCxnSpPr>
            <p:nvPr/>
          </p:nvCxnSpPr>
          <p:spPr>
            <a:xfrm>
              <a:off x="3634201" y="3641789"/>
              <a:ext cx="17461" cy="1194681"/>
            </a:xfrm>
            <a:prstGeom prst="line">
              <a:avLst/>
            </a:prstGeom>
            <a:ln>
              <a:solidFill>
                <a:schemeClr val="accent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" name="Object 403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498640"/>
              </p:ext>
            </p:extLst>
          </p:nvPr>
        </p:nvGraphicFramePr>
        <p:xfrm>
          <a:off x="596900" y="1446213"/>
          <a:ext cx="6946900" cy="355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6" name="Chart" r:id="rId6" imgW="6946900" imgH="3556000" progId="MSGraph.Chart.8">
                  <p:embed followColorScheme="full"/>
                </p:oleObj>
              </mc:Choice>
              <mc:Fallback>
                <p:oleObj name="Chart" r:id="rId6" imgW="6946900" imgH="35560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6900" y="1446213"/>
                        <a:ext cx="6946900" cy="355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25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83028" y="1633816"/>
            <a:ext cx="13493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/>
            <a:r>
              <a:rPr lang="en-GB" sz="1200" dirty="0">
                <a:latin typeface="Source Sans Pro"/>
                <a:cs typeface="Source Sans Pro"/>
                <a:sym typeface="+mn-lt" charset="0"/>
              </a:rPr>
              <a:t>%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1033889" y="5399364"/>
            <a:ext cx="6529388" cy="1588"/>
          </a:xfrm>
          <a:prstGeom prst="line">
            <a:avLst/>
          </a:prstGeom>
          <a:ln>
            <a:solidFill>
              <a:schemeClr val="bg2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438578" y="5371144"/>
            <a:ext cx="1804987" cy="1111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i="1" dirty="0">
                <a:solidFill>
                  <a:srgbClr val="4D4D4D"/>
                </a:solidFill>
                <a:latin typeface="Source Sans Pro"/>
                <a:cs typeface="Source Sans Pro"/>
              </a:rPr>
              <a:t>High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i="1" dirty="0">
                <a:solidFill>
                  <a:srgbClr val="4D4D4D"/>
                </a:solidFill>
                <a:latin typeface="Source Sans Pro"/>
                <a:cs typeface="Source Sans Pro"/>
              </a:rPr>
              <a:t>e-Frict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356777" y="5383068"/>
            <a:ext cx="1820862" cy="11112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i="1" dirty="0">
                <a:solidFill>
                  <a:srgbClr val="4D4D4D"/>
                </a:solidFill>
                <a:latin typeface="Source Sans Pro"/>
                <a:cs typeface="Source Sans Pro"/>
              </a:rPr>
              <a:t>Lower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i="1" dirty="0">
                <a:solidFill>
                  <a:srgbClr val="4D4D4D"/>
                </a:solidFill>
                <a:latin typeface="Source Sans Pro"/>
                <a:cs typeface="Source Sans Pro"/>
              </a:rPr>
              <a:t>e-Friction</a:t>
            </a:r>
          </a:p>
        </p:txBody>
      </p:sp>
      <p:sp>
        <p:nvSpPr>
          <p:cNvPr id="25" name="ColumnHeader"/>
          <p:cNvSpPr>
            <a:spLocks noChangeArrowheads="1"/>
          </p:cNvSpPr>
          <p:nvPr/>
        </p:nvSpPr>
        <p:spPr bwMode="gray">
          <a:xfrm>
            <a:off x="7482315" y="2102129"/>
            <a:ext cx="1096963" cy="2825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lIns="36000" tIns="91440" rIns="36000" bIns="36000" anchor="b">
            <a:spAutoFit/>
          </a:bodyPr>
          <a:lstStyle/>
          <a:p>
            <a:pPr algn="ctr"/>
            <a:r>
              <a:rPr lang="en-GB" sz="1000" b="1" dirty="0">
                <a:solidFill>
                  <a:srgbClr val="000000"/>
                </a:solidFill>
                <a:latin typeface="Source Sans Pro"/>
                <a:cs typeface="Source Sans Pro"/>
              </a:rPr>
              <a:t>Average</a:t>
            </a:r>
          </a:p>
        </p:txBody>
      </p:sp>
      <p:sp>
        <p:nvSpPr>
          <p:cNvPr id="26" name="ColumnHeader"/>
          <p:cNvSpPr>
            <a:spLocks noChangeArrowheads="1"/>
          </p:cNvSpPr>
          <p:nvPr/>
        </p:nvSpPr>
        <p:spPr bwMode="gray">
          <a:xfrm>
            <a:off x="974607" y="1072291"/>
            <a:ext cx="6264275" cy="5540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GB" sz="1200" b="1" dirty="0">
                <a:solidFill>
                  <a:srgbClr val="000000"/>
                </a:solidFill>
                <a:latin typeface="Source Sans Pro"/>
                <a:cs typeface="Source Sans Pro"/>
              </a:rPr>
              <a:t>Past three years</a:t>
            </a:r>
          </a:p>
          <a:p>
            <a:pPr algn="ctr"/>
            <a:r>
              <a:rPr lang="en-GB" sz="1200" i="1" dirty="0">
                <a:solidFill>
                  <a:srgbClr val="000000"/>
                </a:solidFill>
                <a:latin typeface="Source Sans Pro"/>
                <a:cs typeface="Source Sans Pro"/>
              </a:rPr>
              <a:t>Cumulative revenue growth</a:t>
            </a:r>
          </a:p>
        </p:txBody>
      </p:sp>
      <p:pic>
        <p:nvPicPr>
          <p:cNvPr id="27" name="flag_france" descr="Datei:Flag of France.sv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gray">
          <a:xfrm>
            <a:off x="6793340" y="4896127"/>
            <a:ext cx="411163" cy="2603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8" name="flag_brazil" descr="Picture2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775378" y="4896127"/>
            <a:ext cx="44767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flag_mexico" descr="Datei:Flag of Mexico.svg">
            <a:hlinkClick r:id="" action="ppaction://hlinkfile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458003" y="4896129"/>
            <a:ext cx="447675" cy="2762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0" name="flag_kenya" descr="Datei:Flag of Kenya.svg">
            <a:hlinkClick r:id="" action="ppaction://hlinkfile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411715" y="4896129"/>
            <a:ext cx="4476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flag_southafrica" descr="500px-Flag_of_South_Africa.svg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4139040" y="4896129"/>
            <a:ext cx="447675" cy="2762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2" name="flag_india" descr="Datei:Flag of India.sv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67190" y="4896127"/>
            <a:ext cx="411163" cy="2651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3" name="flag_china" descr="Datei:Flag of the People's Republic of China.sv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gray">
          <a:xfrm>
            <a:off x="2094340" y="4896129"/>
            <a:ext cx="4476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flag_southkorea" descr="Datei:Flag of South Korea.svg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gray">
          <a:xfrm>
            <a:off x="6148815" y="4896127"/>
            <a:ext cx="411163" cy="2603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35" name="flag_turkey" descr="Datei:Flag of Turkey.svg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gray">
          <a:xfrm>
            <a:off x="4821665" y="4896129"/>
            <a:ext cx="4476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flag_ukraine" descr="Datei:Flag of Ukraine.svg">
            <a:hlinkClick r:id="rId22"/>
          </p:cNvPr>
          <p:cNvPicPr>
            <a:picLocks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5502702" y="4896127"/>
            <a:ext cx="411162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flag_sweden" descr="Datei:Flag of Sweden.svg">
            <a:hlinkClick r:id="rId24"/>
          </p:cNvPr>
          <p:cNvPicPr>
            <a:picLocks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437865" y="4896127"/>
            <a:ext cx="411163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Rectangle 37"/>
          <p:cNvSpPr/>
          <p:nvPr/>
        </p:nvSpPr>
        <p:spPr>
          <a:xfrm>
            <a:off x="7536289" y="2781577"/>
            <a:ext cx="844550" cy="4889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Heav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web us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+18%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536289" y="3497539"/>
            <a:ext cx="844550" cy="488950"/>
          </a:xfrm>
          <a:prstGeom prst="rect">
            <a:avLst/>
          </a:prstGeom>
          <a:solidFill>
            <a:srgbClr val="DC8700"/>
          </a:solidFill>
          <a:ln w="9525">
            <a:solidFill>
              <a:srgbClr val="DC87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Med / ligh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web us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chemeClr val="bg1"/>
                </a:solidFill>
                <a:latin typeface="Source Sans Pro"/>
                <a:cs typeface="Source Sans Pro"/>
              </a:rPr>
              <a:t>+11%</a:t>
            </a:r>
          </a:p>
        </p:txBody>
      </p:sp>
    </p:spTree>
    <p:extLst>
      <p:ext uri="{BB962C8B-B14F-4D97-AF65-F5344CB8AC3E}">
        <p14:creationId xmlns:p14="http://schemas.microsoft.com/office/powerpoint/2010/main" val="40521408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-Friction and the Private Sector</a:t>
            </a:r>
          </a:p>
        </p:txBody>
      </p:sp>
      <p:sp>
        <p:nvSpPr>
          <p:cNvPr id="4" name="Rectangle 3"/>
          <p:cNvSpPr/>
          <p:nvPr/>
        </p:nvSpPr>
        <p:spPr>
          <a:xfrm>
            <a:off x="534600" y="2082077"/>
            <a:ext cx="81522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SzPct val="75000"/>
              <a:buFont typeface="Wingdings" charset="2"/>
              <a:buChar char=""/>
            </a:pPr>
            <a:r>
              <a:rPr lang="en-US" sz="2400" dirty="0" smtClean="0">
                <a:latin typeface="Source Sans Pro"/>
                <a:cs typeface="Source Sans Pro"/>
              </a:rPr>
              <a:t>Today world trade represents about 30% of global GDP, up from 20% form the early days of the Internet.</a:t>
            </a:r>
            <a:endParaRPr lang="en-US" sz="2400" dirty="0">
              <a:latin typeface="Source Sans Pro"/>
              <a:cs typeface="Source Sans Pro"/>
            </a:endParaRPr>
          </a:p>
          <a:p>
            <a:pPr marL="285750" lvl="0" indent="-285750" algn="just">
              <a:buSzPct val="75000"/>
              <a:buFont typeface="Wingdings" charset="2"/>
              <a:buChar char=""/>
            </a:pPr>
            <a:endParaRPr lang="en-US" sz="2400" dirty="0" smtClean="0">
              <a:latin typeface="Source Sans Pro"/>
              <a:cs typeface="Source Sans Pro"/>
            </a:endParaRPr>
          </a:p>
          <a:p>
            <a:pPr marL="285750" lvl="0" indent="-285750" algn="just">
              <a:buSzPct val="75000"/>
              <a:buFont typeface="Wingdings" charset="2"/>
              <a:buChar char=""/>
            </a:pPr>
            <a:endParaRPr lang="en-US" sz="2400" dirty="0">
              <a:latin typeface="Source Sans Pro"/>
              <a:cs typeface="Source Sans Pro"/>
            </a:endParaRPr>
          </a:p>
          <a:p>
            <a:pPr marL="285750" lvl="0" indent="-285750" algn="just">
              <a:buSzPct val="75000"/>
              <a:buFont typeface="Wingdings" charset="2"/>
              <a:buChar char=""/>
            </a:pPr>
            <a:r>
              <a:rPr lang="en-US" sz="2400" dirty="0" smtClean="0">
                <a:latin typeface="Source Sans Pro"/>
                <a:cs typeface="Source Sans Pro"/>
              </a:rPr>
              <a:t>The experience of SMEs seeking to do more online illustrates how the Internet is shaping the future of world trade and contributing to its growth.</a:t>
            </a:r>
            <a:endParaRPr lang="en-US" sz="2400" dirty="0">
              <a:latin typeface="Source Sans Pro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771052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-Friction and the Private Sector</a:t>
            </a:r>
          </a:p>
        </p:txBody>
      </p:sp>
      <p:sp>
        <p:nvSpPr>
          <p:cNvPr id="4" name="Rectangle 3"/>
          <p:cNvSpPr/>
          <p:nvPr/>
        </p:nvSpPr>
        <p:spPr>
          <a:xfrm>
            <a:off x="534600" y="1898948"/>
            <a:ext cx="8152200" cy="2744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SzPct val="75000"/>
              <a:buFont typeface="Wingdings" charset="2"/>
              <a:buChar char=""/>
            </a:pPr>
            <a:r>
              <a:rPr lang="en-US" sz="2400" dirty="0"/>
              <a:t>The BCG study </a:t>
            </a:r>
            <a:r>
              <a:rPr lang="en-US" sz="2400" dirty="0" smtClean="0"/>
              <a:t>surveyed </a:t>
            </a:r>
            <a:r>
              <a:rPr lang="en-US" sz="2400" dirty="0"/>
              <a:t>several thousand Small and Medium Enterprises (SMEs) in the countries reviewed. </a:t>
            </a:r>
          </a:p>
          <a:p>
            <a:pPr marL="285750" lvl="0" indent="-285750" algn="just">
              <a:buSzPct val="75000"/>
              <a:buFont typeface="Wingdings" charset="2"/>
              <a:buChar char=""/>
            </a:pPr>
            <a:endParaRPr lang="en-US" sz="2400" dirty="0" smtClean="0"/>
          </a:p>
          <a:p>
            <a:pPr marL="285750" lvl="0" indent="-285750" algn="just">
              <a:buSzPct val="75000"/>
              <a:buFont typeface="Wingdings" charset="2"/>
              <a:buChar char=""/>
            </a:pPr>
            <a:endParaRPr lang="en-US" sz="2400" dirty="0"/>
          </a:p>
          <a:p>
            <a:pPr marL="285750" lvl="0" indent="-285750" algn="just">
              <a:buSzPct val="75000"/>
              <a:buFont typeface="Wingdings" charset="2"/>
              <a:buChar char=""/>
            </a:pPr>
            <a:r>
              <a:rPr lang="en-US" sz="2400" dirty="0"/>
              <a:t>SMEs in low e-friction countries who embrace e-solutions can increase revenue growth by 7 %.  </a:t>
            </a:r>
          </a:p>
          <a:p>
            <a:pPr marL="285750" lvl="0" indent="-285750" algn="just">
              <a:lnSpc>
                <a:spcPct val="150000"/>
              </a:lnSpc>
              <a:buSzPct val="75000"/>
              <a:buFont typeface="Wingdings" charset="2"/>
              <a:buChar char="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55108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ea typeface="ＭＳ Ｐゴシック" pitchFamily="34" charset="-128"/>
              </a:rPr>
              <a:t>The Internet helps SMEs extend their geographical reach</a:t>
            </a:r>
            <a:endParaRPr lang="en-US" sz="2800" dirty="0"/>
          </a:p>
        </p:txBody>
      </p:sp>
      <p:cxnSp>
        <p:nvCxnSpPr>
          <p:cNvPr id="3" name="Straight Arrow Connector 2"/>
          <p:cNvCxnSpPr/>
          <p:nvPr/>
        </p:nvCxnSpPr>
        <p:spPr>
          <a:xfrm flipV="1">
            <a:off x="6237289" y="1739902"/>
            <a:ext cx="1587" cy="65722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536620"/>
              </p:ext>
            </p:extLst>
          </p:nvPr>
        </p:nvGraphicFramePr>
        <p:xfrm>
          <a:off x="4967288" y="1917700"/>
          <a:ext cx="3911600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4" name="Chart" r:id="rId38" imgW="3911600" imgH="3200400" progId="MSGraph.Chart.8">
                  <p:embed followColorScheme="full"/>
                </p:oleObj>
              </mc:Choice>
              <mc:Fallback>
                <p:oleObj name="Chart" r:id="rId38" imgW="3911600" imgH="3200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67288" y="1917700"/>
                        <a:ext cx="3911600" cy="32004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5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135689" y="5006975"/>
            <a:ext cx="231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0D602720-B65B-4E85-AD4B-B7766BFCA425}" type="datetime'''''''''C''''''it''''''''''''''''''''''''''y'''''''''''">
              <a:rPr lang="en-US" sz="1000">
                <a:latin typeface="Source Sans Pro"/>
                <a:cs typeface="Source Sans Pro"/>
              </a:rPr>
              <a:pPr algn="ctr"/>
              <a:t>City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6" name="Text Placeholder 1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935664" y="2333625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F1F2385E-4D1C-42D1-B377-7C3140FDDD98}" type="datetime'''''''''''''9''''''3''''''%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93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7" name="Text Placeholder 1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935664" y="2219325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37C5F8A7-F706-4125-9BF4-9C54FCF9316A}" type="datetime'''''''''''''''''''9''''''''''''7%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97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84764" y="5006975"/>
            <a:ext cx="6381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4645C0B9-2D5D-4F72-BD1F-49D4C9C56471}" type="datetime'''''''N''eighbo''''u''''r-&#10;ho''''''''''''''o''d'''''''''''''''">
              <a:rPr lang="en-US" sz="1000">
                <a:latin typeface="Source Sans Pro"/>
                <a:cs typeface="Source Sans Pro"/>
              </a:rPr>
              <a:pPr algn="ctr"/>
              <a:t>Neighbour-
hood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613775" y="4595815"/>
            <a:ext cx="4143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F9E443BF-468D-4F0D-AFA6-8915FC52224D}" type="datetime'''''Me''''''d/light''''''&#10;we''b'''''' u''se'''''''''''''''">
              <a:rPr lang="en-US" sz="800">
                <a:latin typeface="Source Sans Pro"/>
                <a:cs typeface="Source Sans Pro"/>
              </a:rPr>
              <a:pPr/>
              <a:t>Med/light
web use</a:t>
            </a:fld>
            <a:endParaRPr lang="en-GB" sz="800" dirty="0"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778875" y="4021138"/>
            <a:ext cx="381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76C89D43-99D7-438D-A552-0FD80BC02DBD}" type="datetime'He''''''''''a''v''''y&#10;w''''''e''b'' u''s''e'''''''">
              <a:rPr lang="en-US" sz="800">
                <a:latin typeface="Source Sans Pro"/>
                <a:cs typeface="Source Sans Pro"/>
              </a:rPr>
              <a:pPr/>
              <a:t>Heavy
web use</a:t>
            </a:fld>
            <a:endParaRPr lang="en-GB" sz="800" dirty="0"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604250" y="5006975"/>
            <a:ext cx="3444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DE05BA53-26B8-4DD1-81F3-C3F42BDAAB54}" type="datetime'''W''''''''''''''''''''''orl''''''''''''''''''''d'''''''''">
              <a:rPr lang="en-US" sz="1000">
                <a:latin typeface="Source Sans Pro"/>
                <a:cs typeface="Source Sans Pro"/>
              </a:rPr>
              <a:pPr algn="ctr"/>
              <a:t>World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12" name="Text Placeholder 1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459789" y="446722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524F2E4C-6DF2-4EE7-898A-1141D4B6C806}" type="datetime'''''''''''''1''''''''''''''''''''''''3''''''''''''''''''''%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13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13" name="Text Placeholder 1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459789" y="4248150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0193A705-D500-4FDE-86E4-E5554A4B71A1}" type="datetime'''''''''''2''''''''''2''''''''''''''''''''''''%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22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10488" y="5006975"/>
            <a:ext cx="4556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0F04CC2B-5821-4339-9804-212B991E14F6}" type="datetime'''C''''''''''''''''''''o''u''''n''''t''r''''y'''''''''''''''">
              <a:rPr lang="en-US" sz="1000">
                <a:latin typeface="Source Sans Pro"/>
                <a:cs typeface="Source Sans Pro"/>
              </a:rPr>
              <a:pPr algn="ctr"/>
              <a:t>Country</a:t>
            </a:fld>
            <a:r>
              <a:rPr lang="en-GB" sz="1000" dirty="0">
                <a:latin typeface="Source Sans Pro"/>
                <a:cs typeface="Source Sans Pro"/>
                <a:sym typeface="+mn-lt" charset="0"/>
              </a:rPr>
              <a:t/>
            </a:r>
            <a:br>
              <a:rPr lang="en-GB" sz="1000" dirty="0">
                <a:latin typeface="Source Sans Pro"/>
                <a:cs typeface="Source Sans Pro"/>
                <a:sym typeface="+mn-lt" charset="0"/>
              </a:rPr>
            </a:br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15" name="Text Placeholder 2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621589" y="355282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6A5BEB83-9B73-4065-9E0B-513E4CD82D68}" type="datetime'''''''''''4''''''''''''8%''''''''''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48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16" name="Text Placeholder 21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621589" y="326707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D60BD352-BEC9-47EF-B252-439A74A9FB57}" type="datetime'''''''''5''''''''''''''''''8''''''''%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58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83400" y="5006975"/>
            <a:ext cx="4127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2D399CD3-E1E8-4C99-8530-C8BA9C1A48CE}" type="datetime'''R''''''''e''''''''''''''gi''o''''''''''''''''''''n'''''''''">
              <a:rPr lang="en-US" sz="1000">
                <a:latin typeface="Source Sans Pro"/>
                <a:cs typeface="Source Sans Pro"/>
              </a:rPr>
              <a:pPr algn="ctr"/>
              <a:t>Region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18" name="Text Placeholder 20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73864" y="292417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35A008CB-26B2-4391-91CC-2E0E3380BD2A}" type="datetime'''''''''''7''''1''''''''''%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71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19" name="Text Placeholder 19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773864" y="264795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58836228-0377-41DC-B7D3-4E22A20225D1}" type="datetime'''''''''''''''''''81''''''''%''''''''''''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81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20" name="Rectangle 1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676776" y="1903413"/>
            <a:ext cx="625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Source Sans Pro"/>
                <a:cs typeface="Source Sans Pro"/>
              </a:rPr>
              <a:t>% of SMEs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1358900" y="1787527"/>
            <a:ext cx="1588" cy="65722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2214564" y="2322515"/>
            <a:ext cx="1587" cy="79057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3051175" y="2914650"/>
            <a:ext cx="1588" cy="827088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V="1">
            <a:off x="3883025" y="3752850"/>
            <a:ext cx="1588" cy="788988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1128713" y="1998663"/>
            <a:ext cx="465137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6%</a:t>
            </a:r>
          </a:p>
        </p:txBody>
      </p:sp>
      <p:sp>
        <p:nvSpPr>
          <p:cNvPr id="26" name="Oval 25"/>
          <p:cNvSpPr/>
          <p:nvPr/>
        </p:nvSpPr>
        <p:spPr>
          <a:xfrm>
            <a:off x="1982788" y="2516188"/>
            <a:ext cx="465137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17%</a:t>
            </a:r>
          </a:p>
        </p:txBody>
      </p:sp>
      <p:sp>
        <p:nvSpPr>
          <p:cNvPr id="27" name="Oval 26"/>
          <p:cNvSpPr/>
          <p:nvPr/>
        </p:nvSpPr>
        <p:spPr>
          <a:xfrm>
            <a:off x="2819400" y="3074988"/>
            <a:ext cx="465138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34%</a:t>
            </a:r>
          </a:p>
        </p:txBody>
      </p:sp>
      <p:sp>
        <p:nvSpPr>
          <p:cNvPr id="28" name="Oval 27"/>
          <p:cNvSpPr/>
          <p:nvPr/>
        </p:nvSpPr>
        <p:spPr>
          <a:xfrm>
            <a:off x="3649663" y="3941763"/>
            <a:ext cx="465137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49%</a:t>
            </a:r>
          </a:p>
        </p:txBody>
      </p:sp>
      <p:graphicFrame>
        <p:nvGraphicFramePr>
          <p:cNvPr id="29" name="Object 4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92424979"/>
              </p:ext>
            </p:extLst>
          </p:nvPr>
        </p:nvGraphicFramePr>
        <p:xfrm>
          <a:off x="90488" y="1917700"/>
          <a:ext cx="3911600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5" name="Chart" r:id="rId40" imgW="3911600" imgH="3200400" progId="MSGraph.Chart.8">
                  <p:embed followColorScheme="full"/>
                </p:oleObj>
              </mc:Choice>
              <mc:Fallback>
                <p:oleObj name="Chart" r:id="rId40" imgW="3911600" imgH="3200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488" y="1917700"/>
                        <a:ext cx="3911600" cy="32004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 Placeholder 8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003675" y="4214815"/>
            <a:ext cx="381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BDA3BD9A-621A-4B85-ADA7-0FD9619A7B31}" type="datetime'H''''''''''e''''''''''a''vy''&#10;w''e''''''b'' ''''u''s''''e'''">
              <a:rPr lang="en-US" sz="800">
                <a:latin typeface="Source Sans Pro"/>
                <a:cs typeface="Source Sans Pro"/>
              </a:rPr>
              <a:pPr/>
              <a:t>Heavy
web use</a:t>
            </a:fld>
            <a:endParaRPr lang="en-GB" sz="800" dirty="0"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31" name="Text Placeholder 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006600" y="5006975"/>
            <a:ext cx="4127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F0328762-7C10-47B8-ADEF-65C9AAFDE64B}" type="datetime'''''''''''''''''Re''''''gi''''''''''''on'''''''''''''">
              <a:rPr lang="en-US" sz="1000">
                <a:latin typeface="Source Sans Pro"/>
                <a:cs typeface="Source Sans Pro"/>
              </a:rPr>
              <a:pPr algn="ctr"/>
              <a:t>Region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32" name="Text Placeholder 20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897064" y="308610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D4D62FE6-6E14-4581-BC78-715A57D43244}" type="datetime'6''''''''''''''''''''''''''5%''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65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33" name="Text Placeholder 1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97064" y="278130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0338EC36-7613-4105-95C5-49A462B36CE1}" type="datetime'7''''''''''''''''7''''''''''''''''''''%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77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34" name="Text Placeholder 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58889" y="5006975"/>
            <a:ext cx="231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2F9FB9C3-6C40-44A3-843A-FD70FC211AA9}" type="datetime'C''''''''''''''''''''''''''''i''''''ty'">
              <a:rPr lang="en-US" sz="1000">
                <a:latin typeface="Source Sans Pro"/>
                <a:cs typeface="Source Sans Pro"/>
              </a:rPr>
              <a:pPr algn="ctr"/>
              <a:t>City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35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58864" y="2409825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94F4B32A-93E2-4583-8ADA-FBEED96D6FC9}" type="datetime'''''9''''''''''''''''''''''''''0''''''%''''''''''''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90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36" name="Text Placeholder 18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58864" y="2247900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52E175A3-2175-478A-A543-69CEB33BD8E6}" type="datetime'''''''''''''''''''''''''''''''''''9''6''''''''%''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96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37" name="Rectangle 17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175" y="1903413"/>
            <a:ext cx="6254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Source Sans Pro"/>
                <a:cs typeface="Source Sans Pro"/>
              </a:rPr>
              <a:t>% of SMEs</a:t>
            </a:r>
          </a:p>
        </p:txBody>
      </p:sp>
      <p:sp>
        <p:nvSpPr>
          <p:cNvPr id="38" name="Text Placeholder 4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7964" y="5006975"/>
            <a:ext cx="6381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9064F391-851F-47ED-BEFC-05E52950E674}" type="datetime'N''''eigh''''''''''''''''bo''u''r''''''-&#10;hoo''d'''''''''''''">
              <a:rPr lang="en-US" sz="1000">
                <a:latin typeface="Source Sans Pro"/>
                <a:cs typeface="Source Sans Pro"/>
              </a:rPr>
              <a:pPr algn="ctr"/>
              <a:t>Neighbour-
hood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9" name="Text Placeholder 8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727450" y="5006975"/>
            <a:ext cx="3444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8BFD49A1-783F-4C46-B086-33D07DBAFA6A}" type="datetime'''''''''''''''''''''''''''Wor''''l''''''d'''">
              <a:rPr lang="en-US" sz="1000">
                <a:latin typeface="Source Sans Pro"/>
                <a:cs typeface="Source Sans Pro"/>
              </a:rPr>
              <a:pPr algn="ctr"/>
              <a:t>World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40" name="Text Placeholder 1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582989" y="450532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E56B7342-A6C8-4404-9F7C-09DC3B6C328C}" type="datetime'''''''1''''''''''''''''''''''''''''2''''''''''%''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12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41" name="Text Placeholder 1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582989" y="4343400"/>
            <a:ext cx="242887" cy="122238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B4391EDE-896C-41AB-B11D-C2F062DE41E7}" type="datetime'''''''1''''''''''''''8''''''''''''''''''''%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18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42" name="Text Placeholder 7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833688" y="5006975"/>
            <a:ext cx="4556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pPr algn="ctr"/>
            <a:fld id="{176DF25E-9E10-4E0A-8A6A-F25B955CE74A}" type="datetime'''C''''''''''''o''''''u''''''''n''''t''r''''y'''''''">
              <a:rPr lang="en-US" sz="1000">
                <a:latin typeface="Source Sans Pro"/>
                <a:cs typeface="Source Sans Pro"/>
              </a:rPr>
              <a:pPr algn="ctr"/>
              <a:t>Country</a:t>
            </a:fld>
            <a:r>
              <a:rPr lang="en-GB" sz="1000" dirty="0">
                <a:latin typeface="Source Sans Pro"/>
                <a:cs typeface="Source Sans Pro"/>
                <a:sym typeface="+mn-lt" charset="0"/>
              </a:rPr>
              <a:t/>
            </a:r>
            <a:br>
              <a:rPr lang="en-GB" sz="1000" dirty="0">
                <a:latin typeface="Source Sans Pro"/>
                <a:cs typeface="Source Sans Pro"/>
                <a:sym typeface="+mn-lt" charset="0"/>
              </a:rPr>
            </a:br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43" name="Text Placeholder 2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744789" y="377190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D871EB5D-CC56-4F32-A745-9EF459EFAAF3}" type="datetime'''''''''''''''''''''''''''4''''0''''''''''%''''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40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 useBgFill="1">
        <p:nvSpPr>
          <p:cNvPr id="44" name="Text Placeholder 21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744789" y="340995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r"/>
            <a:fld id="{B087B61A-9223-435A-B267-B0D4C66F4B93}" type="datetime'''''''''''''''''5''''''''''''''''''''''''''''''''''3''%'">
              <a:rPr lang="en-US" sz="800">
                <a:solidFill>
                  <a:srgbClr val="B2B2B2"/>
                </a:solidFill>
                <a:latin typeface="Source Sans Pro"/>
                <a:cs typeface="Source Sans Pro"/>
              </a:rPr>
              <a:pPr algn="r"/>
              <a:t>53%</a:t>
            </a:fld>
            <a:endParaRPr lang="en-GB" sz="800" dirty="0">
              <a:solidFill>
                <a:srgbClr val="B2B2B2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45" name="Text Placeholder 9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003675" y="4510090"/>
            <a:ext cx="4143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fld id="{7EADB4DE-CB25-4BF1-8BA0-4583175E124C}" type="datetime'Me''''d/lig''h''t''''''''''''&#10;web'' ''u''se'''''''''''''">
              <a:rPr lang="en-US" sz="800">
                <a:latin typeface="Source Sans Pro"/>
                <a:cs typeface="Source Sans Pro"/>
              </a:rPr>
              <a:pPr/>
              <a:t>Med/light
web use</a:t>
            </a:fld>
            <a:endParaRPr lang="en-GB" sz="800" dirty="0"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46" name="ColumnHeader"/>
          <p:cNvSpPr>
            <a:spLocks noChangeArrowheads="1"/>
          </p:cNvSpPr>
          <p:nvPr/>
        </p:nvSpPr>
        <p:spPr bwMode="gray">
          <a:xfrm>
            <a:off x="87314" y="1265238"/>
            <a:ext cx="4097337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GB" sz="1400" b="1" dirty="0">
                <a:solidFill>
                  <a:srgbClr val="000000"/>
                </a:solidFill>
                <a:latin typeface="Source Sans Pro"/>
                <a:cs typeface="Source Sans Pro"/>
              </a:rPr>
              <a:t>Geographical reach of sales</a:t>
            </a:r>
            <a:endParaRPr lang="en-US" sz="1400" b="1" dirty="0">
              <a:latin typeface="Source Sans Pro"/>
              <a:cs typeface="Source Sans Pro"/>
            </a:endParaRPr>
          </a:p>
        </p:txBody>
      </p:sp>
      <p:grpSp>
        <p:nvGrpSpPr>
          <p:cNvPr id="47" name="Group 475"/>
          <p:cNvGrpSpPr>
            <a:grpSpLocks/>
          </p:cNvGrpSpPr>
          <p:nvPr/>
        </p:nvGrpSpPr>
        <p:grpSpPr bwMode="auto">
          <a:xfrm>
            <a:off x="495300" y="5332413"/>
            <a:ext cx="3689350" cy="412750"/>
            <a:chOff x="851211" y="4791075"/>
            <a:chExt cx="2322856" cy="266531"/>
          </a:xfrm>
        </p:grpSpPr>
        <p:pic>
          <p:nvPicPr>
            <p:cNvPr id="48" name="Picture 19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gray">
            <a:xfrm>
              <a:off x="1283920" y="4845050"/>
              <a:ext cx="272225" cy="160519"/>
            </a:xfrm>
            <a:prstGeom prst="rect">
              <a:avLst/>
            </a:prstGeom>
            <a:noFill/>
            <a:ln w="9525">
              <a:noFill/>
              <a:miter lim="800000"/>
              <a:headEnd type="none" w="lg" len="lg"/>
              <a:tailEnd type="none" w="lg" len="lg"/>
            </a:ln>
          </p:spPr>
        </p:pic>
        <p:grpSp>
          <p:nvGrpSpPr>
            <p:cNvPr id="49" name="Group 661"/>
            <p:cNvGrpSpPr>
              <a:grpSpLocks/>
            </p:cNvGrpSpPr>
            <p:nvPr/>
          </p:nvGrpSpPr>
          <p:grpSpPr bwMode="auto">
            <a:xfrm>
              <a:off x="2316160" y="4791075"/>
              <a:ext cx="311385" cy="266531"/>
              <a:chOff x="2976710" y="5484127"/>
              <a:chExt cx="563811" cy="493114"/>
            </a:xfrm>
          </p:grpSpPr>
          <p:sp>
            <p:nvSpPr>
              <p:cNvPr id="95" name="Freeform 5"/>
              <p:cNvSpPr>
                <a:spLocks noChangeAspect="1" noEditPoints="1"/>
              </p:cNvSpPr>
              <p:nvPr/>
            </p:nvSpPr>
            <p:spPr bwMode="auto">
              <a:xfrm>
                <a:off x="3393052" y="5669302"/>
                <a:ext cx="147469" cy="162542"/>
              </a:xfrm>
              <a:custGeom>
                <a:avLst/>
                <a:gdLst>
                  <a:gd name="T0" fmla="*/ 2147483647 w 1290"/>
                  <a:gd name="T1" fmla="*/ 2147483647 h 1422"/>
                  <a:gd name="T2" fmla="*/ 2147483647 w 1290"/>
                  <a:gd name="T3" fmla="*/ 2147483647 h 1422"/>
                  <a:gd name="T4" fmla="*/ 2147483647 w 1290"/>
                  <a:gd name="T5" fmla="*/ 2147483647 h 1422"/>
                  <a:gd name="T6" fmla="*/ 2147483647 w 1290"/>
                  <a:gd name="T7" fmla="*/ 2147483647 h 1422"/>
                  <a:gd name="T8" fmla="*/ 2147483647 w 1290"/>
                  <a:gd name="T9" fmla="*/ 2147483647 h 1422"/>
                  <a:gd name="T10" fmla="*/ 2147483647 w 1290"/>
                  <a:gd name="T11" fmla="*/ 2147483647 h 1422"/>
                  <a:gd name="T12" fmla="*/ 2147483647 w 1290"/>
                  <a:gd name="T13" fmla="*/ 2147483647 h 1422"/>
                  <a:gd name="T14" fmla="*/ 2147483647 w 1290"/>
                  <a:gd name="T15" fmla="*/ 2147483647 h 1422"/>
                  <a:gd name="T16" fmla="*/ 2147483647 w 1290"/>
                  <a:gd name="T17" fmla="*/ 2147483647 h 1422"/>
                  <a:gd name="T18" fmla="*/ 2147483647 w 1290"/>
                  <a:gd name="T19" fmla="*/ 2147483647 h 1422"/>
                  <a:gd name="T20" fmla="*/ 2147483647 w 1290"/>
                  <a:gd name="T21" fmla="*/ 2147483647 h 1422"/>
                  <a:gd name="T22" fmla="*/ 2147483647 w 1290"/>
                  <a:gd name="T23" fmla="*/ 2147483647 h 1422"/>
                  <a:gd name="T24" fmla="*/ 2147483647 w 1290"/>
                  <a:gd name="T25" fmla="*/ 2147483647 h 1422"/>
                  <a:gd name="T26" fmla="*/ 2147483647 w 1290"/>
                  <a:gd name="T27" fmla="*/ 2147483647 h 1422"/>
                  <a:gd name="T28" fmla="*/ 2147483647 w 1290"/>
                  <a:gd name="T29" fmla="*/ 2147483647 h 1422"/>
                  <a:gd name="T30" fmla="*/ 2147483647 w 1290"/>
                  <a:gd name="T31" fmla="*/ 2147483647 h 1422"/>
                  <a:gd name="T32" fmla="*/ 2147483647 w 1290"/>
                  <a:gd name="T33" fmla="*/ 2147483647 h 1422"/>
                  <a:gd name="T34" fmla="*/ 2147483647 w 1290"/>
                  <a:gd name="T35" fmla="*/ 2147483647 h 1422"/>
                  <a:gd name="T36" fmla="*/ 2147483647 w 1290"/>
                  <a:gd name="T37" fmla="*/ 2147483647 h 1422"/>
                  <a:gd name="T38" fmla="*/ 2147483647 w 1290"/>
                  <a:gd name="T39" fmla="*/ 2147483647 h 1422"/>
                  <a:gd name="T40" fmla="*/ 2147483647 w 1290"/>
                  <a:gd name="T41" fmla="*/ 2147483647 h 1422"/>
                  <a:gd name="T42" fmla="*/ 2147483647 w 1290"/>
                  <a:gd name="T43" fmla="*/ 2147483647 h 1422"/>
                  <a:gd name="T44" fmla="*/ 2147483647 w 1290"/>
                  <a:gd name="T45" fmla="*/ 2147483647 h 1422"/>
                  <a:gd name="T46" fmla="*/ 2147483647 w 1290"/>
                  <a:gd name="T47" fmla="*/ 2147483647 h 1422"/>
                  <a:gd name="T48" fmla="*/ 2147483647 w 1290"/>
                  <a:gd name="T49" fmla="*/ 2147483647 h 1422"/>
                  <a:gd name="T50" fmla="*/ 2147483647 w 1290"/>
                  <a:gd name="T51" fmla="*/ 2147483647 h 1422"/>
                  <a:gd name="T52" fmla="*/ 2147483647 w 1290"/>
                  <a:gd name="T53" fmla="*/ 2147483647 h 1422"/>
                  <a:gd name="T54" fmla="*/ 2147483647 w 1290"/>
                  <a:gd name="T55" fmla="*/ 2147483647 h 1422"/>
                  <a:gd name="T56" fmla="*/ 2147483647 w 1290"/>
                  <a:gd name="T57" fmla="*/ 2147483647 h 1422"/>
                  <a:gd name="T58" fmla="*/ 2147483647 w 1290"/>
                  <a:gd name="T59" fmla="*/ 2147483647 h 1422"/>
                  <a:gd name="T60" fmla="*/ 2147483647 w 1290"/>
                  <a:gd name="T61" fmla="*/ 2147483647 h 1422"/>
                  <a:gd name="T62" fmla="*/ 2147483647 w 1290"/>
                  <a:gd name="T63" fmla="*/ 2147483647 h 1422"/>
                  <a:gd name="T64" fmla="*/ 2147483647 w 1290"/>
                  <a:gd name="T65" fmla="*/ 2147483647 h 1422"/>
                  <a:gd name="T66" fmla="*/ 2147483647 w 1290"/>
                  <a:gd name="T67" fmla="*/ 2147483647 h 1422"/>
                  <a:gd name="T68" fmla="*/ 2147483647 w 1290"/>
                  <a:gd name="T69" fmla="*/ 2147483647 h 1422"/>
                  <a:gd name="T70" fmla="*/ 2147483647 w 1290"/>
                  <a:gd name="T71" fmla="*/ 2147483647 h 1422"/>
                  <a:gd name="T72" fmla="*/ 2147483647 w 1290"/>
                  <a:gd name="T73" fmla="*/ 2147483647 h 1422"/>
                  <a:gd name="T74" fmla="*/ 2147483647 w 1290"/>
                  <a:gd name="T75" fmla="*/ 2147483647 h 1422"/>
                  <a:gd name="T76" fmla="*/ 2147483647 w 1290"/>
                  <a:gd name="T77" fmla="*/ 2147483647 h 1422"/>
                  <a:gd name="T78" fmla="*/ 2147483647 w 1290"/>
                  <a:gd name="T79" fmla="*/ 2147483647 h 1422"/>
                  <a:gd name="T80" fmla="*/ 2147483647 w 1290"/>
                  <a:gd name="T81" fmla="*/ 2147483647 h 1422"/>
                  <a:gd name="T82" fmla="*/ 2147483647 w 1290"/>
                  <a:gd name="T83" fmla="*/ 2147483647 h 1422"/>
                  <a:gd name="T84" fmla="*/ 2147483647 w 1290"/>
                  <a:gd name="T85" fmla="*/ 2147483647 h 1422"/>
                  <a:gd name="T86" fmla="*/ 2147483647 w 1290"/>
                  <a:gd name="T87" fmla="*/ 2147483647 h 1422"/>
                  <a:gd name="T88" fmla="*/ 2147483647 w 1290"/>
                  <a:gd name="T89" fmla="*/ 2147483647 h 1422"/>
                  <a:gd name="T90" fmla="*/ 2147483647 w 1290"/>
                  <a:gd name="T91" fmla="*/ 2147483647 h 1422"/>
                  <a:gd name="T92" fmla="*/ 2147483647 w 1290"/>
                  <a:gd name="T93" fmla="*/ 2147483647 h 1422"/>
                  <a:gd name="T94" fmla="*/ 2147483647 w 1290"/>
                  <a:gd name="T95" fmla="*/ 2147483647 h 1422"/>
                  <a:gd name="T96" fmla="*/ 2147483647 w 1290"/>
                  <a:gd name="T97" fmla="*/ 2147483647 h 1422"/>
                  <a:gd name="T98" fmla="*/ 2147483647 w 1290"/>
                  <a:gd name="T99" fmla="*/ 2147483647 h 1422"/>
                  <a:gd name="T100" fmla="*/ 2147483647 w 1290"/>
                  <a:gd name="T101" fmla="*/ 2147483647 h 1422"/>
                  <a:gd name="T102" fmla="*/ 2147483647 w 1290"/>
                  <a:gd name="T103" fmla="*/ 2147483647 h 1422"/>
                  <a:gd name="T104" fmla="*/ 2147483647 w 1290"/>
                  <a:gd name="T105" fmla="*/ 2147483647 h 1422"/>
                  <a:gd name="T106" fmla="*/ 2147483647 w 1290"/>
                  <a:gd name="T107" fmla="*/ 2147483647 h 1422"/>
                  <a:gd name="T108" fmla="*/ 2147483647 w 1290"/>
                  <a:gd name="T109" fmla="*/ 0 h 1422"/>
                  <a:gd name="T110" fmla="*/ 2147483647 w 1290"/>
                  <a:gd name="T111" fmla="*/ 2147483647 h 1422"/>
                  <a:gd name="T112" fmla="*/ 2147483647 w 1290"/>
                  <a:gd name="T113" fmla="*/ 2147483647 h 1422"/>
                  <a:gd name="T114" fmla="*/ 2147483647 w 1290"/>
                  <a:gd name="T115" fmla="*/ 2147483647 h 1422"/>
                  <a:gd name="T116" fmla="*/ 2147483647 w 1290"/>
                  <a:gd name="T117" fmla="*/ 2147483647 h 1422"/>
                  <a:gd name="T118" fmla="*/ 2147483647 w 1290"/>
                  <a:gd name="T119" fmla="*/ 2147483647 h 1422"/>
                  <a:gd name="T120" fmla="*/ 2147483647 w 1290"/>
                  <a:gd name="T121" fmla="*/ 2147483647 h 1422"/>
                  <a:gd name="T122" fmla="*/ 2147483647 w 1290"/>
                  <a:gd name="T123" fmla="*/ 2147483647 h 14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290" h="1422">
                    <a:moveTo>
                      <a:pt x="864" y="768"/>
                    </a:moveTo>
                    <a:lnTo>
                      <a:pt x="870" y="768"/>
                    </a:lnTo>
                    <a:lnTo>
                      <a:pt x="870" y="774"/>
                    </a:lnTo>
                    <a:lnTo>
                      <a:pt x="864" y="774"/>
                    </a:lnTo>
                    <a:lnTo>
                      <a:pt x="864" y="768"/>
                    </a:lnTo>
                    <a:close/>
                    <a:moveTo>
                      <a:pt x="1278" y="48"/>
                    </a:moveTo>
                    <a:lnTo>
                      <a:pt x="1278" y="54"/>
                    </a:lnTo>
                    <a:lnTo>
                      <a:pt x="1279" y="54"/>
                    </a:lnTo>
                    <a:lnTo>
                      <a:pt x="1278" y="48"/>
                    </a:lnTo>
                    <a:close/>
                    <a:moveTo>
                      <a:pt x="1056" y="6"/>
                    </a:moveTo>
                    <a:lnTo>
                      <a:pt x="1056" y="12"/>
                    </a:lnTo>
                    <a:lnTo>
                      <a:pt x="1062" y="12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74" y="18"/>
                    </a:lnTo>
                    <a:lnTo>
                      <a:pt x="1074" y="24"/>
                    </a:lnTo>
                    <a:lnTo>
                      <a:pt x="1080" y="24"/>
                    </a:lnTo>
                    <a:lnTo>
                      <a:pt x="1080" y="18"/>
                    </a:lnTo>
                    <a:lnTo>
                      <a:pt x="1086" y="18"/>
                    </a:lnTo>
                    <a:lnTo>
                      <a:pt x="1086" y="12"/>
                    </a:lnTo>
                    <a:lnTo>
                      <a:pt x="1092" y="12"/>
                    </a:lnTo>
                    <a:lnTo>
                      <a:pt x="1092" y="18"/>
                    </a:lnTo>
                    <a:lnTo>
                      <a:pt x="1098" y="18"/>
                    </a:lnTo>
                    <a:lnTo>
                      <a:pt x="1104" y="18"/>
                    </a:lnTo>
                    <a:lnTo>
                      <a:pt x="1110" y="18"/>
                    </a:lnTo>
                    <a:lnTo>
                      <a:pt x="1110" y="24"/>
                    </a:lnTo>
                    <a:lnTo>
                      <a:pt x="1116" y="24"/>
                    </a:lnTo>
                    <a:lnTo>
                      <a:pt x="1122" y="24"/>
                    </a:lnTo>
                    <a:lnTo>
                      <a:pt x="1128" y="24"/>
                    </a:lnTo>
                    <a:lnTo>
                      <a:pt x="1134" y="24"/>
                    </a:lnTo>
                    <a:lnTo>
                      <a:pt x="1140" y="24"/>
                    </a:lnTo>
                    <a:lnTo>
                      <a:pt x="1140" y="30"/>
                    </a:lnTo>
                    <a:lnTo>
                      <a:pt x="1146" y="30"/>
                    </a:lnTo>
                    <a:lnTo>
                      <a:pt x="1152" y="30"/>
                    </a:lnTo>
                    <a:lnTo>
                      <a:pt x="1158" y="30"/>
                    </a:lnTo>
                    <a:lnTo>
                      <a:pt x="1164" y="30"/>
                    </a:lnTo>
                    <a:lnTo>
                      <a:pt x="1170" y="30"/>
                    </a:lnTo>
                    <a:lnTo>
                      <a:pt x="1176" y="30"/>
                    </a:lnTo>
                    <a:lnTo>
                      <a:pt x="1182" y="30"/>
                    </a:lnTo>
                    <a:lnTo>
                      <a:pt x="1188" y="30"/>
                    </a:lnTo>
                    <a:lnTo>
                      <a:pt x="1194" y="30"/>
                    </a:lnTo>
                    <a:lnTo>
                      <a:pt x="1200" y="30"/>
                    </a:lnTo>
                    <a:lnTo>
                      <a:pt x="1206" y="30"/>
                    </a:lnTo>
                    <a:lnTo>
                      <a:pt x="1212" y="30"/>
                    </a:lnTo>
                    <a:lnTo>
                      <a:pt x="1218" y="30"/>
                    </a:lnTo>
                    <a:lnTo>
                      <a:pt x="1224" y="30"/>
                    </a:lnTo>
                    <a:lnTo>
                      <a:pt x="1224" y="36"/>
                    </a:lnTo>
                    <a:lnTo>
                      <a:pt x="1230" y="36"/>
                    </a:lnTo>
                    <a:lnTo>
                      <a:pt x="1236" y="36"/>
                    </a:lnTo>
                    <a:lnTo>
                      <a:pt x="1242" y="36"/>
                    </a:lnTo>
                    <a:lnTo>
                      <a:pt x="1248" y="36"/>
                    </a:lnTo>
                    <a:lnTo>
                      <a:pt x="1254" y="36"/>
                    </a:lnTo>
                    <a:lnTo>
                      <a:pt x="1260" y="36"/>
                    </a:lnTo>
                    <a:lnTo>
                      <a:pt x="1266" y="36"/>
                    </a:lnTo>
                    <a:lnTo>
                      <a:pt x="1272" y="36"/>
                    </a:lnTo>
                    <a:lnTo>
                      <a:pt x="1278" y="36"/>
                    </a:lnTo>
                    <a:lnTo>
                      <a:pt x="1284" y="36"/>
                    </a:lnTo>
                    <a:lnTo>
                      <a:pt x="1290" y="36"/>
                    </a:lnTo>
                    <a:lnTo>
                      <a:pt x="1284" y="36"/>
                    </a:lnTo>
                    <a:lnTo>
                      <a:pt x="1284" y="42"/>
                    </a:lnTo>
                    <a:lnTo>
                      <a:pt x="1284" y="48"/>
                    </a:lnTo>
                    <a:lnTo>
                      <a:pt x="1278" y="48"/>
                    </a:lnTo>
                    <a:lnTo>
                      <a:pt x="1278" y="54"/>
                    </a:lnTo>
                    <a:lnTo>
                      <a:pt x="1278" y="60"/>
                    </a:lnTo>
                    <a:lnTo>
                      <a:pt x="1272" y="60"/>
                    </a:lnTo>
                    <a:lnTo>
                      <a:pt x="1272" y="66"/>
                    </a:lnTo>
                    <a:lnTo>
                      <a:pt x="1278" y="66"/>
                    </a:lnTo>
                    <a:lnTo>
                      <a:pt x="1278" y="60"/>
                    </a:lnTo>
                    <a:lnTo>
                      <a:pt x="1278" y="54"/>
                    </a:lnTo>
                    <a:lnTo>
                      <a:pt x="1278" y="60"/>
                    </a:lnTo>
                    <a:lnTo>
                      <a:pt x="1278" y="54"/>
                    </a:lnTo>
                    <a:lnTo>
                      <a:pt x="1278" y="48"/>
                    </a:lnTo>
                    <a:lnTo>
                      <a:pt x="1284" y="48"/>
                    </a:lnTo>
                    <a:lnTo>
                      <a:pt x="1284" y="54"/>
                    </a:lnTo>
                    <a:lnTo>
                      <a:pt x="1284" y="60"/>
                    </a:lnTo>
                    <a:lnTo>
                      <a:pt x="1284" y="66"/>
                    </a:lnTo>
                    <a:lnTo>
                      <a:pt x="1278" y="66"/>
                    </a:lnTo>
                    <a:lnTo>
                      <a:pt x="1278" y="72"/>
                    </a:lnTo>
                    <a:lnTo>
                      <a:pt x="1284" y="72"/>
                    </a:lnTo>
                    <a:lnTo>
                      <a:pt x="1278" y="72"/>
                    </a:lnTo>
                    <a:lnTo>
                      <a:pt x="1278" y="78"/>
                    </a:lnTo>
                    <a:lnTo>
                      <a:pt x="1278" y="84"/>
                    </a:lnTo>
                    <a:lnTo>
                      <a:pt x="1278" y="90"/>
                    </a:lnTo>
                    <a:lnTo>
                      <a:pt x="1278" y="96"/>
                    </a:lnTo>
                    <a:lnTo>
                      <a:pt x="1272" y="96"/>
                    </a:lnTo>
                    <a:lnTo>
                      <a:pt x="1272" y="102"/>
                    </a:lnTo>
                    <a:lnTo>
                      <a:pt x="1272" y="108"/>
                    </a:lnTo>
                    <a:lnTo>
                      <a:pt x="1272" y="114"/>
                    </a:lnTo>
                    <a:lnTo>
                      <a:pt x="1266" y="114"/>
                    </a:lnTo>
                    <a:lnTo>
                      <a:pt x="1266" y="120"/>
                    </a:lnTo>
                    <a:lnTo>
                      <a:pt x="1266" y="126"/>
                    </a:lnTo>
                    <a:lnTo>
                      <a:pt x="1266" y="132"/>
                    </a:lnTo>
                    <a:lnTo>
                      <a:pt x="1260" y="132"/>
                    </a:lnTo>
                    <a:lnTo>
                      <a:pt x="1260" y="138"/>
                    </a:lnTo>
                    <a:lnTo>
                      <a:pt x="1254" y="138"/>
                    </a:lnTo>
                    <a:lnTo>
                      <a:pt x="1254" y="144"/>
                    </a:lnTo>
                    <a:lnTo>
                      <a:pt x="1254" y="150"/>
                    </a:lnTo>
                    <a:lnTo>
                      <a:pt x="1254" y="156"/>
                    </a:lnTo>
                    <a:lnTo>
                      <a:pt x="1254" y="162"/>
                    </a:lnTo>
                    <a:lnTo>
                      <a:pt x="1248" y="162"/>
                    </a:lnTo>
                    <a:lnTo>
                      <a:pt x="1248" y="168"/>
                    </a:lnTo>
                    <a:lnTo>
                      <a:pt x="1242" y="168"/>
                    </a:lnTo>
                    <a:lnTo>
                      <a:pt x="1242" y="174"/>
                    </a:lnTo>
                    <a:lnTo>
                      <a:pt x="1242" y="180"/>
                    </a:lnTo>
                    <a:lnTo>
                      <a:pt x="1242" y="186"/>
                    </a:lnTo>
                    <a:lnTo>
                      <a:pt x="1236" y="186"/>
                    </a:lnTo>
                    <a:lnTo>
                      <a:pt x="1236" y="192"/>
                    </a:lnTo>
                    <a:lnTo>
                      <a:pt x="1236" y="198"/>
                    </a:lnTo>
                    <a:lnTo>
                      <a:pt x="1230" y="198"/>
                    </a:lnTo>
                    <a:lnTo>
                      <a:pt x="1230" y="204"/>
                    </a:lnTo>
                    <a:lnTo>
                      <a:pt x="1230" y="210"/>
                    </a:lnTo>
                    <a:lnTo>
                      <a:pt x="1230" y="216"/>
                    </a:lnTo>
                    <a:lnTo>
                      <a:pt x="1224" y="216"/>
                    </a:lnTo>
                    <a:lnTo>
                      <a:pt x="1224" y="222"/>
                    </a:lnTo>
                    <a:lnTo>
                      <a:pt x="1224" y="228"/>
                    </a:lnTo>
                    <a:lnTo>
                      <a:pt x="1218" y="228"/>
                    </a:lnTo>
                    <a:lnTo>
                      <a:pt x="1218" y="234"/>
                    </a:lnTo>
                    <a:lnTo>
                      <a:pt x="1218" y="240"/>
                    </a:lnTo>
                    <a:lnTo>
                      <a:pt x="1212" y="240"/>
                    </a:lnTo>
                    <a:lnTo>
                      <a:pt x="1212" y="246"/>
                    </a:lnTo>
                    <a:lnTo>
                      <a:pt x="1212" y="252"/>
                    </a:lnTo>
                    <a:lnTo>
                      <a:pt x="1212" y="258"/>
                    </a:lnTo>
                    <a:lnTo>
                      <a:pt x="1206" y="258"/>
                    </a:lnTo>
                    <a:lnTo>
                      <a:pt x="1212" y="258"/>
                    </a:lnTo>
                    <a:lnTo>
                      <a:pt x="1212" y="264"/>
                    </a:lnTo>
                    <a:lnTo>
                      <a:pt x="1206" y="264"/>
                    </a:lnTo>
                    <a:lnTo>
                      <a:pt x="1206" y="270"/>
                    </a:lnTo>
                    <a:lnTo>
                      <a:pt x="1206" y="276"/>
                    </a:lnTo>
                    <a:lnTo>
                      <a:pt x="1206" y="282"/>
                    </a:lnTo>
                    <a:lnTo>
                      <a:pt x="1200" y="282"/>
                    </a:lnTo>
                    <a:lnTo>
                      <a:pt x="1200" y="288"/>
                    </a:lnTo>
                    <a:lnTo>
                      <a:pt x="1200" y="294"/>
                    </a:lnTo>
                    <a:lnTo>
                      <a:pt x="1200" y="300"/>
                    </a:lnTo>
                    <a:lnTo>
                      <a:pt x="1200" y="306"/>
                    </a:lnTo>
                    <a:lnTo>
                      <a:pt x="1194" y="306"/>
                    </a:lnTo>
                    <a:lnTo>
                      <a:pt x="1194" y="312"/>
                    </a:lnTo>
                    <a:lnTo>
                      <a:pt x="1194" y="318"/>
                    </a:lnTo>
                    <a:lnTo>
                      <a:pt x="1194" y="324"/>
                    </a:lnTo>
                    <a:lnTo>
                      <a:pt x="1188" y="324"/>
                    </a:lnTo>
                    <a:lnTo>
                      <a:pt x="1188" y="330"/>
                    </a:lnTo>
                    <a:lnTo>
                      <a:pt x="1188" y="336"/>
                    </a:lnTo>
                    <a:lnTo>
                      <a:pt x="1188" y="342"/>
                    </a:lnTo>
                    <a:lnTo>
                      <a:pt x="1182" y="342"/>
                    </a:lnTo>
                    <a:lnTo>
                      <a:pt x="1182" y="348"/>
                    </a:lnTo>
                    <a:lnTo>
                      <a:pt x="1182" y="354"/>
                    </a:lnTo>
                    <a:lnTo>
                      <a:pt x="1182" y="360"/>
                    </a:lnTo>
                    <a:lnTo>
                      <a:pt x="1182" y="366"/>
                    </a:lnTo>
                    <a:lnTo>
                      <a:pt x="1176" y="366"/>
                    </a:lnTo>
                    <a:lnTo>
                      <a:pt x="1176" y="372"/>
                    </a:lnTo>
                    <a:lnTo>
                      <a:pt x="1176" y="378"/>
                    </a:lnTo>
                    <a:lnTo>
                      <a:pt x="1176" y="384"/>
                    </a:lnTo>
                    <a:lnTo>
                      <a:pt x="1176" y="390"/>
                    </a:lnTo>
                    <a:lnTo>
                      <a:pt x="1176" y="396"/>
                    </a:lnTo>
                    <a:lnTo>
                      <a:pt x="1176" y="402"/>
                    </a:lnTo>
                    <a:lnTo>
                      <a:pt x="1176" y="408"/>
                    </a:lnTo>
                    <a:lnTo>
                      <a:pt x="1170" y="408"/>
                    </a:lnTo>
                    <a:lnTo>
                      <a:pt x="1170" y="414"/>
                    </a:lnTo>
                    <a:lnTo>
                      <a:pt x="1170" y="420"/>
                    </a:lnTo>
                    <a:lnTo>
                      <a:pt x="1170" y="426"/>
                    </a:lnTo>
                    <a:lnTo>
                      <a:pt x="1170" y="432"/>
                    </a:lnTo>
                    <a:lnTo>
                      <a:pt x="1164" y="432"/>
                    </a:lnTo>
                    <a:lnTo>
                      <a:pt x="1164" y="438"/>
                    </a:lnTo>
                    <a:lnTo>
                      <a:pt x="1164" y="444"/>
                    </a:lnTo>
                    <a:lnTo>
                      <a:pt x="1164" y="450"/>
                    </a:lnTo>
                    <a:lnTo>
                      <a:pt x="1164" y="456"/>
                    </a:lnTo>
                    <a:lnTo>
                      <a:pt x="1164" y="462"/>
                    </a:lnTo>
                    <a:lnTo>
                      <a:pt x="1158" y="462"/>
                    </a:lnTo>
                    <a:lnTo>
                      <a:pt x="1158" y="468"/>
                    </a:lnTo>
                    <a:lnTo>
                      <a:pt x="1158" y="474"/>
                    </a:lnTo>
                    <a:lnTo>
                      <a:pt x="1158" y="480"/>
                    </a:lnTo>
                    <a:lnTo>
                      <a:pt x="1152" y="480"/>
                    </a:lnTo>
                    <a:lnTo>
                      <a:pt x="1152" y="486"/>
                    </a:lnTo>
                    <a:lnTo>
                      <a:pt x="1152" y="492"/>
                    </a:lnTo>
                    <a:lnTo>
                      <a:pt x="1146" y="492"/>
                    </a:lnTo>
                    <a:lnTo>
                      <a:pt x="1146" y="498"/>
                    </a:lnTo>
                    <a:lnTo>
                      <a:pt x="1140" y="498"/>
                    </a:lnTo>
                    <a:lnTo>
                      <a:pt x="1140" y="504"/>
                    </a:lnTo>
                    <a:lnTo>
                      <a:pt x="1140" y="510"/>
                    </a:lnTo>
                    <a:lnTo>
                      <a:pt x="1134" y="510"/>
                    </a:lnTo>
                    <a:lnTo>
                      <a:pt x="1134" y="516"/>
                    </a:lnTo>
                    <a:lnTo>
                      <a:pt x="1134" y="522"/>
                    </a:lnTo>
                    <a:lnTo>
                      <a:pt x="1128" y="522"/>
                    </a:lnTo>
                    <a:lnTo>
                      <a:pt x="1128" y="528"/>
                    </a:lnTo>
                    <a:lnTo>
                      <a:pt x="1122" y="528"/>
                    </a:lnTo>
                    <a:lnTo>
                      <a:pt x="1122" y="534"/>
                    </a:lnTo>
                    <a:lnTo>
                      <a:pt x="1122" y="540"/>
                    </a:lnTo>
                    <a:lnTo>
                      <a:pt x="1116" y="540"/>
                    </a:lnTo>
                    <a:lnTo>
                      <a:pt x="1116" y="546"/>
                    </a:lnTo>
                    <a:lnTo>
                      <a:pt x="1116" y="540"/>
                    </a:lnTo>
                    <a:lnTo>
                      <a:pt x="1116" y="546"/>
                    </a:lnTo>
                    <a:lnTo>
                      <a:pt x="1116" y="552"/>
                    </a:lnTo>
                    <a:lnTo>
                      <a:pt x="1110" y="552"/>
                    </a:lnTo>
                    <a:lnTo>
                      <a:pt x="1110" y="558"/>
                    </a:lnTo>
                    <a:lnTo>
                      <a:pt x="1116" y="552"/>
                    </a:lnTo>
                    <a:lnTo>
                      <a:pt x="1116" y="558"/>
                    </a:lnTo>
                    <a:lnTo>
                      <a:pt x="1116" y="564"/>
                    </a:lnTo>
                    <a:lnTo>
                      <a:pt x="1116" y="570"/>
                    </a:lnTo>
                    <a:lnTo>
                      <a:pt x="1110" y="570"/>
                    </a:lnTo>
                    <a:lnTo>
                      <a:pt x="1110" y="576"/>
                    </a:lnTo>
                    <a:lnTo>
                      <a:pt x="1110" y="582"/>
                    </a:lnTo>
                    <a:lnTo>
                      <a:pt x="1110" y="588"/>
                    </a:lnTo>
                    <a:lnTo>
                      <a:pt x="1104" y="588"/>
                    </a:lnTo>
                    <a:lnTo>
                      <a:pt x="1110" y="588"/>
                    </a:lnTo>
                    <a:lnTo>
                      <a:pt x="1104" y="588"/>
                    </a:lnTo>
                    <a:lnTo>
                      <a:pt x="1104" y="594"/>
                    </a:lnTo>
                    <a:lnTo>
                      <a:pt x="1104" y="600"/>
                    </a:lnTo>
                    <a:lnTo>
                      <a:pt x="1098" y="600"/>
                    </a:lnTo>
                    <a:lnTo>
                      <a:pt x="1098" y="606"/>
                    </a:lnTo>
                    <a:lnTo>
                      <a:pt x="1092" y="606"/>
                    </a:lnTo>
                    <a:lnTo>
                      <a:pt x="1092" y="612"/>
                    </a:lnTo>
                    <a:lnTo>
                      <a:pt x="1086" y="612"/>
                    </a:lnTo>
                    <a:lnTo>
                      <a:pt x="1086" y="618"/>
                    </a:lnTo>
                    <a:lnTo>
                      <a:pt x="1080" y="618"/>
                    </a:lnTo>
                    <a:lnTo>
                      <a:pt x="1080" y="624"/>
                    </a:lnTo>
                    <a:lnTo>
                      <a:pt x="1074" y="624"/>
                    </a:lnTo>
                    <a:lnTo>
                      <a:pt x="1074" y="630"/>
                    </a:lnTo>
                    <a:lnTo>
                      <a:pt x="1068" y="630"/>
                    </a:lnTo>
                    <a:lnTo>
                      <a:pt x="1068" y="636"/>
                    </a:lnTo>
                    <a:lnTo>
                      <a:pt x="1062" y="636"/>
                    </a:lnTo>
                    <a:lnTo>
                      <a:pt x="1056" y="636"/>
                    </a:lnTo>
                    <a:lnTo>
                      <a:pt x="1056" y="642"/>
                    </a:lnTo>
                    <a:lnTo>
                      <a:pt x="1050" y="642"/>
                    </a:lnTo>
                    <a:lnTo>
                      <a:pt x="1050" y="648"/>
                    </a:lnTo>
                    <a:lnTo>
                      <a:pt x="1044" y="648"/>
                    </a:lnTo>
                    <a:lnTo>
                      <a:pt x="1044" y="654"/>
                    </a:lnTo>
                    <a:lnTo>
                      <a:pt x="1038" y="654"/>
                    </a:lnTo>
                    <a:lnTo>
                      <a:pt x="1038" y="660"/>
                    </a:lnTo>
                    <a:lnTo>
                      <a:pt x="1032" y="660"/>
                    </a:lnTo>
                    <a:lnTo>
                      <a:pt x="1032" y="666"/>
                    </a:lnTo>
                    <a:lnTo>
                      <a:pt x="1026" y="666"/>
                    </a:lnTo>
                    <a:lnTo>
                      <a:pt x="1026" y="672"/>
                    </a:lnTo>
                    <a:lnTo>
                      <a:pt x="1020" y="672"/>
                    </a:lnTo>
                    <a:lnTo>
                      <a:pt x="1020" y="678"/>
                    </a:lnTo>
                    <a:lnTo>
                      <a:pt x="1014" y="678"/>
                    </a:lnTo>
                    <a:lnTo>
                      <a:pt x="1008" y="678"/>
                    </a:lnTo>
                    <a:lnTo>
                      <a:pt x="1008" y="684"/>
                    </a:lnTo>
                    <a:lnTo>
                      <a:pt x="1008" y="678"/>
                    </a:lnTo>
                    <a:lnTo>
                      <a:pt x="1002" y="678"/>
                    </a:lnTo>
                    <a:lnTo>
                      <a:pt x="1002" y="672"/>
                    </a:lnTo>
                    <a:lnTo>
                      <a:pt x="996" y="672"/>
                    </a:lnTo>
                    <a:lnTo>
                      <a:pt x="1002" y="672"/>
                    </a:lnTo>
                    <a:lnTo>
                      <a:pt x="996" y="672"/>
                    </a:lnTo>
                    <a:lnTo>
                      <a:pt x="996" y="678"/>
                    </a:lnTo>
                    <a:lnTo>
                      <a:pt x="990" y="678"/>
                    </a:lnTo>
                    <a:lnTo>
                      <a:pt x="996" y="678"/>
                    </a:lnTo>
                    <a:lnTo>
                      <a:pt x="990" y="678"/>
                    </a:lnTo>
                    <a:lnTo>
                      <a:pt x="990" y="684"/>
                    </a:lnTo>
                    <a:lnTo>
                      <a:pt x="996" y="684"/>
                    </a:lnTo>
                    <a:lnTo>
                      <a:pt x="990" y="684"/>
                    </a:lnTo>
                    <a:lnTo>
                      <a:pt x="990" y="690"/>
                    </a:lnTo>
                    <a:lnTo>
                      <a:pt x="996" y="690"/>
                    </a:lnTo>
                    <a:lnTo>
                      <a:pt x="996" y="684"/>
                    </a:lnTo>
                    <a:lnTo>
                      <a:pt x="1002" y="684"/>
                    </a:lnTo>
                    <a:lnTo>
                      <a:pt x="1002" y="678"/>
                    </a:lnTo>
                    <a:lnTo>
                      <a:pt x="1002" y="684"/>
                    </a:lnTo>
                    <a:lnTo>
                      <a:pt x="1008" y="684"/>
                    </a:lnTo>
                    <a:lnTo>
                      <a:pt x="1014" y="684"/>
                    </a:lnTo>
                    <a:lnTo>
                      <a:pt x="1008" y="684"/>
                    </a:lnTo>
                    <a:lnTo>
                      <a:pt x="1002" y="684"/>
                    </a:lnTo>
                    <a:lnTo>
                      <a:pt x="1002" y="690"/>
                    </a:lnTo>
                    <a:lnTo>
                      <a:pt x="996" y="690"/>
                    </a:lnTo>
                    <a:lnTo>
                      <a:pt x="996" y="696"/>
                    </a:lnTo>
                    <a:lnTo>
                      <a:pt x="996" y="690"/>
                    </a:lnTo>
                    <a:lnTo>
                      <a:pt x="990" y="690"/>
                    </a:lnTo>
                    <a:lnTo>
                      <a:pt x="990" y="684"/>
                    </a:lnTo>
                    <a:lnTo>
                      <a:pt x="990" y="690"/>
                    </a:lnTo>
                    <a:lnTo>
                      <a:pt x="990" y="684"/>
                    </a:lnTo>
                    <a:lnTo>
                      <a:pt x="984" y="684"/>
                    </a:lnTo>
                    <a:lnTo>
                      <a:pt x="984" y="690"/>
                    </a:lnTo>
                    <a:lnTo>
                      <a:pt x="990" y="690"/>
                    </a:lnTo>
                    <a:lnTo>
                      <a:pt x="990" y="696"/>
                    </a:lnTo>
                    <a:lnTo>
                      <a:pt x="990" y="690"/>
                    </a:lnTo>
                    <a:lnTo>
                      <a:pt x="996" y="690"/>
                    </a:lnTo>
                    <a:lnTo>
                      <a:pt x="996" y="696"/>
                    </a:lnTo>
                    <a:lnTo>
                      <a:pt x="990" y="696"/>
                    </a:lnTo>
                    <a:lnTo>
                      <a:pt x="990" y="702"/>
                    </a:lnTo>
                    <a:lnTo>
                      <a:pt x="984" y="702"/>
                    </a:lnTo>
                    <a:lnTo>
                      <a:pt x="984" y="708"/>
                    </a:lnTo>
                    <a:lnTo>
                      <a:pt x="978" y="708"/>
                    </a:lnTo>
                    <a:lnTo>
                      <a:pt x="972" y="708"/>
                    </a:lnTo>
                    <a:lnTo>
                      <a:pt x="972" y="714"/>
                    </a:lnTo>
                    <a:lnTo>
                      <a:pt x="972" y="708"/>
                    </a:lnTo>
                    <a:lnTo>
                      <a:pt x="972" y="714"/>
                    </a:lnTo>
                    <a:lnTo>
                      <a:pt x="966" y="714"/>
                    </a:lnTo>
                    <a:lnTo>
                      <a:pt x="960" y="714"/>
                    </a:lnTo>
                    <a:lnTo>
                      <a:pt x="954" y="714"/>
                    </a:lnTo>
                    <a:lnTo>
                      <a:pt x="954" y="720"/>
                    </a:lnTo>
                    <a:lnTo>
                      <a:pt x="948" y="720"/>
                    </a:lnTo>
                    <a:lnTo>
                      <a:pt x="942" y="720"/>
                    </a:lnTo>
                    <a:lnTo>
                      <a:pt x="936" y="720"/>
                    </a:lnTo>
                    <a:lnTo>
                      <a:pt x="936" y="726"/>
                    </a:lnTo>
                    <a:lnTo>
                      <a:pt x="930" y="726"/>
                    </a:lnTo>
                    <a:lnTo>
                      <a:pt x="924" y="726"/>
                    </a:lnTo>
                    <a:lnTo>
                      <a:pt x="924" y="720"/>
                    </a:lnTo>
                    <a:lnTo>
                      <a:pt x="924" y="726"/>
                    </a:lnTo>
                    <a:lnTo>
                      <a:pt x="924" y="720"/>
                    </a:lnTo>
                    <a:lnTo>
                      <a:pt x="924" y="726"/>
                    </a:lnTo>
                    <a:lnTo>
                      <a:pt x="918" y="726"/>
                    </a:lnTo>
                    <a:lnTo>
                      <a:pt x="924" y="726"/>
                    </a:lnTo>
                    <a:lnTo>
                      <a:pt x="918" y="726"/>
                    </a:lnTo>
                    <a:lnTo>
                      <a:pt x="912" y="726"/>
                    </a:lnTo>
                    <a:lnTo>
                      <a:pt x="912" y="732"/>
                    </a:lnTo>
                    <a:lnTo>
                      <a:pt x="906" y="732"/>
                    </a:lnTo>
                    <a:lnTo>
                      <a:pt x="906" y="738"/>
                    </a:lnTo>
                    <a:lnTo>
                      <a:pt x="900" y="738"/>
                    </a:lnTo>
                    <a:lnTo>
                      <a:pt x="900" y="744"/>
                    </a:lnTo>
                    <a:lnTo>
                      <a:pt x="894" y="744"/>
                    </a:lnTo>
                    <a:lnTo>
                      <a:pt x="894" y="750"/>
                    </a:lnTo>
                    <a:lnTo>
                      <a:pt x="888" y="750"/>
                    </a:lnTo>
                    <a:lnTo>
                      <a:pt x="888" y="756"/>
                    </a:lnTo>
                    <a:lnTo>
                      <a:pt x="882" y="756"/>
                    </a:lnTo>
                    <a:lnTo>
                      <a:pt x="882" y="762"/>
                    </a:lnTo>
                    <a:lnTo>
                      <a:pt x="876" y="762"/>
                    </a:lnTo>
                    <a:lnTo>
                      <a:pt x="876" y="768"/>
                    </a:lnTo>
                    <a:lnTo>
                      <a:pt x="870" y="768"/>
                    </a:lnTo>
                    <a:lnTo>
                      <a:pt x="870" y="774"/>
                    </a:lnTo>
                    <a:lnTo>
                      <a:pt x="864" y="774"/>
                    </a:lnTo>
                    <a:lnTo>
                      <a:pt x="858" y="774"/>
                    </a:lnTo>
                    <a:lnTo>
                      <a:pt x="858" y="780"/>
                    </a:lnTo>
                    <a:lnTo>
                      <a:pt x="864" y="780"/>
                    </a:lnTo>
                    <a:lnTo>
                      <a:pt x="864" y="774"/>
                    </a:lnTo>
                    <a:lnTo>
                      <a:pt x="864" y="780"/>
                    </a:lnTo>
                    <a:lnTo>
                      <a:pt x="858" y="780"/>
                    </a:lnTo>
                    <a:lnTo>
                      <a:pt x="858" y="786"/>
                    </a:lnTo>
                    <a:lnTo>
                      <a:pt x="852" y="786"/>
                    </a:lnTo>
                    <a:lnTo>
                      <a:pt x="852" y="792"/>
                    </a:lnTo>
                    <a:lnTo>
                      <a:pt x="846" y="792"/>
                    </a:lnTo>
                    <a:lnTo>
                      <a:pt x="846" y="798"/>
                    </a:lnTo>
                    <a:lnTo>
                      <a:pt x="840" y="798"/>
                    </a:lnTo>
                    <a:lnTo>
                      <a:pt x="840" y="804"/>
                    </a:lnTo>
                    <a:lnTo>
                      <a:pt x="840" y="798"/>
                    </a:lnTo>
                    <a:lnTo>
                      <a:pt x="840" y="804"/>
                    </a:lnTo>
                    <a:lnTo>
                      <a:pt x="834" y="804"/>
                    </a:lnTo>
                    <a:lnTo>
                      <a:pt x="834" y="810"/>
                    </a:lnTo>
                    <a:lnTo>
                      <a:pt x="828" y="810"/>
                    </a:lnTo>
                    <a:lnTo>
                      <a:pt x="828" y="816"/>
                    </a:lnTo>
                    <a:lnTo>
                      <a:pt x="822" y="816"/>
                    </a:lnTo>
                    <a:lnTo>
                      <a:pt x="822" y="822"/>
                    </a:lnTo>
                    <a:lnTo>
                      <a:pt x="816" y="822"/>
                    </a:lnTo>
                    <a:lnTo>
                      <a:pt x="816" y="828"/>
                    </a:lnTo>
                    <a:lnTo>
                      <a:pt x="810" y="828"/>
                    </a:lnTo>
                    <a:lnTo>
                      <a:pt x="810" y="834"/>
                    </a:lnTo>
                    <a:lnTo>
                      <a:pt x="804" y="834"/>
                    </a:lnTo>
                    <a:lnTo>
                      <a:pt x="804" y="840"/>
                    </a:lnTo>
                    <a:lnTo>
                      <a:pt x="798" y="840"/>
                    </a:lnTo>
                    <a:lnTo>
                      <a:pt x="798" y="846"/>
                    </a:lnTo>
                    <a:lnTo>
                      <a:pt x="792" y="846"/>
                    </a:lnTo>
                    <a:lnTo>
                      <a:pt x="792" y="852"/>
                    </a:lnTo>
                    <a:lnTo>
                      <a:pt x="786" y="852"/>
                    </a:lnTo>
                    <a:lnTo>
                      <a:pt x="786" y="858"/>
                    </a:lnTo>
                    <a:lnTo>
                      <a:pt x="780" y="858"/>
                    </a:lnTo>
                    <a:lnTo>
                      <a:pt x="780" y="864"/>
                    </a:lnTo>
                    <a:lnTo>
                      <a:pt x="774" y="864"/>
                    </a:lnTo>
                    <a:lnTo>
                      <a:pt x="774" y="870"/>
                    </a:lnTo>
                    <a:lnTo>
                      <a:pt x="768" y="870"/>
                    </a:lnTo>
                    <a:lnTo>
                      <a:pt x="768" y="876"/>
                    </a:lnTo>
                    <a:lnTo>
                      <a:pt x="768" y="882"/>
                    </a:lnTo>
                    <a:lnTo>
                      <a:pt x="762" y="882"/>
                    </a:lnTo>
                    <a:lnTo>
                      <a:pt x="762" y="888"/>
                    </a:lnTo>
                    <a:lnTo>
                      <a:pt x="756" y="888"/>
                    </a:lnTo>
                    <a:lnTo>
                      <a:pt x="756" y="894"/>
                    </a:lnTo>
                    <a:lnTo>
                      <a:pt x="750" y="894"/>
                    </a:lnTo>
                    <a:lnTo>
                      <a:pt x="750" y="900"/>
                    </a:lnTo>
                    <a:lnTo>
                      <a:pt x="744" y="900"/>
                    </a:lnTo>
                    <a:lnTo>
                      <a:pt x="744" y="906"/>
                    </a:lnTo>
                    <a:lnTo>
                      <a:pt x="744" y="912"/>
                    </a:lnTo>
                    <a:lnTo>
                      <a:pt x="738" y="912"/>
                    </a:lnTo>
                    <a:lnTo>
                      <a:pt x="744" y="912"/>
                    </a:lnTo>
                    <a:lnTo>
                      <a:pt x="738" y="912"/>
                    </a:lnTo>
                    <a:lnTo>
                      <a:pt x="738" y="918"/>
                    </a:lnTo>
                    <a:lnTo>
                      <a:pt x="732" y="918"/>
                    </a:lnTo>
                    <a:lnTo>
                      <a:pt x="732" y="924"/>
                    </a:lnTo>
                    <a:lnTo>
                      <a:pt x="726" y="924"/>
                    </a:lnTo>
                    <a:lnTo>
                      <a:pt x="726" y="930"/>
                    </a:lnTo>
                    <a:lnTo>
                      <a:pt x="726" y="936"/>
                    </a:lnTo>
                    <a:lnTo>
                      <a:pt x="720" y="936"/>
                    </a:lnTo>
                    <a:lnTo>
                      <a:pt x="720" y="942"/>
                    </a:lnTo>
                    <a:lnTo>
                      <a:pt x="714" y="942"/>
                    </a:lnTo>
                    <a:lnTo>
                      <a:pt x="714" y="948"/>
                    </a:lnTo>
                    <a:lnTo>
                      <a:pt x="708" y="948"/>
                    </a:lnTo>
                    <a:lnTo>
                      <a:pt x="708" y="954"/>
                    </a:lnTo>
                    <a:lnTo>
                      <a:pt x="708" y="960"/>
                    </a:lnTo>
                    <a:lnTo>
                      <a:pt x="702" y="960"/>
                    </a:lnTo>
                    <a:lnTo>
                      <a:pt x="702" y="966"/>
                    </a:lnTo>
                    <a:lnTo>
                      <a:pt x="702" y="972"/>
                    </a:lnTo>
                    <a:lnTo>
                      <a:pt x="696" y="972"/>
                    </a:lnTo>
                    <a:lnTo>
                      <a:pt x="696" y="978"/>
                    </a:lnTo>
                    <a:lnTo>
                      <a:pt x="696" y="984"/>
                    </a:lnTo>
                    <a:lnTo>
                      <a:pt x="690" y="984"/>
                    </a:lnTo>
                    <a:lnTo>
                      <a:pt x="690" y="990"/>
                    </a:lnTo>
                    <a:lnTo>
                      <a:pt x="684" y="990"/>
                    </a:lnTo>
                    <a:lnTo>
                      <a:pt x="684" y="996"/>
                    </a:lnTo>
                    <a:lnTo>
                      <a:pt x="684" y="1002"/>
                    </a:lnTo>
                    <a:lnTo>
                      <a:pt x="678" y="1002"/>
                    </a:lnTo>
                    <a:lnTo>
                      <a:pt x="678" y="1008"/>
                    </a:lnTo>
                    <a:lnTo>
                      <a:pt x="678" y="1014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84" y="1026"/>
                    </a:lnTo>
                    <a:lnTo>
                      <a:pt x="678" y="1026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72" y="1026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66" y="1038"/>
                    </a:lnTo>
                    <a:lnTo>
                      <a:pt x="672" y="1038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72" y="1032"/>
                    </a:lnTo>
                    <a:lnTo>
                      <a:pt x="672" y="1026"/>
                    </a:lnTo>
                    <a:lnTo>
                      <a:pt x="672" y="1032"/>
                    </a:lnTo>
                    <a:lnTo>
                      <a:pt x="678" y="1032"/>
                    </a:lnTo>
                    <a:lnTo>
                      <a:pt x="678" y="1026"/>
                    </a:lnTo>
                    <a:lnTo>
                      <a:pt x="678" y="1032"/>
                    </a:lnTo>
                    <a:lnTo>
                      <a:pt x="672" y="1032"/>
                    </a:lnTo>
                    <a:lnTo>
                      <a:pt x="678" y="1032"/>
                    </a:lnTo>
                    <a:lnTo>
                      <a:pt x="684" y="1032"/>
                    </a:lnTo>
                    <a:lnTo>
                      <a:pt x="684" y="1026"/>
                    </a:lnTo>
                    <a:lnTo>
                      <a:pt x="684" y="1032"/>
                    </a:lnTo>
                    <a:lnTo>
                      <a:pt x="678" y="1032"/>
                    </a:lnTo>
                    <a:lnTo>
                      <a:pt x="678" y="1038"/>
                    </a:lnTo>
                    <a:lnTo>
                      <a:pt x="678" y="1044"/>
                    </a:lnTo>
                    <a:lnTo>
                      <a:pt x="672" y="1044"/>
                    </a:lnTo>
                    <a:lnTo>
                      <a:pt x="672" y="1050"/>
                    </a:lnTo>
                    <a:lnTo>
                      <a:pt x="666" y="1050"/>
                    </a:lnTo>
                    <a:lnTo>
                      <a:pt x="666" y="1056"/>
                    </a:lnTo>
                    <a:lnTo>
                      <a:pt x="660" y="1056"/>
                    </a:lnTo>
                    <a:lnTo>
                      <a:pt x="660" y="1062"/>
                    </a:lnTo>
                    <a:lnTo>
                      <a:pt x="660" y="1056"/>
                    </a:lnTo>
                    <a:lnTo>
                      <a:pt x="660" y="1062"/>
                    </a:lnTo>
                    <a:lnTo>
                      <a:pt x="654" y="1062"/>
                    </a:lnTo>
                    <a:lnTo>
                      <a:pt x="654" y="1068"/>
                    </a:lnTo>
                    <a:lnTo>
                      <a:pt x="648" y="1068"/>
                    </a:lnTo>
                    <a:lnTo>
                      <a:pt x="654" y="1068"/>
                    </a:lnTo>
                    <a:lnTo>
                      <a:pt x="648" y="1068"/>
                    </a:lnTo>
                    <a:lnTo>
                      <a:pt x="648" y="1074"/>
                    </a:lnTo>
                    <a:lnTo>
                      <a:pt x="642" y="1074"/>
                    </a:lnTo>
                    <a:lnTo>
                      <a:pt x="642" y="1080"/>
                    </a:lnTo>
                    <a:lnTo>
                      <a:pt x="636" y="1080"/>
                    </a:lnTo>
                    <a:lnTo>
                      <a:pt x="636" y="1086"/>
                    </a:lnTo>
                    <a:lnTo>
                      <a:pt x="636" y="1080"/>
                    </a:lnTo>
                    <a:lnTo>
                      <a:pt x="636" y="1086"/>
                    </a:lnTo>
                    <a:lnTo>
                      <a:pt x="630" y="1086"/>
                    </a:lnTo>
                    <a:lnTo>
                      <a:pt x="630" y="1092"/>
                    </a:lnTo>
                    <a:lnTo>
                      <a:pt x="624" y="1092"/>
                    </a:lnTo>
                    <a:lnTo>
                      <a:pt x="624" y="1098"/>
                    </a:lnTo>
                    <a:lnTo>
                      <a:pt x="624" y="1104"/>
                    </a:lnTo>
                    <a:lnTo>
                      <a:pt x="618" y="1104"/>
                    </a:lnTo>
                    <a:lnTo>
                      <a:pt x="618" y="1110"/>
                    </a:lnTo>
                    <a:lnTo>
                      <a:pt x="618" y="1116"/>
                    </a:lnTo>
                    <a:lnTo>
                      <a:pt x="612" y="1116"/>
                    </a:lnTo>
                    <a:lnTo>
                      <a:pt x="612" y="1122"/>
                    </a:lnTo>
                    <a:lnTo>
                      <a:pt x="612" y="1128"/>
                    </a:lnTo>
                    <a:lnTo>
                      <a:pt x="606" y="1128"/>
                    </a:lnTo>
                    <a:lnTo>
                      <a:pt x="606" y="1134"/>
                    </a:lnTo>
                    <a:lnTo>
                      <a:pt x="606" y="1140"/>
                    </a:lnTo>
                    <a:lnTo>
                      <a:pt x="600" y="1140"/>
                    </a:lnTo>
                    <a:lnTo>
                      <a:pt x="600" y="1146"/>
                    </a:lnTo>
                    <a:lnTo>
                      <a:pt x="600" y="1152"/>
                    </a:lnTo>
                    <a:lnTo>
                      <a:pt x="594" y="1152"/>
                    </a:lnTo>
                    <a:lnTo>
                      <a:pt x="594" y="1158"/>
                    </a:lnTo>
                    <a:lnTo>
                      <a:pt x="588" y="1158"/>
                    </a:lnTo>
                    <a:lnTo>
                      <a:pt x="588" y="1164"/>
                    </a:lnTo>
                    <a:lnTo>
                      <a:pt x="588" y="1170"/>
                    </a:lnTo>
                    <a:lnTo>
                      <a:pt x="582" y="1170"/>
                    </a:lnTo>
                    <a:lnTo>
                      <a:pt x="582" y="1176"/>
                    </a:lnTo>
                    <a:lnTo>
                      <a:pt x="582" y="1182"/>
                    </a:lnTo>
                    <a:lnTo>
                      <a:pt x="576" y="1182"/>
                    </a:lnTo>
                    <a:lnTo>
                      <a:pt x="576" y="1188"/>
                    </a:lnTo>
                    <a:lnTo>
                      <a:pt x="576" y="1194"/>
                    </a:lnTo>
                    <a:lnTo>
                      <a:pt x="570" y="1194"/>
                    </a:lnTo>
                    <a:lnTo>
                      <a:pt x="570" y="1200"/>
                    </a:lnTo>
                    <a:lnTo>
                      <a:pt x="564" y="1200"/>
                    </a:lnTo>
                    <a:lnTo>
                      <a:pt x="564" y="1206"/>
                    </a:lnTo>
                    <a:lnTo>
                      <a:pt x="564" y="1212"/>
                    </a:lnTo>
                    <a:lnTo>
                      <a:pt x="558" y="1212"/>
                    </a:lnTo>
                    <a:lnTo>
                      <a:pt x="558" y="1218"/>
                    </a:lnTo>
                    <a:lnTo>
                      <a:pt x="558" y="1224"/>
                    </a:lnTo>
                    <a:lnTo>
                      <a:pt x="552" y="1224"/>
                    </a:lnTo>
                    <a:lnTo>
                      <a:pt x="552" y="1230"/>
                    </a:lnTo>
                    <a:lnTo>
                      <a:pt x="552" y="1236"/>
                    </a:lnTo>
                    <a:lnTo>
                      <a:pt x="546" y="1236"/>
                    </a:lnTo>
                    <a:lnTo>
                      <a:pt x="546" y="1242"/>
                    </a:lnTo>
                    <a:lnTo>
                      <a:pt x="540" y="1242"/>
                    </a:lnTo>
                    <a:lnTo>
                      <a:pt x="540" y="1248"/>
                    </a:lnTo>
                    <a:lnTo>
                      <a:pt x="534" y="1248"/>
                    </a:lnTo>
                    <a:lnTo>
                      <a:pt x="534" y="1254"/>
                    </a:lnTo>
                    <a:lnTo>
                      <a:pt x="534" y="1260"/>
                    </a:lnTo>
                    <a:lnTo>
                      <a:pt x="528" y="1260"/>
                    </a:lnTo>
                    <a:lnTo>
                      <a:pt x="528" y="1266"/>
                    </a:lnTo>
                    <a:lnTo>
                      <a:pt x="522" y="1266"/>
                    </a:lnTo>
                    <a:lnTo>
                      <a:pt x="522" y="1272"/>
                    </a:lnTo>
                    <a:lnTo>
                      <a:pt x="522" y="1278"/>
                    </a:lnTo>
                    <a:lnTo>
                      <a:pt x="516" y="1278"/>
                    </a:lnTo>
                    <a:lnTo>
                      <a:pt x="522" y="1278"/>
                    </a:lnTo>
                    <a:lnTo>
                      <a:pt x="516" y="1278"/>
                    </a:lnTo>
                    <a:lnTo>
                      <a:pt x="516" y="1284"/>
                    </a:lnTo>
                    <a:lnTo>
                      <a:pt x="510" y="1290"/>
                    </a:lnTo>
                    <a:lnTo>
                      <a:pt x="510" y="1296"/>
                    </a:lnTo>
                    <a:lnTo>
                      <a:pt x="504" y="1296"/>
                    </a:lnTo>
                    <a:lnTo>
                      <a:pt x="504" y="1302"/>
                    </a:lnTo>
                    <a:lnTo>
                      <a:pt x="498" y="1302"/>
                    </a:lnTo>
                    <a:lnTo>
                      <a:pt x="498" y="1308"/>
                    </a:lnTo>
                    <a:lnTo>
                      <a:pt x="498" y="1314"/>
                    </a:lnTo>
                    <a:lnTo>
                      <a:pt x="492" y="1314"/>
                    </a:lnTo>
                    <a:lnTo>
                      <a:pt x="492" y="1320"/>
                    </a:lnTo>
                    <a:lnTo>
                      <a:pt x="486" y="1320"/>
                    </a:lnTo>
                    <a:lnTo>
                      <a:pt x="486" y="1326"/>
                    </a:lnTo>
                    <a:lnTo>
                      <a:pt x="486" y="1332"/>
                    </a:lnTo>
                    <a:lnTo>
                      <a:pt x="480" y="1332"/>
                    </a:lnTo>
                    <a:lnTo>
                      <a:pt x="480" y="1338"/>
                    </a:lnTo>
                    <a:lnTo>
                      <a:pt x="480" y="1344"/>
                    </a:lnTo>
                    <a:lnTo>
                      <a:pt x="474" y="1344"/>
                    </a:lnTo>
                    <a:lnTo>
                      <a:pt x="474" y="1350"/>
                    </a:lnTo>
                    <a:lnTo>
                      <a:pt x="468" y="1350"/>
                    </a:lnTo>
                    <a:lnTo>
                      <a:pt x="468" y="1356"/>
                    </a:lnTo>
                    <a:lnTo>
                      <a:pt x="462" y="1356"/>
                    </a:lnTo>
                    <a:lnTo>
                      <a:pt x="462" y="1362"/>
                    </a:lnTo>
                    <a:lnTo>
                      <a:pt x="462" y="1368"/>
                    </a:lnTo>
                    <a:lnTo>
                      <a:pt x="456" y="1368"/>
                    </a:lnTo>
                    <a:lnTo>
                      <a:pt x="456" y="1374"/>
                    </a:lnTo>
                    <a:lnTo>
                      <a:pt x="450" y="1374"/>
                    </a:lnTo>
                    <a:lnTo>
                      <a:pt x="450" y="1380"/>
                    </a:lnTo>
                    <a:lnTo>
                      <a:pt x="444" y="1380"/>
                    </a:lnTo>
                    <a:lnTo>
                      <a:pt x="444" y="1386"/>
                    </a:lnTo>
                    <a:lnTo>
                      <a:pt x="438" y="1386"/>
                    </a:lnTo>
                    <a:lnTo>
                      <a:pt x="438" y="1392"/>
                    </a:lnTo>
                    <a:lnTo>
                      <a:pt x="438" y="1386"/>
                    </a:lnTo>
                    <a:lnTo>
                      <a:pt x="438" y="1392"/>
                    </a:lnTo>
                    <a:lnTo>
                      <a:pt x="438" y="1398"/>
                    </a:lnTo>
                    <a:lnTo>
                      <a:pt x="432" y="1398"/>
                    </a:lnTo>
                    <a:lnTo>
                      <a:pt x="432" y="1404"/>
                    </a:lnTo>
                    <a:lnTo>
                      <a:pt x="426" y="1404"/>
                    </a:lnTo>
                    <a:lnTo>
                      <a:pt x="426" y="1410"/>
                    </a:lnTo>
                    <a:lnTo>
                      <a:pt x="420" y="1410"/>
                    </a:lnTo>
                    <a:lnTo>
                      <a:pt x="420" y="1416"/>
                    </a:lnTo>
                    <a:lnTo>
                      <a:pt x="426" y="1416"/>
                    </a:lnTo>
                    <a:lnTo>
                      <a:pt x="420" y="1416"/>
                    </a:lnTo>
                    <a:lnTo>
                      <a:pt x="420" y="1422"/>
                    </a:lnTo>
                    <a:lnTo>
                      <a:pt x="414" y="1422"/>
                    </a:lnTo>
                    <a:lnTo>
                      <a:pt x="408" y="1422"/>
                    </a:lnTo>
                    <a:lnTo>
                      <a:pt x="408" y="1416"/>
                    </a:lnTo>
                    <a:lnTo>
                      <a:pt x="408" y="1410"/>
                    </a:lnTo>
                    <a:lnTo>
                      <a:pt x="402" y="1404"/>
                    </a:lnTo>
                    <a:lnTo>
                      <a:pt x="396" y="1404"/>
                    </a:lnTo>
                    <a:lnTo>
                      <a:pt x="396" y="1398"/>
                    </a:lnTo>
                    <a:lnTo>
                      <a:pt x="396" y="1392"/>
                    </a:lnTo>
                    <a:lnTo>
                      <a:pt x="396" y="1386"/>
                    </a:lnTo>
                    <a:lnTo>
                      <a:pt x="390" y="1386"/>
                    </a:lnTo>
                    <a:lnTo>
                      <a:pt x="390" y="1380"/>
                    </a:lnTo>
                    <a:lnTo>
                      <a:pt x="396" y="1380"/>
                    </a:lnTo>
                    <a:lnTo>
                      <a:pt x="396" y="1374"/>
                    </a:lnTo>
                    <a:lnTo>
                      <a:pt x="396" y="1368"/>
                    </a:lnTo>
                    <a:lnTo>
                      <a:pt x="390" y="1368"/>
                    </a:lnTo>
                    <a:lnTo>
                      <a:pt x="390" y="1362"/>
                    </a:lnTo>
                    <a:lnTo>
                      <a:pt x="384" y="1362"/>
                    </a:lnTo>
                    <a:lnTo>
                      <a:pt x="378" y="1362"/>
                    </a:lnTo>
                    <a:lnTo>
                      <a:pt x="378" y="1356"/>
                    </a:lnTo>
                    <a:lnTo>
                      <a:pt x="378" y="1350"/>
                    </a:lnTo>
                    <a:lnTo>
                      <a:pt x="378" y="1344"/>
                    </a:lnTo>
                    <a:lnTo>
                      <a:pt x="372" y="1344"/>
                    </a:lnTo>
                    <a:lnTo>
                      <a:pt x="366" y="1344"/>
                    </a:lnTo>
                    <a:lnTo>
                      <a:pt x="360" y="1344"/>
                    </a:lnTo>
                    <a:lnTo>
                      <a:pt x="360" y="1338"/>
                    </a:lnTo>
                    <a:lnTo>
                      <a:pt x="354" y="1338"/>
                    </a:lnTo>
                    <a:lnTo>
                      <a:pt x="348" y="1338"/>
                    </a:lnTo>
                    <a:lnTo>
                      <a:pt x="348" y="1332"/>
                    </a:lnTo>
                    <a:lnTo>
                      <a:pt x="342" y="1326"/>
                    </a:lnTo>
                    <a:lnTo>
                      <a:pt x="342" y="1320"/>
                    </a:lnTo>
                    <a:lnTo>
                      <a:pt x="336" y="1320"/>
                    </a:lnTo>
                    <a:lnTo>
                      <a:pt x="330" y="1320"/>
                    </a:lnTo>
                    <a:lnTo>
                      <a:pt x="324" y="1320"/>
                    </a:lnTo>
                    <a:lnTo>
                      <a:pt x="324" y="1314"/>
                    </a:lnTo>
                    <a:lnTo>
                      <a:pt x="318" y="1308"/>
                    </a:lnTo>
                    <a:lnTo>
                      <a:pt x="312" y="1308"/>
                    </a:lnTo>
                    <a:lnTo>
                      <a:pt x="306" y="1302"/>
                    </a:lnTo>
                    <a:lnTo>
                      <a:pt x="306" y="1296"/>
                    </a:lnTo>
                    <a:lnTo>
                      <a:pt x="300" y="1290"/>
                    </a:lnTo>
                    <a:lnTo>
                      <a:pt x="294" y="1290"/>
                    </a:lnTo>
                    <a:lnTo>
                      <a:pt x="294" y="1296"/>
                    </a:lnTo>
                    <a:lnTo>
                      <a:pt x="288" y="1296"/>
                    </a:lnTo>
                    <a:lnTo>
                      <a:pt x="282" y="1296"/>
                    </a:lnTo>
                    <a:lnTo>
                      <a:pt x="276" y="1290"/>
                    </a:lnTo>
                    <a:lnTo>
                      <a:pt x="270" y="1290"/>
                    </a:lnTo>
                    <a:lnTo>
                      <a:pt x="270" y="1284"/>
                    </a:lnTo>
                    <a:lnTo>
                      <a:pt x="264" y="1284"/>
                    </a:lnTo>
                    <a:lnTo>
                      <a:pt x="258" y="1284"/>
                    </a:lnTo>
                    <a:lnTo>
                      <a:pt x="252" y="1284"/>
                    </a:lnTo>
                    <a:lnTo>
                      <a:pt x="246" y="1284"/>
                    </a:lnTo>
                    <a:lnTo>
                      <a:pt x="240" y="1284"/>
                    </a:lnTo>
                    <a:lnTo>
                      <a:pt x="240" y="1278"/>
                    </a:lnTo>
                    <a:lnTo>
                      <a:pt x="234" y="1278"/>
                    </a:lnTo>
                    <a:lnTo>
                      <a:pt x="228" y="1278"/>
                    </a:lnTo>
                    <a:lnTo>
                      <a:pt x="228" y="1272"/>
                    </a:lnTo>
                    <a:lnTo>
                      <a:pt x="222" y="1272"/>
                    </a:lnTo>
                    <a:lnTo>
                      <a:pt x="222" y="1266"/>
                    </a:lnTo>
                    <a:lnTo>
                      <a:pt x="216" y="1266"/>
                    </a:lnTo>
                    <a:lnTo>
                      <a:pt x="216" y="1260"/>
                    </a:lnTo>
                    <a:lnTo>
                      <a:pt x="210" y="1260"/>
                    </a:lnTo>
                    <a:lnTo>
                      <a:pt x="204" y="1260"/>
                    </a:lnTo>
                    <a:lnTo>
                      <a:pt x="198" y="1260"/>
                    </a:lnTo>
                    <a:lnTo>
                      <a:pt x="198" y="1266"/>
                    </a:lnTo>
                    <a:lnTo>
                      <a:pt x="192" y="1266"/>
                    </a:lnTo>
                    <a:lnTo>
                      <a:pt x="186" y="1266"/>
                    </a:lnTo>
                    <a:lnTo>
                      <a:pt x="180" y="1266"/>
                    </a:lnTo>
                    <a:lnTo>
                      <a:pt x="174" y="1266"/>
                    </a:lnTo>
                    <a:lnTo>
                      <a:pt x="174" y="1272"/>
                    </a:lnTo>
                    <a:lnTo>
                      <a:pt x="168" y="1272"/>
                    </a:lnTo>
                    <a:lnTo>
                      <a:pt x="162" y="1272"/>
                    </a:lnTo>
                    <a:lnTo>
                      <a:pt x="156" y="1266"/>
                    </a:lnTo>
                    <a:lnTo>
                      <a:pt x="150" y="1266"/>
                    </a:lnTo>
                    <a:lnTo>
                      <a:pt x="150" y="1260"/>
                    </a:lnTo>
                    <a:lnTo>
                      <a:pt x="144" y="1260"/>
                    </a:lnTo>
                    <a:lnTo>
                      <a:pt x="138" y="1260"/>
                    </a:lnTo>
                    <a:lnTo>
                      <a:pt x="132" y="1254"/>
                    </a:lnTo>
                    <a:lnTo>
                      <a:pt x="126" y="1254"/>
                    </a:lnTo>
                    <a:lnTo>
                      <a:pt x="120" y="1254"/>
                    </a:lnTo>
                    <a:lnTo>
                      <a:pt x="114" y="1248"/>
                    </a:lnTo>
                    <a:lnTo>
                      <a:pt x="108" y="1248"/>
                    </a:lnTo>
                    <a:lnTo>
                      <a:pt x="102" y="1248"/>
                    </a:lnTo>
                    <a:lnTo>
                      <a:pt x="96" y="1248"/>
                    </a:lnTo>
                    <a:lnTo>
                      <a:pt x="96" y="1242"/>
                    </a:lnTo>
                    <a:lnTo>
                      <a:pt x="96" y="1236"/>
                    </a:lnTo>
                    <a:lnTo>
                      <a:pt x="96" y="1230"/>
                    </a:lnTo>
                    <a:lnTo>
                      <a:pt x="96" y="1224"/>
                    </a:lnTo>
                    <a:lnTo>
                      <a:pt x="90" y="1224"/>
                    </a:lnTo>
                    <a:lnTo>
                      <a:pt x="84" y="1224"/>
                    </a:lnTo>
                    <a:lnTo>
                      <a:pt x="84" y="1218"/>
                    </a:lnTo>
                    <a:lnTo>
                      <a:pt x="78" y="1218"/>
                    </a:lnTo>
                    <a:lnTo>
                      <a:pt x="72" y="1218"/>
                    </a:lnTo>
                    <a:lnTo>
                      <a:pt x="72" y="1212"/>
                    </a:lnTo>
                    <a:lnTo>
                      <a:pt x="66" y="1218"/>
                    </a:lnTo>
                    <a:lnTo>
                      <a:pt x="66" y="1224"/>
                    </a:lnTo>
                    <a:lnTo>
                      <a:pt x="66" y="1230"/>
                    </a:lnTo>
                    <a:lnTo>
                      <a:pt x="66" y="1236"/>
                    </a:lnTo>
                    <a:lnTo>
                      <a:pt x="66" y="1242"/>
                    </a:lnTo>
                    <a:lnTo>
                      <a:pt x="60" y="1242"/>
                    </a:lnTo>
                    <a:lnTo>
                      <a:pt x="54" y="1242"/>
                    </a:lnTo>
                    <a:lnTo>
                      <a:pt x="54" y="1236"/>
                    </a:lnTo>
                    <a:lnTo>
                      <a:pt x="48" y="1236"/>
                    </a:lnTo>
                    <a:lnTo>
                      <a:pt x="42" y="1236"/>
                    </a:lnTo>
                    <a:lnTo>
                      <a:pt x="36" y="1236"/>
                    </a:lnTo>
                    <a:lnTo>
                      <a:pt x="30" y="1236"/>
                    </a:lnTo>
                    <a:lnTo>
                      <a:pt x="30" y="1230"/>
                    </a:lnTo>
                    <a:lnTo>
                      <a:pt x="24" y="1230"/>
                    </a:lnTo>
                    <a:lnTo>
                      <a:pt x="24" y="1224"/>
                    </a:lnTo>
                    <a:lnTo>
                      <a:pt x="24" y="1218"/>
                    </a:lnTo>
                    <a:lnTo>
                      <a:pt x="18" y="1218"/>
                    </a:lnTo>
                    <a:lnTo>
                      <a:pt x="18" y="1212"/>
                    </a:lnTo>
                    <a:lnTo>
                      <a:pt x="12" y="1212"/>
                    </a:lnTo>
                    <a:lnTo>
                      <a:pt x="6" y="1212"/>
                    </a:lnTo>
                    <a:lnTo>
                      <a:pt x="6" y="1206"/>
                    </a:lnTo>
                    <a:lnTo>
                      <a:pt x="0" y="1200"/>
                    </a:lnTo>
                    <a:lnTo>
                      <a:pt x="6" y="1194"/>
                    </a:lnTo>
                    <a:lnTo>
                      <a:pt x="6" y="1188"/>
                    </a:lnTo>
                    <a:lnTo>
                      <a:pt x="12" y="1188"/>
                    </a:lnTo>
                    <a:lnTo>
                      <a:pt x="12" y="1182"/>
                    </a:lnTo>
                    <a:lnTo>
                      <a:pt x="6" y="1182"/>
                    </a:lnTo>
                    <a:lnTo>
                      <a:pt x="6" y="1176"/>
                    </a:lnTo>
                    <a:lnTo>
                      <a:pt x="6" y="1170"/>
                    </a:lnTo>
                    <a:lnTo>
                      <a:pt x="0" y="1170"/>
                    </a:lnTo>
                    <a:lnTo>
                      <a:pt x="0" y="1164"/>
                    </a:lnTo>
                    <a:lnTo>
                      <a:pt x="6" y="1164"/>
                    </a:lnTo>
                    <a:lnTo>
                      <a:pt x="6" y="1158"/>
                    </a:lnTo>
                    <a:lnTo>
                      <a:pt x="6" y="1152"/>
                    </a:lnTo>
                    <a:lnTo>
                      <a:pt x="12" y="1152"/>
                    </a:lnTo>
                    <a:lnTo>
                      <a:pt x="12" y="1146"/>
                    </a:lnTo>
                    <a:lnTo>
                      <a:pt x="12" y="1140"/>
                    </a:lnTo>
                    <a:lnTo>
                      <a:pt x="12" y="1146"/>
                    </a:lnTo>
                    <a:lnTo>
                      <a:pt x="18" y="1146"/>
                    </a:lnTo>
                    <a:lnTo>
                      <a:pt x="24" y="1146"/>
                    </a:lnTo>
                    <a:lnTo>
                      <a:pt x="30" y="1152"/>
                    </a:lnTo>
                    <a:lnTo>
                      <a:pt x="36" y="1152"/>
                    </a:lnTo>
                    <a:lnTo>
                      <a:pt x="42" y="1152"/>
                    </a:lnTo>
                    <a:lnTo>
                      <a:pt x="42" y="1146"/>
                    </a:lnTo>
                    <a:lnTo>
                      <a:pt x="42" y="1140"/>
                    </a:lnTo>
                    <a:lnTo>
                      <a:pt x="42" y="1134"/>
                    </a:lnTo>
                    <a:lnTo>
                      <a:pt x="48" y="1134"/>
                    </a:lnTo>
                    <a:lnTo>
                      <a:pt x="54" y="1134"/>
                    </a:lnTo>
                    <a:lnTo>
                      <a:pt x="60" y="1134"/>
                    </a:lnTo>
                    <a:lnTo>
                      <a:pt x="60" y="1128"/>
                    </a:lnTo>
                    <a:lnTo>
                      <a:pt x="66" y="1128"/>
                    </a:lnTo>
                    <a:lnTo>
                      <a:pt x="66" y="1122"/>
                    </a:lnTo>
                    <a:lnTo>
                      <a:pt x="72" y="1122"/>
                    </a:lnTo>
                    <a:lnTo>
                      <a:pt x="78" y="1122"/>
                    </a:lnTo>
                    <a:lnTo>
                      <a:pt x="78" y="1116"/>
                    </a:lnTo>
                    <a:lnTo>
                      <a:pt x="72" y="1116"/>
                    </a:lnTo>
                    <a:lnTo>
                      <a:pt x="72" y="1110"/>
                    </a:lnTo>
                    <a:lnTo>
                      <a:pt x="78" y="1104"/>
                    </a:lnTo>
                    <a:lnTo>
                      <a:pt x="84" y="1104"/>
                    </a:lnTo>
                    <a:lnTo>
                      <a:pt x="84" y="1098"/>
                    </a:lnTo>
                    <a:lnTo>
                      <a:pt x="90" y="1098"/>
                    </a:lnTo>
                    <a:lnTo>
                      <a:pt x="96" y="1104"/>
                    </a:lnTo>
                    <a:lnTo>
                      <a:pt x="102" y="1104"/>
                    </a:lnTo>
                    <a:lnTo>
                      <a:pt x="102" y="1098"/>
                    </a:lnTo>
                    <a:lnTo>
                      <a:pt x="102" y="1092"/>
                    </a:lnTo>
                    <a:lnTo>
                      <a:pt x="108" y="1092"/>
                    </a:lnTo>
                    <a:lnTo>
                      <a:pt x="108" y="1086"/>
                    </a:lnTo>
                    <a:lnTo>
                      <a:pt x="114" y="1086"/>
                    </a:lnTo>
                    <a:lnTo>
                      <a:pt x="114" y="1080"/>
                    </a:lnTo>
                    <a:lnTo>
                      <a:pt x="114" y="1074"/>
                    </a:lnTo>
                    <a:lnTo>
                      <a:pt x="114" y="1068"/>
                    </a:lnTo>
                    <a:lnTo>
                      <a:pt x="108" y="1068"/>
                    </a:lnTo>
                    <a:lnTo>
                      <a:pt x="102" y="1068"/>
                    </a:lnTo>
                    <a:lnTo>
                      <a:pt x="102" y="1062"/>
                    </a:lnTo>
                    <a:lnTo>
                      <a:pt x="96" y="1062"/>
                    </a:lnTo>
                    <a:lnTo>
                      <a:pt x="96" y="1056"/>
                    </a:lnTo>
                    <a:lnTo>
                      <a:pt x="96" y="1050"/>
                    </a:lnTo>
                    <a:lnTo>
                      <a:pt x="90" y="1050"/>
                    </a:lnTo>
                    <a:lnTo>
                      <a:pt x="90" y="1044"/>
                    </a:lnTo>
                    <a:lnTo>
                      <a:pt x="96" y="1044"/>
                    </a:lnTo>
                    <a:lnTo>
                      <a:pt x="96" y="1038"/>
                    </a:lnTo>
                    <a:lnTo>
                      <a:pt x="108" y="1032"/>
                    </a:lnTo>
                    <a:lnTo>
                      <a:pt x="114" y="1032"/>
                    </a:lnTo>
                    <a:lnTo>
                      <a:pt x="114" y="1026"/>
                    </a:lnTo>
                    <a:lnTo>
                      <a:pt x="120" y="1026"/>
                    </a:lnTo>
                    <a:lnTo>
                      <a:pt x="126" y="1026"/>
                    </a:lnTo>
                    <a:lnTo>
                      <a:pt x="126" y="1020"/>
                    </a:lnTo>
                    <a:lnTo>
                      <a:pt x="132" y="1020"/>
                    </a:lnTo>
                    <a:lnTo>
                      <a:pt x="132" y="1014"/>
                    </a:lnTo>
                    <a:lnTo>
                      <a:pt x="126" y="1008"/>
                    </a:lnTo>
                    <a:lnTo>
                      <a:pt x="126" y="1002"/>
                    </a:lnTo>
                    <a:lnTo>
                      <a:pt x="120" y="996"/>
                    </a:lnTo>
                    <a:lnTo>
                      <a:pt x="120" y="990"/>
                    </a:lnTo>
                    <a:lnTo>
                      <a:pt x="126" y="978"/>
                    </a:lnTo>
                    <a:lnTo>
                      <a:pt x="126" y="966"/>
                    </a:lnTo>
                    <a:lnTo>
                      <a:pt x="126" y="960"/>
                    </a:lnTo>
                    <a:lnTo>
                      <a:pt x="126" y="954"/>
                    </a:lnTo>
                    <a:lnTo>
                      <a:pt x="126" y="948"/>
                    </a:lnTo>
                    <a:lnTo>
                      <a:pt x="132" y="948"/>
                    </a:lnTo>
                    <a:lnTo>
                      <a:pt x="132" y="942"/>
                    </a:lnTo>
                    <a:lnTo>
                      <a:pt x="132" y="936"/>
                    </a:lnTo>
                    <a:lnTo>
                      <a:pt x="138" y="930"/>
                    </a:lnTo>
                    <a:lnTo>
                      <a:pt x="144" y="930"/>
                    </a:lnTo>
                    <a:lnTo>
                      <a:pt x="150" y="924"/>
                    </a:lnTo>
                    <a:lnTo>
                      <a:pt x="156" y="924"/>
                    </a:lnTo>
                    <a:lnTo>
                      <a:pt x="162" y="924"/>
                    </a:lnTo>
                    <a:lnTo>
                      <a:pt x="168" y="924"/>
                    </a:lnTo>
                    <a:lnTo>
                      <a:pt x="174" y="918"/>
                    </a:lnTo>
                    <a:lnTo>
                      <a:pt x="174" y="912"/>
                    </a:lnTo>
                    <a:lnTo>
                      <a:pt x="168" y="906"/>
                    </a:lnTo>
                    <a:lnTo>
                      <a:pt x="174" y="906"/>
                    </a:lnTo>
                    <a:lnTo>
                      <a:pt x="180" y="906"/>
                    </a:lnTo>
                    <a:lnTo>
                      <a:pt x="180" y="900"/>
                    </a:lnTo>
                    <a:lnTo>
                      <a:pt x="174" y="900"/>
                    </a:lnTo>
                    <a:lnTo>
                      <a:pt x="174" y="894"/>
                    </a:lnTo>
                    <a:lnTo>
                      <a:pt x="174" y="888"/>
                    </a:lnTo>
                    <a:lnTo>
                      <a:pt x="174" y="882"/>
                    </a:lnTo>
                    <a:lnTo>
                      <a:pt x="174" y="876"/>
                    </a:lnTo>
                    <a:lnTo>
                      <a:pt x="180" y="870"/>
                    </a:lnTo>
                    <a:lnTo>
                      <a:pt x="186" y="870"/>
                    </a:lnTo>
                    <a:lnTo>
                      <a:pt x="186" y="864"/>
                    </a:lnTo>
                    <a:lnTo>
                      <a:pt x="192" y="864"/>
                    </a:lnTo>
                    <a:lnTo>
                      <a:pt x="198" y="858"/>
                    </a:lnTo>
                    <a:lnTo>
                      <a:pt x="204" y="858"/>
                    </a:lnTo>
                    <a:lnTo>
                      <a:pt x="210" y="858"/>
                    </a:lnTo>
                    <a:lnTo>
                      <a:pt x="216" y="846"/>
                    </a:lnTo>
                    <a:lnTo>
                      <a:pt x="216" y="840"/>
                    </a:lnTo>
                    <a:lnTo>
                      <a:pt x="216" y="834"/>
                    </a:lnTo>
                    <a:lnTo>
                      <a:pt x="222" y="834"/>
                    </a:lnTo>
                    <a:lnTo>
                      <a:pt x="222" y="828"/>
                    </a:lnTo>
                    <a:lnTo>
                      <a:pt x="222" y="822"/>
                    </a:lnTo>
                    <a:lnTo>
                      <a:pt x="216" y="822"/>
                    </a:lnTo>
                    <a:lnTo>
                      <a:pt x="216" y="816"/>
                    </a:lnTo>
                    <a:lnTo>
                      <a:pt x="216" y="810"/>
                    </a:lnTo>
                    <a:lnTo>
                      <a:pt x="216" y="804"/>
                    </a:lnTo>
                    <a:lnTo>
                      <a:pt x="210" y="798"/>
                    </a:lnTo>
                    <a:lnTo>
                      <a:pt x="210" y="792"/>
                    </a:lnTo>
                    <a:lnTo>
                      <a:pt x="204" y="786"/>
                    </a:lnTo>
                    <a:lnTo>
                      <a:pt x="204" y="774"/>
                    </a:lnTo>
                    <a:lnTo>
                      <a:pt x="198" y="768"/>
                    </a:lnTo>
                    <a:lnTo>
                      <a:pt x="198" y="762"/>
                    </a:lnTo>
                    <a:lnTo>
                      <a:pt x="192" y="762"/>
                    </a:lnTo>
                    <a:lnTo>
                      <a:pt x="192" y="756"/>
                    </a:lnTo>
                    <a:lnTo>
                      <a:pt x="192" y="750"/>
                    </a:lnTo>
                    <a:lnTo>
                      <a:pt x="192" y="744"/>
                    </a:lnTo>
                    <a:lnTo>
                      <a:pt x="192" y="738"/>
                    </a:lnTo>
                    <a:lnTo>
                      <a:pt x="186" y="738"/>
                    </a:lnTo>
                    <a:lnTo>
                      <a:pt x="180" y="738"/>
                    </a:lnTo>
                    <a:lnTo>
                      <a:pt x="180" y="732"/>
                    </a:lnTo>
                    <a:lnTo>
                      <a:pt x="180" y="738"/>
                    </a:lnTo>
                    <a:lnTo>
                      <a:pt x="174" y="732"/>
                    </a:lnTo>
                    <a:lnTo>
                      <a:pt x="174" y="738"/>
                    </a:lnTo>
                    <a:lnTo>
                      <a:pt x="168" y="738"/>
                    </a:lnTo>
                    <a:lnTo>
                      <a:pt x="162" y="732"/>
                    </a:lnTo>
                    <a:lnTo>
                      <a:pt x="156" y="726"/>
                    </a:lnTo>
                    <a:lnTo>
                      <a:pt x="156" y="720"/>
                    </a:lnTo>
                    <a:lnTo>
                      <a:pt x="150" y="714"/>
                    </a:lnTo>
                    <a:lnTo>
                      <a:pt x="144" y="714"/>
                    </a:lnTo>
                    <a:lnTo>
                      <a:pt x="138" y="708"/>
                    </a:lnTo>
                    <a:lnTo>
                      <a:pt x="132" y="702"/>
                    </a:lnTo>
                    <a:lnTo>
                      <a:pt x="126" y="702"/>
                    </a:lnTo>
                    <a:lnTo>
                      <a:pt x="120" y="702"/>
                    </a:lnTo>
                    <a:lnTo>
                      <a:pt x="120" y="696"/>
                    </a:lnTo>
                    <a:lnTo>
                      <a:pt x="114" y="696"/>
                    </a:lnTo>
                    <a:lnTo>
                      <a:pt x="114" y="690"/>
                    </a:lnTo>
                    <a:lnTo>
                      <a:pt x="114" y="684"/>
                    </a:lnTo>
                    <a:lnTo>
                      <a:pt x="102" y="672"/>
                    </a:lnTo>
                    <a:lnTo>
                      <a:pt x="96" y="672"/>
                    </a:lnTo>
                    <a:lnTo>
                      <a:pt x="90" y="678"/>
                    </a:lnTo>
                    <a:lnTo>
                      <a:pt x="90" y="672"/>
                    </a:lnTo>
                    <a:lnTo>
                      <a:pt x="84" y="666"/>
                    </a:lnTo>
                    <a:lnTo>
                      <a:pt x="78" y="660"/>
                    </a:lnTo>
                    <a:lnTo>
                      <a:pt x="78" y="654"/>
                    </a:lnTo>
                    <a:lnTo>
                      <a:pt x="78" y="648"/>
                    </a:lnTo>
                    <a:lnTo>
                      <a:pt x="72" y="648"/>
                    </a:lnTo>
                    <a:lnTo>
                      <a:pt x="72" y="636"/>
                    </a:lnTo>
                    <a:lnTo>
                      <a:pt x="66" y="636"/>
                    </a:lnTo>
                    <a:lnTo>
                      <a:pt x="60" y="630"/>
                    </a:lnTo>
                    <a:lnTo>
                      <a:pt x="54" y="624"/>
                    </a:lnTo>
                    <a:lnTo>
                      <a:pt x="54" y="618"/>
                    </a:lnTo>
                    <a:lnTo>
                      <a:pt x="60" y="612"/>
                    </a:lnTo>
                    <a:lnTo>
                      <a:pt x="60" y="606"/>
                    </a:lnTo>
                    <a:lnTo>
                      <a:pt x="60" y="600"/>
                    </a:lnTo>
                    <a:lnTo>
                      <a:pt x="60" y="594"/>
                    </a:lnTo>
                    <a:lnTo>
                      <a:pt x="66" y="594"/>
                    </a:lnTo>
                    <a:lnTo>
                      <a:pt x="72" y="588"/>
                    </a:lnTo>
                    <a:lnTo>
                      <a:pt x="72" y="582"/>
                    </a:lnTo>
                    <a:lnTo>
                      <a:pt x="72" y="576"/>
                    </a:lnTo>
                    <a:lnTo>
                      <a:pt x="72" y="570"/>
                    </a:lnTo>
                    <a:lnTo>
                      <a:pt x="78" y="570"/>
                    </a:lnTo>
                    <a:lnTo>
                      <a:pt x="84" y="564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96" y="558"/>
                    </a:lnTo>
                    <a:lnTo>
                      <a:pt x="102" y="558"/>
                    </a:lnTo>
                    <a:lnTo>
                      <a:pt x="102" y="552"/>
                    </a:lnTo>
                    <a:lnTo>
                      <a:pt x="108" y="552"/>
                    </a:lnTo>
                    <a:lnTo>
                      <a:pt x="114" y="552"/>
                    </a:lnTo>
                    <a:lnTo>
                      <a:pt x="120" y="552"/>
                    </a:lnTo>
                    <a:lnTo>
                      <a:pt x="126" y="552"/>
                    </a:lnTo>
                    <a:lnTo>
                      <a:pt x="132" y="552"/>
                    </a:lnTo>
                    <a:lnTo>
                      <a:pt x="138" y="552"/>
                    </a:lnTo>
                    <a:lnTo>
                      <a:pt x="144" y="546"/>
                    </a:lnTo>
                    <a:lnTo>
                      <a:pt x="150" y="552"/>
                    </a:lnTo>
                    <a:lnTo>
                      <a:pt x="156" y="546"/>
                    </a:lnTo>
                    <a:lnTo>
                      <a:pt x="156" y="540"/>
                    </a:lnTo>
                    <a:lnTo>
                      <a:pt x="156" y="534"/>
                    </a:lnTo>
                    <a:lnTo>
                      <a:pt x="156" y="528"/>
                    </a:lnTo>
                    <a:lnTo>
                      <a:pt x="156" y="522"/>
                    </a:lnTo>
                    <a:lnTo>
                      <a:pt x="162" y="522"/>
                    </a:lnTo>
                    <a:lnTo>
                      <a:pt x="162" y="516"/>
                    </a:lnTo>
                    <a:lnTo>
                      <a:pt x="168" y="516"/>
                    </a:lnTo>
                    <a:lnTo>
                      <a:pt x="174" y="516"/>
                    </a:lnTo>
                    <a:lnTo>
                      <a:pt x="180" y="516"/>
                    </a:lnTo>
                    <a:lnTo>
                      <a:pt x="186" y="516"/>
                    </a:lnTo>
                    <a:lnTo>
                      <a:pt x="186" y="510"/>
                    </a:lnTo>
                    <a:lnTo>
                      <a:pt x="192" y="510"/>
                    </a:lnTo>
                    <a:lnTo>
                      <a:pt x="192" y="504"/>
                    </a:lnTo>
                    <a:lnTo>
                      <a:pt x="198" y="504"/>
                    </a:lnTo>
                    <a:lnTo>
                      <a:pt x="198" y="498"/>
                    </a:lnTo>
                    <a:lnTo>
                      <a:pt x="204" y="498"/>
                    </a:lnTo>
                    <a:lnTo>
                      <a:pt x="204" y="492"/>
                    </a:lnTo>
                    <a:lnTo>
                      <a:pt x="210" y="492"/>
                    </a:lnTo>
                    <a:lnTo>
                      <a:pt x="216" y="492"/>
                    </a:lnTo>
                    <a:lnTo>
                      <a:pt x="222" y="492"/>
                    </a:lnTo>
                    <a:lnTo>
                      <a:pt x="222" y="486"/>
                    </a:lnTo>
                    <a:lnTo>
                      <a:pt x="228" y="486"/>
                    </a:lnTo>
                    <a:lnTo>
                      <a:pt x="228" y="480"/>
                    </a:lnTo>
                    <a:lnTo>
                      <a:pt x="228" y="474"/>
                    </a:lnTo>
                    <a:lnTo>
                      <a:pt x="234" y="474"/>
                    </a:lnTo>
                    <a:lnTo>
                      <a:pt x="240" y="474"/>
                    </a:lnTo>
                    <a:lnTo>
                      <a:pt x="240" y="468"/>
                    </a:lnTo>
                    <a:lnTo>
                      <a:pt x="240" y="462"/>
                    </a:lnTo>
                    <a:lnTo>
                      <a:pt x="246" y="462"/>
                    </a:lnTo>
                    <a:lnTo>
                      <a:pt x="246" y="456"/>
                    </a:lnTo>
                    <a:lnTo>
                      <a:pt x="252" y="456"/>
                    </a:lnTo>
                    <a:lnTo>
                      <a:pt x="258" y="456"/>
                    </a:lnTo>
                    <a:lnTo>
                      <a:pt x="264" y="456"/>
                    </a:lnTo>
                    <a:lnTo>
                      <a:pt x="270" y="456"/>
                    </a:lnTo>
                    <a:lnTo>
                      <a:pt x="276" y="456"/>
                    </a:lnTo>
                    <a:lnTo>
                      <a:pt x="276" y="450"/>
                    </a:lnTo>
                    <a:lnTo>
                      <a:pt x="282" y="450"/>
                    </a:lnTo>
                    <a:lnTo>
                      <a:pt x="282" y="444"/>
                    </a:lnTo>
                    <a:lnTo>
                      <a:pt x="282" y="438"/>
                    </a:lnTo>
                    <a:lnTo>
                      <a:pt x="288" y="438"/>
                    </a:lnTo>
                    <a:lnTo>
                      <a:pt x="288" y="432"/>
                    </a:lnTo>
                    <a:lnTo>
                      <a:pt x="294" y="432"/>
                    </a:lnTo>
                    <a:lnTo>
                      <a:pt x="294" y="426"/>
                    </a:lnTo>
                    <a:lnTo>
                      <a:pt x="300" y="426"/>
                    </a:lnTo>
                    <a:lnTo>
                      <a:pt x="300" y="420"/>
                    </a:lnTo>
                    <a:lnTo>
                      <a:pt x="300" y="414"/>
                    </a:lnTo>
                    <a:lnTo>
                      <a:pt x="300" y="408"/>
                    </a:lnTo>
                    <a:lnTo>
                      <a:pt x="300" y="402"/>
                    </a:lnTo>
                    <a:lnTo>
                      <a:pt x="294" y="402"/>
                    </a:lnTo>
                    <a:lnTo>
                      <a:pt x="294" y="396"/>
                    </a:lnTo>
                    <a:lnTo>
                      <a:pt x="288" y="396"/>
                    </a:lnTo>
                    <a:lnTo>
                      <a:pt x="288" y="390"/>
                    </a:lnTo>
                    <a:lnTo>
                      <a:pt x="288" y="384"/>
                    </a:lnTo>
                    <a:lnTo>
                      <a:pt x="288" y="378"/>
                    </a:lnTo>
                    <a:lnTo>
                      <a:pt x="288" y="372"/>
                    </a:lnTo>
                    <a:lnTo>
                      <a:pt x="294" y="372"/>
                    </a:lnTo>
                    <a:lnTo>
                      <a:pt x="294" y="366"/>
                    </a:lnTo>
                    <a:lnTo>
                      <a:pt x="300" y="366"/>
                    </a:lnTo>
                    <a:lnTo>
                      <a:pt x="300" y="360"/>
                    </a:lnTo>
                    <a:lnTo>
                      <a:pt x="300" y="354"/>
                    </a:lnTo>
                    <a:lnTo>
                      <a:pt x="300" y="348"/>
                    </a:lnTo>
                    <a:lnTo>
                      <a:pt x="300" y="342"/>
                    </a:lnTo>
                    <a:lnTo>
                      <a:pt x="306" y="342"/>
                    </a:lnTo>
                    <a:lnTo>
                      <a:pt x="306" y="336"/>
                    </a:lnTo>
                    <a:lnTo>
                      <a:pt x="306" y="330"/>
                    </a:lnTo>
                    <a:lnTo>
                      <a:pt x="312" y="330"/>
                    </a:lnTo>
                    <a:lnTo>
                      <a:pt x="312" y="324"/>
                    </a:lnTo>
                    <a:lnTo>
                      <a:pt x="312" y="318"/>
                    </a:lnTo>
                    <a:lnTo>
                      <a:pt x="318" y="318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18" y="300"/>
                    </a:lnTo>
                    <a:lnTo>
                      <a:pt x="312" y="294"/>
                    </a:lnTo>
                    <a:lnTo>
                      <a:pt x="318" y="288"/>
                    </a:lnTo>
                    <a:lnTo>
                      <a:pt x="318" y="282"/>
                    </a:lnTo>
                    <a:lnTo>
                      <a:pt x="318" y="276"/>
                    </a:lnTo>
                    <a:lnTo>
                      <a:pt x="318" y="270"/>
                    </a:lnTo>
                    <a:lnTo>
                      <a:pt x="312" y="270"/>
                    </a:lnTo>
                    <a:lnTo>
                      <a:pt x="312" y="264"/>
                    </a:lnTo>
                    <a:lnTo>
                      <a:pt x="312" y="258"/>
                    </a:lnTo>
                    <a:lnTo>
                      <a:pt x="312" y="252"/>
                    </a:lnTo>
                    <a:lnTo>
                      <a:pt x="318" y="252"/>
                    </a:lnTo>
                    <a:lnTo>
                      <a:pt x="318" y="246"/>
                    </a:lnTo>
                    <a:lnTo>
                      <a:pt x="324" y="246"/>
                    </a:lnTo>
                    <a:lnTo>
                      <a:pt x="330" y="240"/>
                    </a:lnTo>
                    <a:lnTo>
                      <a:pt x="336" y="240"/>
                    </a:lnTo>
                    <a:lnTo>
                      <a:pt x="336" y="234"/>
                    </a:lnTo>
                    <a:lnTo>
                      <a:pt x="342" y="234"/>
                    </a:lnTo>
                    <a:lnTo>
                      <a:pt x="342" y="228"/>
                    </a:lnTo>
                    <a:lnTo>
                      <a:pt x="342" y="222"/>
                    </a:lnTo>
                    <a:lnTo>
                      <a:pt x="336" y="222"/>
                    </a:lnTo>
                    <a:lnTo>
                      <a:pt x="336" y="216"/>
                    </a:lnTo>
                    <a:lnTo>
                      <a:pt x="330" y="216"/>
                    </a:lnTo>
                    <a:lnTo>
                      <a:pt x="330" y="210"/>
                    </a:lnTo>
                    <a:lnTo>
                      <a:pt x="324" y="210"/>
                    </a:lnTo>
                    <a:lnTo>
                      <a:pt x="324" y="204"/>
                    </a:lnTo>
                    <a:lnTo>
                      <a:pt x="324" y="198"/>
                    </a:lnTo>
                    <a:lnTo>
                      <a:pt x="324" y="192"/>
                    </a:lnTo>
                    <a:lnTo>
                      <a:pt x="330" y="192"/>
                    </a:lnTo>
                    <a:lnTo>
                      <a:pt x="330" y="186"/>
                    </a:lnTo>
                    <a:lnTo>
                      <a:pt x="336" y="186"/>
                    </a:lnTo>
                    <a:lnTo>
                      <a:pt x="342" y="186"/>
                    </a:lnTo>
                    <a:lnTo>
                      <a:pt x="342" y="192"/>
                    </a:lnTo>
                    <a:lnTo>
                      <a:pt x="348" y="192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0" y="180"/>
                    </a:lnTo>
                    <a:lnTo>
                      <a:pt x="360" y="174"/>
                    </a:lnTo>
                    <a:lnTo>
                      <a:pt x="360" y="168"/>
                    </a:lnTo>
                    <a:lnTo>
                      <a:pt x="366" y="168"/>
                    </a:lnTo>
                    <a:lnTo>
                      <a:pt x="366" y="162"/>
                    </a:lnTo>
                    <a:lnTo>
                      <a:pt x="372" y="162"/>
                    </a:lnTo>
                    <a:lnTo>
                      <a:pt x="378" y="162"/>
                    </a:lnTo>
                    <a:lnTo>
                      <a:pt x="384" y="162"/>
                    </a:lnTo>
                    <a:lnTo>
                      <a:pt x="384" y="156"/>
                    </a:lnTo>
                    <a:lnTo>
                      <a:pt x="390" y="156"/>
                    </a:lnTo>
                    <a:lnTo>
                      <a:pt x="390" y="162"/>
                    </a:lnTo>
                    <a:lnTo>
                      <a:pt x="396" y="162"/>
                    </a:lnTo>
                    <a:lnTo>
                      <a:pt x="402" y="162"/>
                    </a:lnTo>
                    <a:lnTo>
                      <a:pt x="408" y="162"/>
                    </a:lnTo>
                    <a:lnTo>
                      <a:pt x="408" y="168"/>
                    </a:lnTo>
                    <a:lnTo>
                      <a:pt x="414" y="168"/>
                    </a:lnTo>
                    <a:lnTo>
                      <a:pt x="420" y="162"/>
                    </a:lnTo>
                    <a:lnTo>
                      <a:pt x="426" y="162"/>
                    </a:lnTo>
                    <a:lnTo>
                      <a:pt x="432" y="162"/>
                    </a:lnTo>
                    <a:lnTo>
                      <a:pt x="438" y="162"/>
                    </a:lnTo>
                    <a:lnTo>
                      <a:pt x="444" y="162"/>
                    </a:lnTo>
                    <a:lnTo>
                      <a:pt x="444" y="168"/>
                    </a:lnTo>
                    <a:lnTo>
                      <a:pt x="450" y="168"/>
                    </a:lnTo>
                    <a:lnTo>
                      <a:pt x="456" y="168"/>
                    </a:lnTo>
                    <a:lnTo>
                      <a:pt x="456" y="162"/>
                    </a:lnTo>
                    <a:lnTo>
                      <a:pt x="462" y="162"/>
                    </a:lnTo>
                    <a:lnTo>
                      <a:pt x="462" y="156"/>
                    </a:lnTo>
                    <a:lnTo>
                      <a:pt x="468" y="156"/>
                    </a:lnTo>
                    <a:lnTo>
                      <a:pt x="474" y="156"/>
                    </a:lnTo>
                    <a:lnTo>
                      <a:pt x="480" y="156"/>
                    </a:lnTo>
                    <a:lnTo>
                      <a:pt x="480" y="150"/>
                    </a:lnTo>
                    <a:lnTo>
                      <a:pt x="486" y="150"/>
                    </a:lnTo>
                    <a:lnTo>
                      <a:pt x="486" y="144"/>
                    </a:lnTo>
                    <a:lnTo>
                      <a:pt x="492" y="144"/>
                    </a:lnTo>
                    <a:lnTo>
                      <a:pt x="498" y="144"/>
                    </a:lnTo>
                    <a:lnTo>
                      <a:pt x="504" y="144"/>
                    </a:lnTo>
                    <a:lnTo>
                      <a:pt x="504" y="138"/>
                    </a:lnTo>
                    <a:lnTo>
                      <a:pt x="510" y="138"/>
                    </a:lnTo>
                    <a:lnTo>
                      <a:pt x="516" y="138"/>
                    </a:lnTo>
                    <a:lnTo>
                      <a:pt x="522" y="138"/>
                    </a:lnTo>
                    <a:lnTo>
                      <a:pt x="522" y="132"/>
                    </a:lnTo>
                    <a:lnTo>
                      <a:pt x="528" y="132"/>
                    </a:lnTo>
                    <a:lnTo>
                      <a:pt x="534" y="132"/>
                    </a:lnTo>
                    <a:lnTo>
                      <a:pt x="540" y="132"/>
                    </a:lnTo>
                    <a:lnTo>
                      <a:pt x="540" y="138"/>
                    </a:lnTo>
                    <a:lnTo>
                      <a:pt x="540" y="144"/>
                    </a:lnTo>
                    <a:lnTo>
                      <a:pt x="546" y="144"/>
                    </a:lnTo>
                    <a:lnTo>
                      <a:pt x="552" y="144"/>
                    </a:lnTo>
                    <a:lnTo>
                      <a:pt x="558" y="144"/>
                    </a:lnTo>
                    <a:lnTo>
                      <a:pt x="564" y="144"/>
                    </a:lnTo>
                    <a:lnTo>
                      <a:pt x="570" y="144"/>
                    </a:lnTo>
                    <a:lnTo>
                      <a:pt x="570" y="150"/>
                    </a:lnTo>
                    <a:lnTo>
                      <a:pt x="576" y="150"/>
                    </a:lnTo>
                    <a:lnTo>
                      <a:pt x="582" y="150"/>
                    </a:lnTo>
                    <a:lnTo>
                      <a:pt x="588" y="150"/>
                    </a:lnTo>
                    <a:lnTo>
                      <a:pt x="594" y="150"/>
                    </a:lnTo>
                    <a:lnTo>
                      <a:pt x="594" y="144"/>
                    </a:lnTo>
                    <a:lnTo>
                      <a:pt x="600" y="144"/>
                    </a:lnTo>
                    <a:lnTo>
                      <a:pt x="600" y="138"/>
                    </a:lnTo>
                    <a:lnTo>
                      <a:pt x="606" y="138"/>
                    </a:lnTo>
                    <a:lnTo>
                      <a:pt x="612" y="138"/>
                    </a:lnTo>
                    <a:lnTo>
                      <a:pt x="618" y="138"/>
                    </a:lnTo>
                    <a:lnTo>
                      <a:pt x="624" y="138"/>
                    </a:lnTo>
                    <a:lnTo>
                      <a:pt x="624" y="144"/>
                    </a:lnTo>
                    <a:lnTo>
                      <a:pt x="630" y="144"/>
                    </a:lnTo>
                    <a:lnTo>
                      <a:pt x="636" y="144"/>
                    </a:lnTo>
                    <a:lnTo>
                      <a:pt x="636" y="150"/>
                    </a:lnTo>
                    <a:lnTo>
                      <a:pt x="642" y="150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50"/>
                    </a:lnTo>
                    <a:lnTo>
                      <a:pt x="648" y="156"/>
                    </a:lnTo>
                    <a:lnTo>
                      <a:pt x="654" y="156"/>
                    </a:lnTo>
                    <a:lnTo>
                      <a:pt x="654" y="162"/>
                    </a:lnTo>
                    <a:lnTo>
                      <a:pt x="660" y="162"/>
                    </a:lnTo>
                    <a:lnTo>
                      <a:pt x="666" y="162"/>
                    </a:lnTo>
                    <a:lnTo>
                      <a:pt x="666" y="156"/>
                    </a:lnTo>
                    <a:lnTo>
                      <a:pt x="672" y="156"/>
                    </a:lnTo>
                    <a:lnTo>
                      <a:pt x="678" y="150"/>
                    </a:lnTo>
                    <a:lnTo>
                      <a:pt x="684" y="150"/>
                    </a:lnTo>
                    <a:lnTo>
                      <a:pt x="690" y="150"/>
                    </a:lnTo>
                    <a:lnTo>
                      <a:pt x="690" y="156"/>
                    </a:lnTo>
                    <a:lnTo>
                      <a:pt x="690" y="162"/>
                    </a:lnTo>
                    <a:lnTo>
                      <a:pt x="690" y="168"/>
                    </a:lnTo>
                    <a:lnTo>
                      <a:pt x="696" y="168"/>
                    </a:lnTo>
                    <a:lnTo>
                      <a:pt x="702" y="168"/>
                    </a:lnTo>
                    <a:lnTo>
                      <a:pt x="708" y="168"/>
                    </a:lnTo>
                    <a:lnTo>
                      <a:pt x="714" y="168"/>
                    </a:lnTo>
                    <a:lnTo>
                      <a:pt x="720" y="168"/>
                    </a:lnTo>
                    <a:lnTo>
                      <a:pt x="726" y="168"/>
                    </a:lnTo>
                    <a:lnTo>
                      <a:pt x="726" y="162"/>
                    </a:lnTo>
                    <a:lnTo>
                      <a:pt x="732" y="162"/>
                    </a:lnTo>
                    <a:lnTo>
                      <a:pt x="732" y="168"/>
                    </a:lnTo>
                    <a:lnTo>
                      <a:pt x="738" y="168"/>
                    </a:lnTo>
                    <a:lnTo>
                      <a:pt x="744" y="168"/>
                    </a:lnTo>
                    <a:lnTo>
                      <a:pt x="750" y="168"/>
                    </a:lnTo>
                    <a:lnTo>
                      <a:pt x="756" y="174"/>
                    </a:lnTo>
                    <a:lnTo>
                      <a:pt x="756" y="180"/>
                    </a:lnTo>
                    <a:lnTo>
                      <a:pt x="762" y="180"/>
                    </a:lnTo>
                    <a:lnTo>
                      <a:pt x="768" y="174"/>
                    </a:lnTo>
                    <a:lnTo>
                      <a:pt x="774" y="168"/>
                    </a:lnTo>
                    <a:lnTo>
                      <a:pt x="774" y="162"/>
                    </a:lnTo>
                    <a:lnTo>
                      <a:pt x="780" y="156"/>
                    </a:lnTo>
                    <a:lnTo>
                      <a:pt x="786" y="150"/>
                    </a:lnTo>
                    <a:lnTo>
                      <a:pt x="792" y="144"/>
                    </a:lnTo>
                    <a:lnTo>
                      <a:pt x="798" y="138"/>
                    </a:lnTo>
                    <a:lnTo>
                      <a:pt x="804" y="138"/>
                    </a:lnTo>
                    <a:lnTo>
                      <a:pt x="810" y="138"/>
                    </a:lnTo>
                    <a:lnTo>
                      <a:pt x="810" y="144"/>
                    </a:lnTo>
                    <a:lnTo>
                      <a:pt x="816" y="144"/>
                    </a:lnTo>
                    <a:lnTo>
                      <a:pt x="822" y="150"/>
                    </a:lnTo>
                    <a:lnTo>
                      <a:pt x="828" y="150"/>
                    </a:lnTo>
                    <a:lnTo>
                      <a:pt x="846" y="156"/>
                    </a:lnTo>
                    <a:lnTo>
                      <a:pt x="852" y="162"/>
                    </a:lnTo>
                    <a:lnTo>
                      <a:pt x="858" y="162"/>
                    </a:lnTo>
                    <a:lnTo>
                      <a:pt x="864" y="162"/>
                    </a:lnTo>
                    <a:lnTo>
                      <a:pt x="870" y="168"/>
                    </a:lnTo>
                    <a:lnTo>
                      <a:pt x="882" y="168"/>
                    </a:lnTo>
                    <a:lnTo>
                      <a:pt x="894" y="168"/>
                    </a:lnTo>
                    <a:lnTo>
                      <a:pt x="900" y="168"/>
                    </a:lnTo>
                    <a:lnTo>
                      <a:pt x="906" y="168"/>
                    </a:lnTo>
                    <a:lnTo>
                      <a:pt x="912" y="168"/>
                    </a:lnTo>
                    <a:lnTo>
                      <a:pt x="918" y="168"/>
                    </a:lnTo>
                    <a:lnTo>
                      <a:pt x="924" y="168"/>
                    </a:lnTo>
                    <a:lnTo>
                      <a:pt x="942" y="168"/>
                    </a:lnTo>
                    <a:lnTo>
                      <a:pt x="948" y="168"/>
                    </a:lnTo>
                    <a:lnTo>
                      <a:pt x="960" y="168"/>
                    </a:lnTo>
                    <a:lnTo>
                      <a:pt x="984" y="174"/>
                    </a:lnTo>
                    <a:lnTo>
                      <a:pt x="1002" y="174"/>
                    </a:lnTo>
                    <a:lnTo>
                      <a:pt x="1002" y="168"/>
                    </a:lnTo>
                    <a:lnTo>
                      <a:pt x="1008" y="162"/>
                    </a:lnTo>
                    <a:lnTo>
                      <a:pt x="1008" y="156"/>
                    </a:lnTo>
                    <a:lnTo>
                      <a:pt x="1008" y="138"/>
                    </a:lnTo>
                    <a:lnTo>
                      <a:pt x="1008" y="126"/>
                    </a:lnTo>
                    <a:lnTo>
                      <a:pt x="1008" y="120"/>
                    </a:lnTo>
                    <a:lnTo>
                      <a:pt x="1008" y="114"/>
                    </a:lnTo>
                    <a:lnTo>
                      <a:pt x="1008" y="102"/>
                    </a:lnTo>
                    <a:lnTo>
                      <a:pt x="1014" y="90"/>
                    </a:lnTo>
                    <a:lnTo>
                      <a:pt x="1014" y="84"/>
                    </a:lnTo>
                    <a:lnTo>
                      <a:pt x="1014" y="72"/>
                    </a:lnTo>
                    <a:lnTo>
                      <a:pt x="1014" y="60"/>
                    </a:lnTo>
                    <a:lnTo>
                      <a:pt x="1014" y="54"/>
                    </a:lnTo>
                    <a:lnTo>
                      <a:pt x="1020" y="42"/>
                    </a:lnTo>
                    <a:lnTo>
                      <a:pt x="1020" y="36"/>
                    </a:lnTo>
                    <a:lnTo>
                      <a:pt x="1020" y="30"/>
                    </a:lnTo>
                    <a:lnTo>
                      <a:pt x="1020" y="18"/>
                    </a:lnTo>
                    <a:lnTo>
                      <a:pt x="1026" y="12"/>
                    </a:lnTo>
                    <a:lnTo>
                      <a:pt x="1026" y="6"/>
                    </a:lnTo>
                    <a:lnTo>
                      <a:pt x="1026" y="0"/>
                    </a:lnTo>
                    <a:lnTo>
                      <a:pt x="1032" y="0"/>
                    </a:lnTo>
                    <a:lnTo>
                      <a:pt x="1038" y="6"/>
                    </a:lnTo>
                    <a:lnTo>
                      <a:pt x="1044" y="6"/>
                    </a:lnTo>
                    <a:lnTo>
                      <a:pt x="1050" y="0"/>
                    </a:lnTo>
                    <a:lnTo>
                      <a:pt x="1056" y="6"/>
                    </a:lnTo>
                    <a:close/>
                    <a:moveTo>
                      <a:pt x="210" y="1038"/>
                    </a:moveTo>
                    <a:lnTo>
                      <a:pt x="204" y="1044"/>
                    </a:lnTo>
                    <a:lnTo>
                      <a:pt x="198" y="1044"/>
                    </a:lnTo>
                    <a:lnTo>
                      <a:pt x="198" y="1050"/>
                    </a:lnTo>
                    <a:lnTo>
                      <a:pt x="204" y="1050"/>
                    </a:lnTo>
                    <a:lnTo>
                      <a:pt x="204" y="1056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6" y="1062"/>
                    </a:lnTo>
                    <a:lnTo>
                      <a:pt x="216" y="1068"/>
                    </a:lnTo>
                    <a:lnTo>
                      <a:pt x="210" y="1068"/>
                    </a:lnTo>
                    <a:lnTo>
                      <a:pt x="204" y="1068"/>
                    </a:lnTo>
                    <a:lnTo>
                      <a:pt x="204" y="1074"/>
                    </a:lnTo>
                    <a:lnTo>
                      <a:pt x="204" y="1080"/>
                    </a:lnTo>
                    <a:lnTo>
                      <a:pt x="198" y="1080"/>
                    </a:lnTo>
                    <a:lnTo>
                      <a:pt x="198" y="1086"/>
                    </a:lnTo>
                    <a:lnTo>
                      <a:pt x="198" y="1092"/>
                    </a:lnTo>
                    <a:lnTo>
                      <a:pt x="198" y="1098"/>
                    </a:lnTo>
                    <a:lnTo>
                      <a:pt x="192" y="1098"/>
                    </a:lnTo>
                    <a:lnTo>
                      <a:pt x="192" y="1104"/>
                    </a:lnTo>
                    <a:lnTo>
                      <a:pt x="186" y="1104"/>
                    </a:lnTo>
                    <a:lnTo>
                      <a:pt x="192" y="1104"/>
                    </a:lnTo>
                    <a:lnTo>
                      <a:pt x="198" y="1110"/>
                    </a:lnTo>
                    <a:lnTo>
                      <a:pt x="204" y="1116"/>
                    </a:lnTo>
                    <a:lnTo>
                      <a:pt x="210" y="1116"/>
                    </a:lnTo>
                    <a:lnTo>
                      <a:pt x="216" y="1116"/>
                    </a:lnTo>
                    <a:lnTo>
                      <a:pt x="216" y="1122"/>
                    </a:lnTo>
                    <a:lnTo>
                      <a:pt x="222" y="1122"/>
                    </a:lnTo>
                    <a:lnTo>
                      <a:pt x="228" y="1128"/>
                    </a:lnTo>
                    <a:lnTo>
                      <a:pt x="228" y="1134"/>
                    </a:lnTo>
                    <a:lnTo>
                      <a:pt x="228" y="1140"/>
                    </a:lnTo>
                    <a:lnTo>
                      <a:pt x="222" y="1140"/>
                    </a:lnTo>
                    <a:lnTo>
                      <a:pt x="222" y="1146"/>
                    </a:lnTo>
                    <a:lnTo>
                      <a:pt x="222" y="1152"/>
                    </a:lnTo>
                    <a:lnTo>
                      <a:pt x="222" y="1158"/>
                    </a:lnTo>
                    <a:lnTo>
                      <a:pt x="222" y="1164"/>
                    </a:lnTo>
                    <a:lnTo>
                      <a:pt x="216" y="1164"/>
                    </a:lnTo>
                    <a:lnTo>
                      <a:pt x="222" y="1170"/>
                    </a:lnTo>
                    <a:lnTo>
                      <a:pt x="228" y="1170"/>
                    </a:lnTo>
                    <a:lnTo>
                      <a:pt x="228" y="1176"/>
                    </a:lnTo>
                    <a:lnTo>
                      <a:pt x="234" y="1176"/>
                    </a:lnTo>
                    <a:lnTo>
                      <a:pt x="234" y="1182"/>
                    </a:lnTo>
                    <a:lnTo>
                      <a:pt x="240" y="1188"/>
                    </a:lnTo>
                    <a:lnTo>
                      <a:pt x="240" y="1194"/>
                    </a:lnTo>
                    <a:lnTo>
                      <a:pt x="246" y="1200"/>
                    </a:lnTo>
                    <a:lnTo>
                      <a:pt x="246" y="1206"/>
                    </a:lnTo>
                    <a:lnTo>
                      <a:pt x="246" y="1212"/>
                    </a:lnTo>
                    <a:lnTo>
                      <a:pt x="246" y="1218"/>
                    </a:lnTo>
                    <a:lnTo>
                      <a:pt x="252" y="1218"/>
                    </a:lnTo>
                    <a:lnTo>
                      <a:pt x="252" y="1224"/>
                    </a:lnTo>
                    <a:lnTo>
                      <a:pt x="252" y="1230"/>
                    </a:lnTo>
                    <a:lnTo>
                      <a:pt x="246" y="1230"/>
                    </a:lnTo>
                    <a:lnTo>
                      <a:pt x="246" y="1236"/>
                    </a:lnTo>
                    <a:lnTo>
                      <a:pt x="246" y="1242"/>
                    </a:lnTo>
                    <a:lnTo>
                      <a:pt x="252" y="1242"/>
                    </a:lnTo>
                    <a:lnTo>
                      <a:pt x="258" y="1242"/>
                    </a:lnTo>
                    <a:lnTo>
                      <a:pt x="258" y="1236"/>
                    </a:lnTo>
                    <a:lnTo>
                      <a:pt x="264" y="1230"/>
                    </a:lnTo>
                    <a:lnTo>
                      <a:pt x="270" y="1230"/>
                    </a:lnTo>
                    <a:lnTo>
                      <a:pt x="276" y="1230"/>
                    </a:lnTo>
                    <a:lnTo>
                      <a:pt x="282" y="1230"/>
                    </a:lnTo>
                    <a:lnTo>
                      <a:pt x="288" y="1230"/>
                    </a:lnTo>
                    <a:lnTo>
                      <a:pt x="294" y="1230"/>
                    </a:lnTo>
                    <a:lnTo>
                      <a:pt x="300" y="1230"/>
                    </a:lnTo>
                    <a:lnTo>
                      <a:pt x="306" y="1236"/>
                    </a:lnTo>
                    <a:lnTo>
                      <a:pt x="306" y="1242"/>
                    </a:lnTo>
                    <a:lnTo>
                      <a:pt x="312" y="1242"/>
                    </a:lnTo>
                    <a:lnTo>
                      <a:pt x="318" y="1242"/>
                    </a:lnTo>
                    <a:lnTo>
                      <a:pt x="324" y="1248"/>
                    </a:lnTo>
                    <a:lnTo>
                      <a:pt x="330" y="1248"/>
                    </a:lnTo>
                    <a:lnTo>
                      <a:pt x="336" y="1248"/>
                    </a:lnTo>
                    <a:lnTo>
                      <a:pt x="342" y="1248"/>
                    </a:lnTo>
                    <a:lnTo>
                      <a:pt x="342" y="1254"/>
                    </a:lnTo>
                    <a:lnTo>
                      <a:pt x="348" y="1260"/>
                    </a:lnTo>
                    <a:lnTo>
                      <a:pt x="348" y="1254"/>
                    </a:lnTo>
                    <a:lnTo>
                      <a:pt x="348" y="1248"/>
                    </a:lnTo>
                    <a:lnTo>
                      <a:pt x="354" y="1248"/>
                    </a:lnTo>
                    <a:lnTo>
                      <a:pt x="360" y="1242"/>
                    </a:lnTo>
                    <a:lnTo>
                      <a:pt x="360" y="1236"/>
                    </a:lnTo>
                    <a:lnTo>
                      <a:pt x="366" y="1230"/>
                    </a:lnTo>
                    <a:lnTo>
                      <a:pt x="366" y="1224"/>
                    </a:lnTo>
                    <a:lnTo>
                      <a:pt x="372" y="1224"/>
                    </a:lnTo>
                    <a:lnTo>
                      <a:pt x="372" y="1218"/>
                    </a:lnTo>
                    <a:lnTo>
                      <a:pt x="378" y="1218"/>
                    </a:lnTo>
                    <a:lnTo>
                      <a:pt x="378" y="1212"/>
                    </a:lnTo>
                    <a:lnTo>
                      <a:pt x="378" y="1206"/>
                    </a:lnTo>
                    <a:lnTo>
                      <a:pt x="384" y="1212"/>
                    </a:lnTo>
                    <a:lnTo>
                      <a:pt x="390" y="1212"/>
                    </a:lnTo>
                    <a:lnTo>
                      <a:pt x="390" y="1206"/>
                    </a:lnTo>
                    <a:lnTo>
                      <a:pt x="396" y="1206"/>
                    </a:lnTo>
                    <a:lnTo>
                      <a:pt x="396" y="1200"/>
                    </a:lnTo>
                    <a:lnTo>
                      <a:pt x="402" y="1194"/>
                    </a:lnTo>
                    <a:lnTo>
                      <a:pt x="402" y="1188"/>
                    </a:lnTo>
                    <a:lnTo>
                      <a:pt x="396" y="1188"/>
                    </a:lnTo>
                    <a:lnTo>
                      <a:pt x="390" y="1188"/>
                    </a:lnTo>
                    <a:lnTo>
                      <a:pt x="390" y="1182"/>
                    </a:lnTo>
                    <a:lnTo>
                      <a:pt x="384" y="1182"/>
                    </a:lnTo>
                    <a:lnTo>
                      <a:pt x="378" y="1182"/>
                    </a:lnTo>
                    <a:lnTo>
                      <a:pt x="378" y="1176"/>
                    </a:lnTo>
                    <a:lnTo>
                      <a:pt x="372" y="1176"/>
                    </a:lnTo>
                    <a:lnTo>
                      <a:pt x="372" y="1170"/>
                    </a:lnTo>
                    <a:lnTo>
                      <a:pt x="378" y="1170"/>
                    </a:lnTo>
                    <a:lnTo>
                      <a:pt x="384" y="1170"/>
                    </a:lnTo>
                    <a:lnTo>
                      <a:pt x="384" y="1164"/>
                    </a:lnTo>
                    <a:lnTo>
                      <a:pt x="378" y="1164"/>
                    </a:lnTo>
                    <a:lnTo>
                      <a:pt x="378" y="1170"/>
                    </a:lnTo>
                    <a:lnTo>
                      <a:pt x="372" y="1170"/>
                    </a:lnTo>
                    <a:lnTo>
                      <a:pt x="366" y="1170"/>
                    </a:lnTo>
                    <a:lnTo>
                      <a:pt x="360" y="1170"/>
                    </a:lnTo>
                    <a:lnTo>
                      <a:pt x="360" y="1164"/>
                    </a:lnTo>
                    <a:lnTo>
                      <a:pt x="366" y="1164"/>
                    </a:lnTo>
                    <a:lnTo>
                      <a:pt x="366" y="1158"/>
                    </a:lnTo>
                    <a:lnTo>
                      <a:pt x="360" y="1158"/>
                    </a:lnTo>
                    <a:lnTo>
                      <a:pt x="360" y="1152"/>
                    </a:lnTo>
                    <a:lnTo>
                      <a:pt x="354" y="1152"/>
                    </a:lnTo>
                    <a:lnTo>
                      <a:pt x="348" y="1152"/>
                    </a:lnTo>
                    <a:lnTo>
                      <a:pt x="348" y="1146"/>
                    </a:lnTo>
                    <a:lnTo>
                      <a:pt x="348" y="1140"/>
                    </a:lnTo>
                    <a:lnTo>
                      <a:pt x="354" y="1140"/>
                    </a:lnTo>
                    <a:lnTo>
                      <a:pt x="354" y="1134"/>
                    </a:lnTo>
                    <a:lnTo>
                      <a:pt x="354" y="1128"/>
                    </a:lnTo>
                    <a:lnTo>
                      <a:pt x="348" y="1128"/>
                    </a:lnTo>
                    <a:lnTo>
                      <a:pt x="342" y="1128"/>
                    </a:lnTo>
                    <a:lnTo>
                      <a:pt x="342" y="1122"/>
                    </a:lnTo>
                    <a:lnTo>
                      <a:pt x="342" y="1116"/>
                    </a:lnTo>
                    <a:lnTo>
                      <a:pt x="336" y="1116"/>
                    </a:lnTo>
                    <a:lnTo>
                      <a:pt x="330" y="1110"/>
                    </a:lnTo>
                    <a:lnTo>
                      <a:pt x="330" y="1104"/>
                    </a:lnTo>
                    <a:lnTo>
                      <a:pt x="330" y="1098"/>
                    </a:lnTo>
                    <a:lnTo>
                      <a:pt x="330" y="1092"/>
                    </a:lnTo>
                    <a:lnTo>
                      <a:pt x="324" y="1092"/>
                    </a:lnTo>
                    <a:lnTo>
                      <a:pt x="324" y="1086"/>
                    </a:lnTo>
                    <a:lnTo>
                      <a:pt x="324" y="1080"/>
                    </a:lnTo>
                    <a:lnTo>
                      <a:pt x="318" y="1080"/>
                    </a:lnTo>
                    <a:lnTo>
                      <a:pt x="318" y="1074"/>
                    </a:lnTo>
                    <a:lnTo>
                      <a:pt x="306" y="1074"/>
                    </a:lnTo>
                    <a:lnTo>
                      <a:pt x="306" y="1080"/>
                    </a:lnTo>
                    <a:lnTo>
                      <a:pt x="300" y="1080"/>
                    </a:lnTo>
                    <a:lnTo>
                      <a:pt x="294" y="1080"/>
                    </a:lnTo>
                    <a:lnTo>
                      <a:pt x="288" y="1080"/>
                    </a:lnTo>
                    <a:lnTo>
                      <a:pt x="282" y="1080"/>
                    </a:lnTo>
                    <a:lnTo>
                      <a:pt x="276" y="1080"/>
                    </a:lnTo>
                    <a:lnTo>
                      <a:pt x="270" y="1080"/>
                    </a:lnTo>
                    <a:lnTo>
                      <a:pt x="270" y="1074"/>
                    </a:lnTo>
                    <a:lnTo>
                      <a:pt x="264" y="1068"/>
                    </a:lnTo>
                    <a:lnTo>
                      <a:pt x="258" y="1068"/>
                    </a:lnTo>
                    <a:lnTo>
                      <a:pt x="252" y="1068"/>
                    </a:lnTo>
                    <a:lnTo>
                      <a:pt x="246" y="1062"/>
                    </a:lnTo>
                    <a:lnTo>
                      <a:pt x="240" y="1056"/>
                    </a:lnTo>
                    <a:lnTo>
                      <a:pt x="234" y="1056"/>
                    </a:lnTo>
                    <a:lnTo>
                      <a:pt x="228" y="1056"/>
                    </a:lnTo>
                    <a:lnTo>
                      <a:pt x="228" y="1050"/>
                    </a:lnTo>
                    <a:lnTo>
                      <a:pt x="222" y="1050"/>
                    </a:lnTo>
                    <a:lnTo>
                      <a:pt x="222" y="1044"/>
                    </a:lnTo>
                    <a:lnTo>
                      <a:pt x="216" y="1038"/>
                    </a:lnTo>
                    <a:lnTo>
                      <a:pt x="210" y="103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6" name="Freeform 6"/>
              <p:cNvSpPr>
                <a:spLocks noChangeAspect="1" noEditPoints="1"/>
              </p:cNvSpPr>
              <p:nvPr/>
            </p:nvSpPr>
            <p:spPr bwMode="auto">
              <a:xfrm>
                <a:off x="3193455" y="5787951"/>
                <a:ext cx="246925" cy="161857"/>
              </a:xfrm>
              <a:custGeom>
                <a:avLst/>
                <a:gdLst>
                  <a:gd name="T0" fmla="*/ 2147483647 w 2160"/>
                  <a:gd name="T1" fmla="*/ 2147483647 h 1416"/>
                  <a:gd name="T2" fmla="*/ 2147483647 w 2160"/>
                  <a:gd name="T3" fmla="*/ 2147483647 h 1416"/>
                  <a:gd name="T4" fmla="*/ 2147483647 w 2160"/>
                  <a:gd name="T5" fmla="*/ 2147483647 h 1416"/>
                  <a:gd name="T6" fmla="*/ 2147483647 w 2160"/>
                  <a:gd name="T7" fmla="*/ 2147483647 h 1416"/>
                  <a:gd name="T8" fmla="*/ 2147483647 w 2160"/>
                  <a:gd name="T9" fmla="*/ 2147483647 h 1416"/>
                  <a:gd name="T10" fmla="*/ 2147483647 w 2160"/>
                  <a:gd name="T11" fmla="*/ 2147483647 h 1416"/>
                  <a:gd name="T12" fmla="*/ 2147483647 w 2160"/>
                  <a:gd name="T13" fmla="*/ 2147483647 h 1416"/>
                  <a:gd name="T14" fmla="*/ 2147483647 w 2160"/>
                  <a:gd name="T15" fmla="*/ 2147483647 h 1416"/>
                  <a:gd name="T16" fmla="*/ 2147483647 w 2160"/>
                  <a:gd name="T17" fmla="*/ 2147483647 h 1416"/>
                  <a:gd name="T18" fmla="*/ 2147483647 w 2160"/>
                  <a:gd name="T19" fmla="*/ 2147483647 h 1416"/>
                  <a:gd name="T20" fmla="*/ 2147483647 w 2160"/>
                  <a:gd name="T21" fmla="*/ 2147483647 h 1416"/>
                  <a:gd name="T22" fmla="*/ 2147483647 w 2160"/>
                  <a:gd name="T23" fmla="*/ 2147483647 h 1416"/>
                  <a:gd name="T24" fmla="*/ 2147483647 w 2160"/>
                  <a:gd name="T25" fmla="*/ 2147483647 h 1416"/>
                  <a:gd name="T26" fmla="*/ 2147483647 w 2160"/>
                  <a:gd name="T27" fmla="*/ 2147483647 h 1416"/>
                  <a:gd name="T28" fmla="*/ 2147483647 w 2160"/>
                  <a:gd name="T29" fmla="*/ 2147483647 h 1416"/>
                  <a:gd name="T30" fmla="*/ 2147483647 w 2160"/>
                  <a:gd name="T31" fmla="*/ 2147483647 h 1416"/>
                  <a:gd name="T32" fmla="*/ 2147483647 w 2160"/>
                  <a:gd name="T33" fmla="*/ 2147483647 h 1416"/>
                  <a:gd name="T34" fmla="*/ 2147483647 w 2160"/>
                  <a:gd name="T35" fmla="*/ 2147483647 h 1416"/>
                  <a:gd name="T36" fmla="*/ 2147483647 w 2160"/>
                  <a:gd name="T37" fmla="*/ 2147483647 h 1416"/>
                  <a:gd name="T38" fmla="*/ 2147483647 w 2160"/>
                  <a:gd name="T39" fmla="*/ 2147483647 h 1416"/>
                  <a:gd name="T40" fmla="*/ 2147483647 w 2160"/>
                  <a:gd name="T41" fmla="*/ 2147483647 h 1416"/>
                  <a:gd name="T42" fmla="*/ 2147483647 w 2160"/>
                  <a:gd name="T43" fmla="*/ 2147483647 h 1416"/>
                  <a:gd name="T44" fmla="*/ 2147483647 w 2160"/>
                  <a:gd name="T45" fmla="*/ 2147483647 h 1416"/>
                  <a:gd name="T46" fmla="*/ 2147483647 w 2160"/>
                  <a:gd name="T47" fmla="*/ 2147483647 h 1416"/>
                  <a:gd name="T48" fmla="*/ 2147483647 w 2160"/>
                  <a:gd name="T49" fmla="*/ 2147483647 h 1416"/>
                  <a:gd name="T50" fmla="*/ 2147483647 w 2160"/>
                  <a:gd name="T51" fmla="*/ 2147483647 h 1416"/>
                  <a:gd name="T52" fmla="*/ 2147483647 w 2160"/>
                  <a:gd name="T53" fmla="*/ 2147483647 h 1416"/>
                  <a:gd name="T54" fmla="*/ 2147483647 w 2160"/>
                  <a:gd name="T55" fmla="*/ 2147483647 h 1416"/>
                  <a:gd name="T56" fmla="*/ 2147483647 w 2160"/>
                  <a:gd name="T57" fmla="*/ 2147483647 h 1416"/>
                  <a:gd name="T58" fmla="*/ 2147483647 w 2160"/>
                  <a:gd name="T59" fmla="*/ 2147483647 h 1416"/>
                  <a:gd name="T60" fmla="*/ 2147483647 w 2160"/>
                  <a:gd name="T61" fmla="*/ 2147483647 h 1416"/>
                  <a:gd name="T62" fmla="*/ 2147483647 w 2160"/>
                  <a:gd name="T63" fmla="*/ 2147483647 h 1416"/>
                  <a:gd name="T64" fmla="*/ 2147483647 w 2160"/>
                  <a:gd name="T65" fmla="*/ 2147483647 h 1416"/>
                  <a:gd name="T66" fmla="*/ 2147483647 w 2160"/>
                  <a:gd name="T67" fmla="*/ 2147483647 h 1416"/>
                  <a:gd name="T68" fmla="*/ 2147483647 w 2160"/>
                  <a:gd name="T69" fmla="*/ 2147483647 h 1416"/>
                  <a:gd name="T70" fmla="*/ 2147483647 w 2160"/>
                  <a:gd name="T71" fmla="*/ 2147483647 h 1416"/>
                  <a:gd name="T72" fmla="*/ 2147483647 w 2160"/>
                  <a:gd name="T73" fmla="*/ 2147483647 h 1416"/>
                  <a:gd name="T74" fmla="*/ 2147483647 w 2160"/>
                  <a:gd name="T75" fmla="*/ 2147483647 h 1416"/>
                  <a:gd name="T76" fmla="*/ 2147483647 w 2160"/>
                  <a:gd name="T77" fmla="*/ 2147483647 h 1416"/>
                  <a:gd name="T78" fmla="*/ 2147483647 w 2160"/>
                  <a:gd name="T79" fmla="*/ 2147483647 h 1416"/>
                  <a:gd name="T80" fmla="*/ 2147483647 w 2160"/>
                  <a:gd name="T81" fmla="*/ 2147483647 h 1416"/>
                  <a:gd name="T82" fmla="*/ 2147483647 w 2160"/>
                  <a:gd name="T83" fmla="*/ 2147483647 h 1416"/>
                  <a:gd name="T84" fmla="*/ 2147483647 w 2160"/>
                  <a:gd name="T85" fmla="*/ 2147483647 h 1416"/>
                  <a:gd name="T86" fmla="*/ 2147483647 w 2160"/>
                  <a:gd name="T87" fmla="*/ 2147483647 h 1416"/>
                  <a:gd name="T88" fmla="*/ 2147483647 w 2160"/>
                  <a:gd name="T89" fmla="*/ 2147483647 h 1416"/>
                  <a:gd name="T90" fmla="*/ 2147483647 w 2160"/>
                  <a:gd name="T91" fmla="*/ 2147483647 h 1416"/>
                  <a:gd name="T92" fmla="*/ 2147483647 w 2160"/>
                  <a:gd name="T93" fmla="*/ 2147483647 h 1416"/>
                  <a:gd name="T94" fmla="*/ 2147483647 w 2160"/>
                  <a:gd name="T95" fmla="*/ 2147483647 h 1416"/>
                  <a:gd name="T96" fmla="*/ 2147483647 w 2160"/>
                  <a:gd name="T97" fmla="*/ 2147483647 h 1416"/>
                  <a:gd name="T98" fmla="*/ 2147483647 w 2160"/>
                  <a:gd name="T99" fmla="*/ 2147483647 h 1416"/>
                  <a:gd name="T100" fmla="*/ 2147483647 w 2160"/>
                  <a:gd name="T101" fmla="*/ 2147483647 h 1416"/>
                  <a:gd name="T102" fmla="*/ 2147483647 w 2160"/>
                  <a:gd name="T103" fmla="*/ 2147483647 h 1416"/>
                  <a:gd name="T104" fmla="*/ 2147483647 w 2160"/>
                  <a:gd name="T105" fmla="*/ 2147483647 h 1416"/>
                  <a:gd name="T106" fmla="*/ 2147483647 w 2160"/>
                  <a:gd name="T107" fmla="*/ 2147483647 h 1416"/>
                  <a:gd name="T108" fmla="*/ 2147483647 w 2160"/>
                  <a:gd name="T109" fmla="*/ 2147483647 h 1416"/>
                  <a:gd name="T110" fmla="*/ 2147483647 w 2160"/>
                  <a:gd name="T111" fmla="*/ 2147483647 h 1416"/>
                  <a:gd name="T112" fmla="*/ 2147483647 w 2160"/>
                  <a:gd name="T113" fmla="*/ 2147483647 h 1416"/>
                  <a:gd name="T114" fmla="*/ 2147483647 w 2160"/>
                  <a:gd name="T115" fmla="*/ 2147483647 h 1416"/>
                  <a:gd name="T116" fmla="*/ 2147483647 w 2160"/>
                  <a:gd name="T117" fmla="*/ 2147483647 h 1416"/>
                  <a:gd name="T118" fmla="*/ 2147483647 w 2160"/>
                  <a:gd name="T119" fmla="*/ 2147483647 h 1416"/>
                  <a:gd name="T120" fmla="*/ 2147483647 w 2160"/>
                  <a:gd name="T121" fmla="*/ 2147483647 h 1416"/>
                  <a:gd name="T122" fmla="*/ 2147483647 w 2160"/>
                  <a:gd name="T123" fmla="*/ 2147483647 h 1416"/>
                  <a:gd name="T124" fmla="*/ 2147483647 w 2160"/>
                  <a:gd name="T125" fmla="*/ 2147483647 h 141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160" h="1416">
                    <a:moveTo>
                      <a:pt x="1008" y="1290"/>
                    </a:moveTo>
                    <a:lnTo>
                      <a:pt x="1014" y="1290"/>
                    </a:lnTo>
                    <a:lnTo>
                      <a:pt x="1014" y="1296"/>
                    </a:lnTo>
                    <a:lnTo>
                      <a:pt x="1008" y="1296"/>
                    </a:lnTo>
                    <a:lnTo>
                      <a:pt x="1008" y="1290"/>
                    </a:lnTo>
                    <a:close/>
                    <a:moveTo>
                      <a:pt x="1860" y="48"/>
                    </a:moveTo>
                    <a:lnTo>
                      <a:pt x="1854" y="48"/>
                    </a:lnTo>
                    <a:lnTo>
                      <a:pt x="1854" y="54"/>
                    </a:lnTo>
                    <a:lnTo>
                      <a:pt x="1848" y="54"/>
                    </a:lnTo>
                    <a:lnTo>
                      <a:pt x="1848" y="60"/>
                    </a:lnTo>
                    <a:lnTo>
                      <a:pt x="1848" y="66"/>
                    </a:lnTo>
                    <a:lnTo>
                      <a:pt x="1842" y="66"/>
                    </a:lnTo>
                    <a:lnTo>
                      <a:pt x="1836" y="60"/>
                    </a:lnTo>
                    <a:lnTo>
                      <a:pt x="1830" y="60"/>
                    </a:lnTo>
                    <a:lnTo>
                      <a:pt x="1830" y="66"/>
                    </a:lnTo>
                    <a:lnTo>
                      <a:pt x="1824" y="66"/>
                    </a:lnTo>
                    <a:lnTo>
                      <a:pt x="1818" y="72"/>
                    </a:lnTo>
                    <a:lnTo>
                      <a:pt x="1818" y="78"/>
                    </a:lnTo>
                    <a:lnTo>
                      <a:pt x="1824" y="78"/>
                    </a:lnTo>
                    <a:lnTo>
                      <a:pt x="1824" y="84"/>
                    </a:lnTo>
                    <a:lnTo>
                      <a:pt x="1818" y="84"/>
                    </a:lnTo>
                    <a:lnTo>
                      <a:pt x="1812" y="84"/>
                    </a:lnTo>
                    <a:lnTo>
                      <a:pt x="1812" y="90"/>
                    </a:lnTo>
                    <a:lnTo>
                      <a:pt x="1806" y="90"/>
                    </a:lnTo>
                    <a:lnTo>
                      <a:pt x="1806" y="96"/>
                    </a:lnTo>
                    <a:lnTo>
                      <a:pt x="1800" y="96"/>
                    </a:lnTo>
                    <a:lnTo>
                      <a:pt x="1794" y="96"/>
                    </a:lnTo>
                    <a:lnTo>
                      <a:pt x="1788" y="96"/>
                    </a:lnTo>
                    <a:lnTo>
                      <a:pt x="1788" y="102"/>
                    </a:lnTo>
                    <a:lnTo>
                      <a:pt x="1788" y="108"/>
                    </a:lnTo>
                    <a:lnTo>
                      <a:pt x="1788" y="114"/>
                    </a:lnTo>
                    <a:lnTo>
                      <a:pt x="1782" y="114"/>
                    </a:lnTo>
                    <a:lnTo>
                      <a:pt x="1776" y="114"/>
                    </a:lnTo>
                    <a:lnTo>
                      <a:pt x="1770" y="108"/>
                    </a:lnTo>
                    <a:lnTo>
                      <a:pt x="1764" y="108"/>
                    </a:lnTo>
                    <a:lnTo>
                      <a:pt x="1758" y="108"/>
                    </a:lnTo>
                    <a:lnTo>
                      <a:pt x="1758" y="102"/>
                    </a:lnTo>
                    <a:lnTo>
                      <a:pt x="1758" y="108"/>
                    </a:lnTo>
                    <a:lnTo>
                      <a:pt x="1758" y="114"/>
                    </a:lnTo>
                    <a:lnTo>
                      <a:pt x="1752" y="114"/>
                    </a:lnTo>
                    <a:lnTo>
                      <a:pt x="1752" y="120"/>
                    </a:lnTo>
                    <a:lnTo>
                      <a:pt x="1752" y="126"/>
                    </a:lnTo>
                    <a:lnTo>
                      <a:pt x="1746" y="126"/>
                    </a:lnTo>
                    <a:lnTo>
                      <a:pt x="1746" y="132"/>
                    </a:lnTo>
                    <a:lnTo>
                      <a:pt x="1752" y="132"/>
                    </a:lnTo>
                    <a:lnTo>
                      <a:pt x="1752" y="138"/>
                    </a:lnTo>
                    <a:lnTo>
                      <a:pt x="1752" y="144"/>
                    </a:lnTo>
                    <a:lnTo>
                      <a:pt x="1758" y="144"/>
                    </a:lnTo>
                    <a:lnTo>
                      <a:pt x="1758" y="150"/>
                    </a:lnTo>
                    <a:lnTo>
                      <a:pt x="1752" y="150"/>
                    </a:lnTo>
                    <a:lnTo>
                      <a:pt x="1752" y="156"/>
                    </a:lnTo>
                    <a:lnTo>
                      <a:pt x="1746" y="162"/>
                    </a:lnTo>
                    <a:lnTo>
                      <a:pt x="1752" y="168"/>
                    </a:lnTo>
                    <a:lnTo>
                      <a:pt x="1752" y="174"/>
                    </a:lnTo>
                    <a:lnTo>
                      <a:pt x="1758" y="174"/>
                    </a:lnTo>
                    <a:lnTo>
                      <a:pt x="1764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6"/>
                    </a:lnTo>
                    <a:lnTo>
                      <a:pt x="1770" y="192"/>
                    </a:lnTo>
                    <a:lnTo>
                      <a:pt x="1776" y="192"/>
                    </a:lnTo>
                    <a:lnTo>
                      <a:pt x="1776" y="198"/>
                    </a:lnTo>
                    <a:lnTo>
                      <a:pt x="1782" y="198"/>
                    </a:lnTo>
                    <a:lnTo>
                      <a:pt x="1788" y="198"/>
                    </a:lnTo>
                    <a:lnTo>
                      <a:pt x="1794" y="198"/>
                    </a:lnTo>
                    <a:lnTo>
                      <a:pt x="1800" y="198"/>
                    </a:lnTo>
                    <a:lnTo>
                      <a:pt x="1800" y="204"/>
                    </a:lnTo>
                    <a:lnTo>
                      <a:pt x="1806" y="204"/>
                    </a:lnTo>
                    <a:lnTo>
                      <a:pt x="1812" y="204"/>
                    </a:lnTo>
                    <a:lnTo>
                      <a:pt x="1812" y="198"/>
                    </a:lnTo>
                    <a:lnTo>
                      <a:pt x="1812" y="192"/>
                    </a:lnTo>
                    <a:lnTo>
                      <a:pt x="1812" y="186"/>
                    </a:lnTo>
                    <a:lnTo>
                      <a:pt x="1812" y="180"/>
                    </a:lnTo>
                    <a:lnTo>
                      <a:pt x="1818" y="174"/>
                    </a:lnTo>
                    <a:lnTo>
                      <a:pt x="1818" y="180"/>
                    </a:lnTo>
                    <a:lnTo>
                      <a:pt x="1824" y="180"/>
                    </a:lnTo>
                    <a:lnTo>
                      <a:pt x="1830" y="180"/>
                    </a:lnTo>
                    <a:lnTo>
                      <a:pt x="1830" y="186"/>
                    </a:lnTo>
                    <a:lnTo>
                      <a:pt x="1836" y="186"/>
                    </a:lnTo>
                    <a:lnTo>
                      <a:pt x="1842" y="186"/>
                    </a:lnTo>
                    <a:lnTo>
                      <a:pt x="1842" y="192"/>
                    </a:lnTo>
                    <a:lnTo>
                      <a:pt x="1842" y="198"/>
                    </a:lnTo>
                    <a:lnTo>
                      <a:pt x="1842" y="204"/>
                    </a:lnTo>
                    <a:lnTo>
                      <a:pt x="1842" y="210"/>
                    </a:lnTo>
                    <a:lnTo>
                      <a:pt x="1848" y="210"/>
                    </a:lnTo>
                    <a:lnTo>
                      <a:pt x="1854" y="210"/>
                    </a:lnTo>
                    <a:lnTo>
                      <a:pt x="1860" y="210"/>
                    </a:lnTo>
                    <a:lnTo>
                      <a:pt x="1866" y="216"/>
                    </a:lnTo>
                    <a:lnTo>
                      <a:pt x="1872" y="216"/>
                    </a:lnTo>
                    <a:lnTo>
                      <a:pt x="1878" y="216"/>
                    </a:lnTo>
                    <a:lnTo>
                      <a:pt x="1884" y="222"/>
                    </a:lnTo>
                    <a:lnTo>
                      <a:pt x="1890" y="222"/>
                    </a:lnTo>
                    <a:lnTo>
                      <a:pt x="1896" y="222"/>
                    </a:lnTo>
                    <a:lnTo>
                      <a:pt x="1896" y="228"/>
                    </a:lnTo>
                    <a:lnTo>
                      <a:pt x="1902" y="228"/>
                    </a:lnTo>
                    <a:lnTo>
                      <a:pt x="1908" y="234"/>
                    </a:lnTo>
                    <a:lnTo>
                      <a:pt x="1914" y="234"/>
                    </a:lnTo>
                    <a:lnTo>
                      <a:pt x="1920" y="234"/>
                    </a:lnTo>
                    <a:lnTo>
                      <a:pt x="1920" y="228"/>
                    </a:lnTo>
                    <a:lnTo>
                      <a:pt x="1926" y="228"/>
                    </a:lnTo>
                    <a:lnTo>
                      <a:pt x="1932" y="228"/>
                    </a:lnTo>
                    <a:lnTo>
                      <a:pt x="1938" y="228"/>
                    </a:lnTo>
                    <a:lnTo>
                      <a:pt x="1944" y="228"/>
                    </a:lnTo>
                    <a:lnTo>
                      <a:pt x="1944" y="222"/>
                    </a:lnTo>
                    <a:lnTo>
                      <a:pt x="1950" y="222"/>
                    </a:lnTo>
                    <a:lnTo>
                      <a:pt x="1956" y="222"/>
                    </a:lnTo>
                    <a:lnTo>
                      <a:pt x="1962" y="222"/>
                    </a:lnTo>
                    <a:lnTo>
                      <a:pt x="1962" y="228"/>
                    </a:lnTo>
                    <a:lnTo>
                      <a:pt x="1968" y="228"/>
                    </a:lnTo>
                    <a:lnTo>
                      <a:pt x="1968" y="234"/>
                    </a:lnTo>
                    <a:lnTo>
                      <a:pt x="1974" y="234"/>
                    </a:lnTo>
                    <a:lnTo>
                      <a:pt x="1974" y="240"/>
                    </a:lnTo>
                    <a:lnTo>
                      <a:pt x="1980" y="240"/>
                    </a:lnTo>
                    <a:lnTo>
                      <a:pt x="1986" y="240"/>
                    </a:lnTo>
                    <a:lnTo>
                      <a:pt x="1986" y="246"/>
                    </a:lnTo>
                    <a:lnTo>
                      <a:pt x="1992" y="246"/>
                    </a:lnTo>
                    <a:lnTo>
                      <a:pt x="1998" y="246"/>
                    </a:lnTo>
                    <a:lnTo>
                      <a:pt x="2004" y="246"/>
                    </a:lnTo>
                    <a:lnTo>
                      <a:pt x="2010" y="246"/>
                    </a:lnTo>
                    <a:lnTo>
                      <a:pt x="2016" y="246"/>
                    </a:lnTo>
                    <a:lnTo>
                      <a:pt x="2016" y="252"/>
                    </a:lnTo>
                    <a:lnTo>
                      <a:pt x="2022" y="252"/>
                    </a:lnTo>
                    <a:lnTo>
                      <a:pt x="2028" y="258"/>
                    </a:lnTo>
                    <a:lnTo>
                      <a:pt x="2034" y="258"/>
                    </a:lnTo>
                    <a:lnTo>
                      <a:pt x="2040" y="258"/>
                    </a:lnTo>
                    <a:lnTo>
                      <a:pt x="2040" y="252"/>
                    </a:lnTo>
                    <a:lnTo>
                      <a:pt x="2046" y="252"/>
                    </a:lnTo>
                    <a:lnTo>
                      <a:pt x="2052" y="258"/>
                    </a:lnTo>
                    <a:lnTo>
                      <a:pt x="2052" y="264"/>
                    </a:lnTo>
                    <a:lnTo>
                      <a:pt x="2058" y="270"/>
                    </a:lnTo>
                    <a:lnTo>
                      <a:pt x="2064" y="270"/>
                    </a:lnTo>
                    <a:lnTo>
                      <a:pt x="2070" y="276"/>
                    </a:lnTo>
                    <a:lnTo>
                      <a:pt x="2070" y="282"/>
                    </a:lnTo>
                    <a:lnTo>
                      <a:pt x="2076" y="282"/>
                    </a:lnTo>
                    <a:lnTo>
                      <a:pt x="2082" y="282"/>
                    </a:lnTo>
                    <a:lnTo>
                      <a:pt x="2088" y="282"/>
                    </a:lnTo>
                    <a:lnTo>
                      <a:pt x="2088" y="288"/>
                    </a:lnTo>
                    <a:lnTo>
                      <a:pt x="2094" y="294"/>
                    </a:lnTo>
                    <a:lnTo>
                      <a:pt x="2094" y="300"/>
                    </a:lnTo>
                    <a:lnTo>
                      <a:pt x="2100" y="300"/>
                    </a:lnTo>
                    <a:lnTo>
                      <a:pt x="2106" y="300"/>
                    </a:lnTo>
                    <a:lnTo>
                      <a:pt x="2106" y="306"/>
                    </a:lnTo>
                    <a:lnTo>
                      <a:pt x="2112" y="306"/>
                    </a:lnTo>
                    <a:lnTo>
                      <a:pt x="2118" y="306"/>
                    </a:lnTo>
                    <a:lnTo>
                      <a:pt x="2124" y="306"/>
                    </a:lnTo>
                    <a:lnTo>
                      <a:pt x="2124" y="312"/>
                    </a:lnTo>
                    <a:lnTo>
                      <a:pt x="2124" y="318"/>
                    </a:lnTo>
                    <a:lnTo>
                      <a:pt x="2124" y="324"/>
                    </a:lnTo>
                    <a:lnTo>
                      <a:pt x="2130" y="324"/>
                    </a:lnTo>
                    <a:lnTo>
                      <a:pt x="2136" y="324"/>
                    </a:lnTo>
                    <a:lnTo>
                      <a:pt x="2136" y="330"/>
                    </a:lnTo>
                    <a:lnTo>
                      <a:pt x="2142" y="330"/>
                    </a:lnTo>
                    <a:lnTo>
                      <a:pt x="2142" y="336"/>
                    </a:lnTo>
                    <a:lnTo>
                      <a:pt x="2142" y="342"/>
                    </a:lnTo>
                    <a:lnTo>
                      <a:pt x="2136" y="342"/>
                    </a:lnTo>
                    <a:lnTo>
                      <a:pt x="2136" y="348"/>
                    </a:lnTo>
                    <a:lnTo>
                      <a:pt x="2142" y="348"/>
                    </a:lnTo>
                    <a:lnTo>
                      <a:pt x="2142" y="354"/>
                    </a:lnTo>
                    <a:lnTo>
                      <a:pt x="2142" y="360"/>
                    </a:lnTo>
                    <a:lnTo>
                      <a:pt x="2142" y="366"/>
                    </a:lnTo>
                    <a:lnTo>
                      <a:pt x="2148" y="366"/>
                    </a:lnTo>
                    <a:lnTo>
                      <a:pt x="2154" y="372"/>
                    </a:lnTo>
                    <a:lnTo>
                      <a:pt x="2154" y="378"/>
                    </a:lnTo>
                    <a:lnTo>
                      <a:pt x="2154" y="384"/>
                    </a:lnTo>
                    <a:lnTo>
                      <a:pt x="2160" y="384"/>
                    </a:lnTo>
                    <a:lnTo>
                      <a:pt x="2160" y="390"/>
                    </a:lnTo>
                    <a:lnTo>
                      <a:pt x="2154" y="390"/>
                    </a:lnTo>
                    <a:lnTo>
                      <a:pt x="2154" y="396"/>
                    </a:lnTo>
                    <a:lnTo>
                      <a:pt x="2148" y="396"/>
                    </a:lnTo>
                    <a:lnTo>
                      <a:pt x="2148" y="390"/>
                    </a:lnTo>
                    <a:lnTo>
                      <a:pt x="2148" y="396"/>
                    </a:lnTo>
                    <a:lnTo>
                      <a:pt x="2154" y="396"/>
                    </a:lnTo>
                    <a:lnTo>
                      <a:pt x="2148" y="396"/>
                    </a:lnTo>
                    <a:lnTo>
                      <a:pt x="2148" y="402"/>
                    </a:lnTo>
                    <a:lnTo>
                      <a:pt x="2148" y="396"/>
                    </a:lnTo>
                    <a:lnTo>
                      <a:pt x="2148" y="402"/>
                    </a:lnTo>
                    <a:lnTo>
                      <a:pt x="2148" y="408"/>
                    </a:lnTo>
                    <a:lnTo>
                      <a:pt x="2142" y="408"/>
                    </a:lnTo>
                    <a:lnTo>
                      <a:pt x="2136" y="408"/>
                    </a:lnTo>
                    <a:lnTo>
                      <a:pt x="2142" y="408"/>
                    </a:lnTo>
                    <a:lnTo>
                      <a:pt x="2142" y="414"/>
                    </a:lnTo>
                    <a:lnTo>
                      <a:pt x="2136" y="414"/>
                    </a:lnTo>
                    <a:lnTo>
                      <a:pt x="2136" y="420"/>
                    </a:lnTo>
                    <a:lnTo>
                      <a:pt x="2130" y="420"/>
                    </a:lnTo>
                    <a:lnTo>
                      <a:pt x="2130" y="426"/>
                    </a:lnTo>
                    <a:lnTo>
                      <a:pt x="2124" y="426"/>
                    </a:lnTo>
                    <a:lnTo>
                      <a:pt x="2124" y="432"/>
                    </a:lnTo>
                    <a:lnTo>
                      <a:pt x="2118" y="432"/>
                    </a:lnTo>
                    <a:lnTo>
                      <a:pt x="2118" y="438"/>
                    </a:lnTo>
                    <a:lnTo>
                      <a:pt x="2112" y="438"/>
                    </a:lnTo>
                    <a:lnTo>
                      <a:pt x="2112" y="444"/>
                    </a:lnTo>
                    <a:lnTo>
                      <a:pt x="2112" y="438"/>
                    </a:lnTo>
                    <a:lnTo>
                      <a:pt x="2112" y="444"/>
                    </a:lnTo>
                    <a:lnTo>
                      <a:pt x="2112" y="450"/>
                    </a:lnTo>
                    <a:lnTo>
                      <a:pt x="2106" y="450"/>
                    </a:lnTo>
                    <a:lnTo>
                      <a:pt x="2106" y="456"/>
                    </a:lnTo>
                    <a:lnTo>
                      <a:pt x="2100" y="456"/>
                    </a:lnTo>
                    <a:lnTo>
                      <a:pt x="2100" y="462"/>
                    </a:lnTo>
                    <a:lnTo>
                      <a:pt x="2094" y="462"/>
                    </a:lnTo>
                    <a:lnTo>
                      <a:pt x="2094" y="468"/>
                    </a:lnTo>
                    <a:lnTo>
                      <a:pt x="2088" y="468"/>
                    </a:lnTo>
                    <a:lnTo>
                      <a:pt x="2088" y="462"/>
                    </a:lnTo>
                    <a:lnTo>
                      <a:pt x="2088" y="468"/>
                    </a:lnTo>
                    <a:lnTo>
                      <a:pt x="2088" y="462"/>
                    </a:lnTo>
                    <a:lnTo>
                      <a:pt x="2088" y="468"/>
                    </a:lnTo>
                    <a:lnTo>
                      <a:pt x="2088" y="474"/>
                    </a:lnTo>
                    <a:lnTo>
                      <a:pt x="2082" y="474"/>
                    </a:lnTo>
                    <a:lnTo>
                      <a:pt x="2082" y="480"/>
                    </a:lnTo>
                    <a:lnTo>
                      <a:pt x="2076" y="480"/>
                    </a:lnTo>
                    <a:lnTo>
                      <a:pt x="2076" y="486"/>
                    </a:lnTo>
                    <a:lnTo>
                      <a:pt x="2070" y="486"/>
                    </a:lnTo>
                    <a:lnTo>
                      <a:pt x="2070" y="492"/>
                    </a:lnTo>
                    <a:lnTo>
                      <a:pt x="2070" y="486"/>
                    </a:lnTo>
                    <a:lnTo>
                      <a:pt x="2064" y="486"/>
                    </a:lnTo>
                    <a:lnTo>
                      <a:pt x="2064" y="492"/>
                    </a:lnTo>
                    <a:lnTo>
                      <a:pt x="2058" y="492"/>
                    </a:lnTo>
                    <a:lnTo>
                      <a:pt x="2058" y="498"/>
                    </a:lnTo>
                    <a:lnTo>
                      <a:pt x="2052" y="498"/>
                    </a:lnTo>
                    <a:lnTo>
                      <a:pt x="2052" y="504"/>
                    </a:lnTo>
                    <a:lnTo>
                      <a:pt x="2046" y="504"/>
                    </a:lnTo>
                    <a:lnTo>
                      <a:pt x="2040" y="504"/>
                    </a:lnTo>
                    <a:lnTo>
                      <a:pt x="2034" y="504"/>
                    </a:lnTo>
                    <a:lnTo>
                      <a:pt x="2028" y="504"/>
                    </a:lnTo>
                    <a:lnTo>
                      <a:pt x="2028" y="510"/>
                    </a:lnTo>
                    <a:lnTo>
                      <a:pt x="2022" y="510"/>
                    </a:lnTo>
                    <a:lnTo>
                      <a:pt x="2016" y="510"/>
                    </a:lnTo>
                    <a:lnTo>
                      <a:pt x="2022" y="510"/>
                    </a:lnTo>
                    <a:lnTo>
                      <a:pt x="2022" y="516"/>
                    </a:lnTo>
                    <a:lnTo>
                      <a:pt x="2016" y="516"/>
                    </a:lnTo>
                    <a:lnTo>
                      <a:pt x="2016" y="522"/>
                    </a:lnTo>
                    <a:lnTo>
                      <a:pt x="2010" y="522"/>
                    </a:lnTo>
                    <a:lnTo>
                      <a:pt x="2010" y="528"/>
                    </a:lnTo>
                    <a:lnTo>
                      <a:pt x="2010" y="522"/>
                    </a:lnTo>
                    <a:lnTo>
                      <a:pt x="2010" y="528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1998" y="534"/>
                    </a:lnTo>
                    <a:lnTo>
                      <a:pt x="1998" y="540"/>
                    </a:lnTo>
                    <a:lnTo>
                      <a:pt x="1992" y="540"/>
                    </a:lnTo>
                    <a:lnTo>
                      <a:pt x="1992" y="546"/>
                    </a:lnTo>
                    <a:lnTo>
                      <a:pt x="1986" y="546"/>
                    </a:lnTo>
                    <a:lnTo>
                      <a:pt x="1992" y="546"/>
                    </a:lnTo>
                    <a:lnTo>
                      <a:pt x="1986" y="546"/>
                    </a:lnTo>
                    <a:lnTo>
                      <a:pt x="1986" y="552"/>
                    </a:lnTo>
                    <a:lnTo>
                      <a:pt x="1980" y="552"/>
                    </a:lnTo>
                    <a:lnTo>
                      <a:pt x="1980" y="558"/>
                    </a:lnTo>
                    <a:lnTo>
                      <a:pt x="1974" y="558"/>
                    </a:lnTo>
                    <a:lnTo>
                      <a:pt x="1968" y="558"/>
                    </a:lnTo>
                    <a:lnTo>
                      <a:pt x="1968" y="564"/>
                    </a:lnTo>
                    <a:lnTo>
                      <a:pt x="1962" y="564"/>
                    </a:lnTo>
                    <a:lnTo>
                      <a:pt x="1962" y="558"/>
                    </a:lnTo>
                    <a:lnTo>
                      <a:pt x="1956" y="558"/>
                    </a:lnTo>
                    <a:lnTo>
                      <a:pt x="1956" y="552"/>
                    </a:lnTo>
                    <a:lnTo>
                      <a:pt x="1956" y="558"/>
                    </a:lnTo>
                    <a:lnTo>
                      <a:pt x="1962" y="558"/>
                    </a:lnTo>
                    <a:lnTo>
                      <a:pt x="1962" y="564"/>
                    </a:lnTo>
                    <a:lnTo>
                      <a:pt x="1962" y="570"/>
                    </a:lnTo>
                    <a:lnTo>
                      <a:pt x="1956" y="570"/>
                    </a:lnTo>
                    <a:lnTo>
                      <a:pt x="1956" y="576"/>
                    </a:lnTo>
                    <a:lnTo>
                      <a:pt x="1950" y="576"/>
                    </a:lnTo>
                    <a:lnTo>
                      <a:pt x="1944" y="576"/>
                    </a:lnTo>
                    <a:lnTo>
                      <a:pt x="1944" y="582"/>
                    </a:lnTo>
                    <a:lnTo>
                      <a:pt x="1938" y="582"/>
                    </a:lnTo>
                    <a:lnTo>
                      <a:pt x="1932" y="582"/>
                    </a:lnTo>
                    <a:lnTo>
                      <a:pt x="1938" y="582"/>
                    </a:lnTo>
                    <a:lnTo>
                      <a:pt x="1932" y="582"/>
                    </a:lnTo>
                    <a:lnTo>
                      <a:pt x="1938" y="582"/>
                    </a:lnTo>
                    <a:lnTo>
                      <a:pt x="1938" y="576"/>
                    </a:lnTo>
                    <a:lnTo>
                      <a:pt x="1932" y="576"/>
                    </a:lnTo>
                    <a:lnTo>
                      <a:pt x="1932" y="582"/>
                    </a:lnTo>
                    <a:lnTo>
                      <a:pt x="1926" y="582"/>
                    </a:lnTo>
                    <a:lnTo>
                      <a:pt x="1926" y="588"/>
                    </a:lnTo>
                    <a:lnTo>
                      <a:pt x="1926" y="582"/>
                    </a:lnTo>
                    <a:lnTo>
                      <a:pt x="1926" y="588"/>
                    </a:lnTo>
                    <a:lnTo>
                      <a:pt x="1920" y="588"/>
                    </a:lnTo>
                    <a:lnTo>
                      <a:pt x="1926" y="588"/>
                    </a:lnTo>
                    <a:lnTo>
                      <a:pt x="1920" y="588"/>
                    </a:lnTo>
                    <a:lnTo>
                      <a:pt x="1920" y="594"/>
                    </a:lnTo>
                    <a:lnTo>
                      <a:pt x="1920" y="600"/>
                    </a:lnTo>
                    <a:lnTo>
                      <a:pt x="1914" y="600"/>
                    </a:lnTo>
                    <a:lnTo>
                      <a:pt x="1914" y="606"/>
                    </a:lnTo>
                    <a:lnTo>
                      <a:pt x="1908" y="606"/>
                    </a:lnTo>
                    <a:lnTo>
                      <a:pt x="1908" y="612"/>
                    </a:lnTo>
                    <a:lnTo>
                      <a:pt x="1908" y="618"/>
                    </a:lnTo>
                    <a:lnTo>
                      <a:pt x="1902" y="618"/>
                    </a:lnTo>
                    <a:lnTo>
                      <a:pt x="1902" y="624"/>
                    </a:lnTo>
                    <a:lnTo>
                      <a:pt x="1896" y="624"/>
                    </a:lnTo>
                    <a:lnTo>
                      <a:pt x="1890" y="624"/>
                    </a:lnTo>
                    <a:lnTo>
                      <a:pt x="1896" y="624"/>
                    </a:lnTo>
                    <a:lnTo>
                      <a:pt x="1896" y="630"/>
                    </a:lnTo>
                    <a:lnTo>
                      <a:pt x="1890" y="630"/>
                    </a:lnTo>
                    <a:lnTo>
                      <a:pt x="1890" y="636"/>
                    </a:lnTo>
                    <a:lnTo>
                      <a:pt x="1884" y="636"/>
                    </a:lnTo>
                    <a:lnTo>
                      <a:pt x="1884" y="642"/>
                    </a:lnTo>
                    <a:lnTo>
                      <a:pt x="1878" y="642"/>
                    </a:lnTo>
                    <a:lnTo>
                      <a:pt x="1878" y="636"/>
                    </a:lnTo>
                    <a:lnTo>
                      <a:pt x="1878" y="642"/>
                    </a:lnTo>
                    <a:lnTo>
                      <a:pt x="1878" y="648"/>
                    </a:lnTo>
                    <a:lnTo>
                      <a:pt x="1872" y="648"/>
                    </a:lnTo>
                    <a:lnTo>
                      <a:pt x="1872" y="654"/>
                    </a:lnTo>
                    <a:lnTo>
                      <a:pt x="1872" y="648"/>
                    </a:lnTo>
                    <a:lnTo>
                      <a:pt x="1872" y="654"/>
                    </a:lnTo>
                    <a:lnTo>
                      <a:pt x="1872" y="660"/>
                    </a:lnTo>
                    <a:lnTo>
                      <a:pt x="1866" y="660"/>
                    </a:lnTo>
                    <a:lnTo>
                      <a:pt x="1872" y="660"/>
                    </a:lnTo>
                    <a:lnTo>
                      <a:pt x="1866" y="660"/>
                    </a:lnTo>
                    <a:lnTo>
                      <a:pt x="1866" y="666"/>
                    </a:lnTo>
                    <a:lnTo>
                      <a:pt x="1860" y="666"/>
                    </a:lnTo>
                    <a:lnTo>
                      <a:pt x="1866" y="666"/>
                    </a:lnTo>
                    <a:lnTo>
                      <a:pt x="1860" y="666"/>
                    </a:lnTo>
                    <a:lnTo>
                      <a:pt x="1860" y="672"/>
                    </a:lnTo>
                    <a:lnTo>
                      <a:pt x="1854" y="672"/>
                    </a:lnTo>
                    <a:lnTo>
                      <a:pt x="1854" y="666"/>
                    </a:lnTo>
                    <a:lnTo>
                      <a:pt x="1854" y="672"/>
                    </a:lnTo>
                    <a:lnTo>
                      <a:pt x="1848" y="672"/>
                    </a:lnTo>
                    <a:lnTo>
                      <a:pt x="1848" y="678"/>
                    </a:lnTo>
                    <a:lnTo>
                      <a:pt x="1842" y="678"/>
                    </a:lnTo>
                    <a:lnTo>
                      <a:pt x="1842" y="684"/>
                    </a:lnTo>
                    <a:lnTo>
                      <a:pt x="1842" y="678"/>
                    </a:lnTo>
                    <a:lnTo>
                      <a:pt x="1842" y="684"/>
                    </a:lnTo>
                    <a:lnTo>
                      <a:pt x="1842" y="690"/>
                    </a:lnTo>
                    <a:lnTo>
                      <a:pt x="1836" y="690"/>
                    </a:lnTo>
                    <a:lnTo>
                      <a:pt x="1836" y="696"/>
                    </a:lnTo>
                    <a:lnTo>
                      <a:pt x="1830" y="696"/>
                    </a:lnTo>
                    <a:lnTo>
                      <a:pt x="1830" y="702"/>
                    </a:lnTo>
                    <a:lnTo>
                      <a:pt x="1830" y="708"/>
                    </a:lnTo>
                    <a:lnTo>
                      <a:pt x="1824" y="708"/>
                    </a:lnTo>
                    <a:lnTo>
                      <a:pt x="1824" y="714"/>
                    </a:lnTo>
                    <a:lnTo>
                      <a:pt x="1818" y="714"/>
                    </a:lnTo>
                    <a:lnTo>
                      <a:pt x="1818" y="720"/>
                    </a:lnTo>
                    <a:lnTo>
                      <a:pt x="1812" y="720"/>
                    </a:lnTo>
                    <a:lnTo>
                      <a:pt x="1812" y="726"/>
                    </a:lnTo>
                    <a:lnTo>
                      <a:pt x="1806" y="726"/>
                    </a:lnTo>
                    <a:lnTo>
                      <a:pt x="1806" y="732"/>
                    </a:lnTo>
                    <a:lnTo>
                      <a:pt x="1800" y="732"/>
                    </a:lnTo>
                    <a:lnTo>
                      <a:pt x="1800" y="738"/>
                    </a:lnTo>
                    <a:lnTo>
                      <a:pt x="1794" y="738"/>
                    </a:lnTo>
                    <a:lnTo>
                      <a:pt x="1794" y="732"/>
                    </a:lnTo>
                    <a:lnTo>
                      <a:pt x="1794" y="738"/>
                    </a:lnTo>
                    <a:lnTo>
                      <a:pt x="1800" y="738"/>
                    </a:lnTo>
                    <a:lnTo>
                      <a:pt x="1800" y="744"/>
                    </a:lnTo>
                    <a:lnTo>
                      <a:pt x="1794" y="744"/>
                    </a:lnTo>
                    <a:lnTo>
                      <a:pt x="1788" y="744"/>
                    </a:lnTo>
                    <a:lnTo>
                      <a:pt x="1788" y="750"/>
                    </a:lnTo>
                    <a:lnTo>
                      <a:pt x="1782" y="750"/>
                    </a:lnTo>
                    <a:lnTo>
                      <a:pt x="1788" y="750"/>
                    </a:lnTo>
                    <a:lnTo>
                      <a:pt x="1782" y="750"/>
                    </a:lnTo>
                    <a:lnTo>
                      <a:pt x="1782" y="756"/>
                    </a:lnTo>
                    <a:lnTo>
                      <a:pt x="1782" y="762"/>
                    </a:lnTo>
                    <a:lnTo>
                      <a:pt x="1776" y="762"/>
                    </a:lnTo>
                    <a:lnTo>
                      <a:pt x="1776" y="768"/>
                    </a:lnTo>
                    <a:lnTo>
                      <a:pt x="1770" y="768"/>
                    </a:lnTo>
                    <a:lnTo>
                      <a:pt x="1764" y="768"/>
                    </a:lnTo>
                    <a:lnTo>
                      <a:pt x="1764" y="762"/>
                    </a:lnTo>
                    <a:lnTo>
                      <a:pt x="1764" y="768"/>
                    </a:lnTo>
                    <a:lnTo>
                      <a:pt x="1770" y="768"/>
                    </a:lnTo>
                    <a:lnTo>
                      <a:pt x="1770" y="774"/>
                    </a:lnTo>
                    <a:lnTo>
                      <a:pt x="1764" y="774"/>
                    </a:lnTo>
                    <a:lnTo>
                      <a:pt x="1764" y="780"/>
                    </a:lnTo>
                    <a:lnTo>
                      <a:pt x="1758" y="780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64" y="780"/>
                    </a:lnTo>
                    <a:lnTo>
                      <a:pt x="1758" y="780"/>
                    </a:lnTo>
                    <a:lnTo>
                      <a:pt x="1758" y="786"/>
                    </a:lnTo>
                    <a:lnTo>
                      <a:pt x="1758" y="780"/>
                    </a:lnTo>
                    <a:lnTo>
                      <a:pt x="1758" y="786"/>
                    </a:lnTo>
                    <a:lnTo>
                      <a:pt x="1752" y="786"/>
                    </a:lnTo>
                    <a:lnTo>
                      <a:pt x="1746" y="786"/>
                    </a:lnTo>
                    <a:lnTo>
                      <a:pt x="1746" y="792"/>
                    </a:lnTo>
                    <a:lnTo>
                      <a:pt x="1746" y="798"/>
                    </a:lnTo>
                    <a:lnTo>
                      <a:pt x="1740" y="798"/>
                    </a:lnTo>
                    <a:lnTo>
                      <a:pt x="1734" y="798"/>
                    </a:lnTo>
                    <a:lnTo>
                      <a:pt x="1734" y="804"/>
                    </a:lnTo>
                    <a:lnTo>
                      <a:pt x="1728" y="804"/>
                    </a:lnTo>
                    <a:lnTo>
                      <a:pt x="1728" y="810"/>
                    </a:lnTo>
                    <a:lnTo>
                      <a:pt x="1722" y="810"/>
                    </a:lnTo>
                    <a:lnTo>
                      <a:pt x="1722" y="816"/>
                    </a:lnTo>
                    <a:lnTo>
                      <a:pt x="1722" y="822"/>
                    </a:lnTo>
                    <a:lnTo>
                      <a:pt x="1716" y="822"/>
                    </a:lnTo>
                    <a:lnTo>
                      <a:pt x="1716" y="816"/>
                    </a:lnTo>
                    <a:lnTo>
                      <a:pt x="1716" y="822"/>
                    </a:lnTo>
                    <a:lnTo>
                      <a:pt x="1710" y="822"/>
                    </a:lnTo>
                    <a:lnTo>
                      <a:pt x="1710" y="828"/>
                    </a:lnTo>
                    <a:lnTo>
                      <a:pt x="1704" y="828"/>
                    </a:lnTo>
                    <a:lnTo>
                      <a:pt x="1710" y="828"/>
                    </a:lnTo>
                    <a:lnTo>
                      <a:pt x="1704" y="828"/>
                    </a:lnTo>
                    <a:lnTo>
                      <a:pt x="1704" y="834"/>
                    </a:lnTo>
                    <a:lnTo>
                      <a:pt x="1704" y="828"/>
                    </a:lnTo>
                    <a:lnTo>
                      <a:pt x="1704" y="834"/>
                    </a:lnTo>
                    <a:lnTo>
                      <a:pt x="1698" y="834"/>
                    </a:lnTo>
                    <a:lnTo>
                      <a:pt x="1692" y="834"/>
                    </a:lnTo>
                    <a:lnTo>
                      <a:pt x="1698" y="834"/>
                    </a:lnTo>
                    <a:lnTo>
                      <a:pt x="1698" y="840"/>
                    </a:lnTo>
                    <a:lnTo>
                      <a:pt x="1692" y="840"/>
                    </a:lnTo>
                    <a:lnTo>
                      <a:pt x="1698" y="840"/>
                    </a:lnTo>
                    <a:lnTo>
                      <a:pt x="1692" y="840"/>
                    </a:lnTo>
                    <a:lnTo>
                      <a:pt x="1698" y="840"/>
                    </a:lnTo>
                    <a:lnTo>
                      <a:pt x="1698" y="846"/>
                    </a:lnTo>
                    <a:lnTo>
                      <a:pt x="1692" y="846"/>
                    </a:lnTo>
                    <a:lnTo>
                      <a:pt x="1686" y="846"/>
                    </a:lnTo>
                    <a:lnTo>
                      <a:pt x="1686" y="852"/>
                    </a:lnTo>
                    <a:lnTo>
                      <a:pt x="1680" y="852"/>
                    </a:lnTo>
                    <a:lnTo>
                      <a:pt x="1680" y="846"/>
                    </a:lnTo>
                    <a:lnTo>
                      <a:pt x="1680" y="852"/>
                    </a:lnTo>
                    <a:lnTo>
                      <a:pt x="1680" y="846"/>
                    </a:lnTo>
                    <a:lnTo>
                      <a:pt x="1680" y="852"/>
                    </a:lnTo>
                    <a:lnTo>
                      <a:pt x="1680" y="858"/>
                    </a:lnTo>
                    <a:lnTo>
                      <a:pt x="1674" y="858"/>
                    </a:lnTo>
                    <a:lnTo>
                      <a:pt x="1668" y="858"/>
                    </a:lnTo>
                    <a:lnTo>
                      <a:pt x="1674" y="858"/>
                    </a:lnTo>
                    <a:lnTo>
                      <a:pt x="1674" y="864"/>
                    </a:lnTo>
                    <a:lnTo>
                      <a:pt x="1668" y="864"/>
                    </a:lnTo>
                    <a:lnTo>
                      <a:pt x="1668" y="870"/>
                    </a:lnTo>
                    <a:lnTo>
                      <a:pt x="1662" y="870"/>
                    </a:lnTo>
                    <a:lnTo>
                      <a:pt x="1668" y="870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56" y="876"/>
                    </a:lnTo>
                    <a:lnTo>
                      <a:pt x="1656" y="882"/>
                    </a:lnTo>
                    <a:lnTo>
                      <a:pt x="1656" y="876"/>
                    </a:lnTo>
                    <a:lnTo>
                      <a:pt x="1656" y="882"/>
                    </a:lnTo>
                    <a:lnTo>
                      <a:pt x="1656" y="888"/>
                    </a:lnTo>
                    <a:lnTo>
                      <a:pt x="1650" y="888"/>
                    </a:lnTo>
                    <a:lnTo>
                      <a:pt x="1644" y="888"/>
                    </a:lnTo>
                    <a:lnTo>
                      <a:pt x="1644" y="882"/>
                    </a:lnTo>
                    <a:lnTo>
                      <a:pt x="1644" y="888"/>
                    </a:lnTo>
                    <a:lnTo>
                      <a:pt x="1644" y="894"/>
                    </a:lnTo>
                    <a:lnTo>
                      <a:pt x="1638" y="894"/>
                    </a:lnTo>
                    <a:lnTo>
                      <a:pt x="1632" y="894"/>
                    </a:lnTo>
                    <a:lnTo>
                      <a:pt x="1626" y="894"/>
                    </a:lnTo>
                    <a:lnTo>
                      <a:pt x="1632" y="894"/>
                    </a:lnTo>
                    <a:lnTo>
                      <a:pt x="1632" y="900"/>
                    </a:lnTo>
                    <a:lnTo>
                      <a:pt x="1626" y="900"/>
                    </a:lnTo>
                    <a:lnTo>
                      <a:pt x="1626" y="906"/>
                    </a:lnTo>
                    <a:lnTo>
                      <a:pt x="1620" y="906"/>
                    </a:lnTo>
                    <a:lnTo>
                      <a:pt x="1620" y="912"/>
                    </a:lnTo>
                    <a:lnTo>
                      <a:pt x="1620" y="906"/>
                    </a:lnTo>
                    <a:lnTo>
                      <a:pt x="1614" y="906"/>
                    </a:lnTo>
                    <a:lnTo>
                      <a:pt x="1614" y="912"/>
                    </a:lnTo>
                    <a:lnTo>
                      <a:pt x="1614" y="906"/>
                    </a:lnTo>
                    <a:lnTo>
                      <a:pt x="1608" y="906"/>
                    </a:lnTo>
                    <a:lnTo>
                      <a:pt x="1608" y="900"/>
                    </a:lnTo>
                    <a:lnTo>
                      <a:pt x="1608" y="894"/>
                    </a:lnTo>
                    <a:lnTo>
                      <a:pt x="1608" y="900"/>
                    </a:lnTo>
                    <a:lnTo>
                      <a:pt x="1608" y="906"/>
                    </a:lnTo>
                    <a:lnTo>
                      <a:pt x="1614" y="906"/>
                    </a:lnTo>
                    <a:lnTo>
                      <a:pt x="1614" y="912"/>
                    </a:lnTo>
                    <a:lnTo>
                      <a:pt x="1614" y="918"/>
                    </a:lnTo>
                    <a:lnTo>
                      <a:pt x="1608" y="918"/>
                    </a:lnTo>
                    <a:lnTo>
                      <a:pt x="1608" y="924"/>
                    </a:lnTo>
                    <a:lnTo>
                      <a:pt x="1608" y="918"/>
                    </a:lnTo>
                    <a:lnTo>
                      <a:pt x="1602" y="918"/>
                    </a:lnTo>
                    <a:lnTo>
                      <a:pt x="1602" y="924"/>
                    </a:lnTo>
                    <a:lnTo>
                      <a:pt x="1596" y="924"/>
                    </a:lnTo>
                    <a:lnTo>
                      <a:pt x="1590" y="924"/>
                    </a:lnTo>
                    <a:lnTo>
                      <a:pt x="1590" y="930"/>
                    </a:lnTo>
                    <a:lnTo>
                      <a:pt x="1584" y="930"/>
                    </a:lnTo>
                    <a:lnTo>
                      <a:pt x="1584" y="936"/>
                    </a:lnTo>
                    <a:lnTo>
                      <a:pt x="1578" y="936"/>
                    </a:lnTo>
                    <a:lnTo>
                      <a:pt x="1578" y="942"/>
                    </a:lnTo>
                    <a:lnTo>
                      <a:pt x="1578" y="936"/>
                    </a:lnTo>
                    <a:lnTo>
                      <a:pt x="1578" y="942"/>
                    </a:lnTo>
                    <a:lnTo>
                      <a:pt x="1572" y="942"/>
                    </a:lnTo>
                    <a:lnTo>
                      <a:pt x="1566" y="942"/>
                    </a:lnTo>
                    <a:lnTo>
                      <a:pt x="1560" y="942"/>
                    </a:lnTo>
                    <a:lnTo>
                      <a:pt x="1560" y="948"/>
                    </a:lnTo>
                    <a:lnTo>
                      <a:pt x="1554" y="948"/>
                    </a:lnTo>
                    <a:lnTo>
                      <a:pt x="1554" y="942"/>
                    </a:lnTo>
                    <a:lnTo>
                      <a:pt x="1554" y="948"/>
                    </a:lnTo>
                    <a:lnTo>
                      <a:pt x="1548" y="948"/>
                    </a:lnTo>
                    <a:lnTo>
                      <a:pt x="1548" y="954"/>
                    </a:lnTo>
                    <a:lnTo>
                      <a:pt x="1542" y="954"/>
                    </a:lnTo>
                    <a:lnTo>
                      <a:pt x="1542" y="948"/>
                    </a:lnTo>
                    <a:lnTo>
                      <a:pt x="1536" y="948"/>
                    </a:lnTo>
                    <a:lnTo>
                      <a:pt x="1536" y="954"/>
                    </a:lnTo>
                    <a:lnTo>
                      <a:pt x="1542" y="954"/>
                    </a:lnTo>
                    <a:lnTo>
                      <a:pt x="1542" y="960"/>
                    </a:lnTo>
                    <a:lnTo>
                      <a:pt x="1536" y="960"/>
                    </a:lnTo>
                    <a:lnTo>
                      <a:pt x="1536" y="966"/>
                    </a:lnTo>
                    <a:lnTo>
                      <a:pt x="1536" y="972"/>
                    </a:lnTo>
                    <a:lnTo>
                      <a:pt x="1536" y="978"/>
                    </a:lnTo>
                    <a:lnTo>
                      <a:pt x="1530" y="978"/>
                    </a:lnTo>
                    <a:lnTo>
                      <a:pt x="1530" y="984"/>
                    </a:lnTo>
                    <a:lnTo>
                      <a:pt x="1530" y="978"/>
                    </a:lnTo>
                    <a:lnTo>
                      <a:pt x="1530" y="984"/>
                    </a:lnTo>
                    <a:lnTo>
                      <a:pt x="1524" y="984"/>
                    </a:lnTo>
                    <a:lnTo>
                      <a:pt x="1524" y="990"/>
                    </a:lnTo>
                    <a:lnTo>
                      <a:pt x="1518" y="990"/>
                    </a:lnTo>
                    <a:lnTo>
                      <a:pt x="1518" y="996"/>
                    </a:lnTo>
                    <a:lnTo>
                      <a:pt x="1512" y="996"/>
                    </a:lnTo>
                    <a:lnTo>
                      <a:pt x="1512" y="1002"/>
                    </a:lnTo>
                    <a:lnTo>
                      <a:pt x="1506" y="1002"/>
                    </a:lnTo>
                    <a:lnTo>
                      <a:pt x="1500" y="1002"/>
                    </a:lnTo>
                    <a:lnTo>
                      <a:pt x="1500" y="1008"/>
                    </a:lnTo>
                    <a:lnTo>
                      <a:pt x="1494" y="1008"/>
                    </a:lnTo>
                    <a:lnTo>
                      <a:pt x="1494" y="1002"/>
                    </a:lnTo>
                    <a:lnTo>
                      <a:pt x="1494" y="1008"/>
                    </a:lnTo>
                    <a:lnTo>
                      <a:pt x="1494" y="1002"/>
                    </a:lnTo>
                    <a:lnTo>
                      <a:pt x="1494" y="1008"/>
                    </a:lnTo>
                    <a:lnTo>
                      <a:pt x="1488" y="1008"/>
                    </a:lnTo>
                    <a:lnTo>
                      <a:pt x="1494" y="1008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2" y="1014"/>
                    </a:lnTo>
                    <a:lnTo>
                      <a:pt x="1482" y="1008"/>
                    </a:lnTo>
                    <a:lnTo>
                      <a:pt x="1482" y="1014"/>
                    </a:lnTo>
                    <a:lnTo>
                      <a:pt x="1488" y="1014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8" y="1020"/>
                    </a:lnTo>
                    <a:lnTo>
                      <a:pt x="1482" y="1020"/>
                    </a:lnTo>
                    <a:lnTo>
                      <a:pt x="1482" y="1026"/>
                    </a:lnTo>
                    <a:lnTo>
                      <a:pt x="1476" y="1026"/>
                    </a:lnTo>
                    <a:lnTo>
                      <a:pt x="1470" y="1026"/>
                    </a:lnTo>
                    <a:lnTo>
                      <a:pt x="1464" y="1026"/>
                    </a:lnTo>
                    <a:lnTo>
                      <a:pt x="1470" y="1026"/>
                    </a:lnTo>
                    <a:lnTo>
                      <a:pt x="1476" y="1026"/>
                    </a:lnTo>
                    <a:lnTo>
                      <a:pt x="1482" y="1026"/>
                    </a:lnTo>
                    <a:lnTo>
                      <a:pt x="1476" y="1026"/>
                    </a:lnTo>
                    <a:lnTo>
                      <a:pt x="1476" y="1032"/>
                    </a:lnTo>
                    <a:lnTo>
                      <a:pt x="1470" y="1032"/>
                    </a:lnTo>
                    <a:lnTo>
                      <a:pt x="1464" y="1032"/>
                    </a:lnTo>
                    <a:lnTo>
                      <a:pt x="1464" y="1038"/>
                    </a:lnTo>
                    <a:lnTo>
                      <a:pt x="1458" y="1038"/>
                    </a:lnTo>
                    <a:lnTo>
                      <a:pt x="1452" y="1038"/>
                    </a:lnTo>
                    <a:lnTo>
                      <a:pt x="1452" y="1044"/>
                    </a:lnTo>
                    <a:lnTo>
                      <a:pt x="1446" y="1044"/>
                    </a:lnTo>
                    <a:lnTo>
                      <a:pt x="1446" y="1050"/>
                    </a:lnTo>
                    <a:lnTo>
                      <a:pt x="1440" y="1050"/>
                    </a:lnTo>
                    <a:lnTo>
                      <a:pt x="1434" y="1050"/>
                    </a:lnTo>
                    <a:lnTo>
                      <a:pt x="1428" y="1050"/>
                    </a:lnTo>
                    <a:lnTo>
                      <a:pt x="1428" y="1056"/>
                    </a:lnTo>
                    <a:lnTo>
                      <a:pt x="1422" y="1056"/>
                    </a:lnTo>
                    <a:lnTo>
                      <a:pt x="1422" y="1062"/>
                    </a:lnTo>
                    <a:lnTo>
                      <a:pt x="1416" y="1062"/>
                    </a:lnTo>
                    <a:lnTo>
                      <a:pt x="1422" y="1062"/>
                    </a:lnTo>
                    <a:lnTo>
                      <a:pt x="1416" y="1062"/>
                    </a:lnTo>
                    <a:lnTo>
                      <a:pt x="1416" y="1068"/>
                    </a:lnTo>
                    <a:lnTo>
                      <a:pt x="1410" y="1068"/>
                    </a:lnTo>
                    <a:lnTo>
                      <a:pt x="1410" y="1074"/>
                    </a:lnTo>
                    <a:lnTo>
                      <a:pt x="1404" y="1074"/>
                    </a:lnTo>
                    <a:lnTo>
                      <a:pt x="1404" y="1080"/>
                    </a:lnTo>
                    <a:lnTo>
                      <a:pt x="1398" y="1080"/>
                    </a:lnTo>
                    <a:lnTo>
                      <a:pt x="1398" y="1086"/>
                    </a:lnTo>
                    <a:lnTo>
                      <a:pt x="1392" y="1086"/>
                    </a:lnTo>
                    <a:lnTo>
                      <a:pt x="1386" y="1086"/>
                    </a:lnTo>
                    <a:lnTo>
                      <a:pt x="1386" y="1092"/>
                    </a:lnTo>
                    <a:lnTo>
                      <a:pt x="1380" y="1092"/>
                    </a:lnTo>
                    <a:lnTo>
                      <a:pt x="1380" y="1086"/>
                    </a:lnTo>
                    <a:lnTo>
                      <a:pt x="1380" y="1092"/>
                    </a:lnTo>
                    <a:lnTo>
                      <a:pt x="1374" y="1092"/>
                    </a:lnTo>
                    <a:lnTo>
                      <a:pt x="1374" y="1098"/>
                    </a:lnTo>
                    <a:lnTo>
                      <a:pt x="1368" y="1098"/>
                    </a:lnTo>
                    <a:lnTo>
                      <a:pt x="1368" y="1104"/>
                    </a:lnTo>
                    <a:lnTo>
                      <a:pt x="1362" y="1104"/>
                    </a:lnTo>
                    <a:lnTo>
                      <a:pt x="1356" y="1104"/>
                    </a:lnTo>
                    <a:lnTo>
                      <a:pt x="1356" y="1110"/>
                    </a:lnTo>
                    <a:lnTo>
                      <a:pt x="1350" y="1110"/>
                    </a:lnTo>
                    <a:lnTo>
                      <a:pt x="1350" y="1104"/>
                    </a:lnTo>
                    <a:lnTo>
                      <a:pt x="1350" y="1110"/>
                    </a:lnTo>
                    <a:lnTo>
                      <a:pt x="1344" y="1110"/>
                    </a:lnTo>
                    <a:lnTo>
                      <a:pt x="1344" y="1104"/>
                    </a:lnTo>
                    <a:lnTo>
                      <a:pt x="1344" y="1110"/>
                    </a:lnTo>
                    <a:lnTo>
                      <a:pt x="1350" y="1110"/>
                    </a:lnTo>
                    <a:lnTo>
                      <a:pt x="1356" y="1110"/>
                    </a:lnTo>
                    <a:lnTo>
                      <a:pt x="1350" y="1110"/>
                    </a:lnTo>
                    <a:lnTo>
                      <a:pt x="1350" y="1116"/>
                    </a:lnTo>
                    <a:lnTo>
                      <a:pt x="1344" y="1116"/>
                    </a:lnTo>
                    <a:lnTo>
                      <a:pt x="1344" y="1122"/>
                    </a:lnTo>
                    <a:lnTo>
                      <a:pt x="1338" y="1122"/>
                    </a:lnTo>
                    <a:lnTo>
                      <a:pt x="1338" y="1128"/>
                    </a:lnTo>
                    <a:lnTo>
                      <a:pt x="1332" y="1128"/>
                    </a:lnTo>
                    <a:lnTo>
                      <a:pt x="1326" y="1128"/>
                    </a:lnTo>
                    <a:lnTo>
                      <a:pt x="1326" y="1134"/>
                    </a:lnTo>
                    <a:lnTo>
                      <a:pt x="1320" y="1134"/>
                    </a:lnTo>
                    <a:lnTo>
                      <a:pt x="1314" y="1134"/>
                    </a:lnTo>
                    <a:lnTo>
                      <a:pt x="1314" y="1140"/>
                    </a:lnTo>
                    <a:lnTo>
                      <a:pt x="1308" y="1140"/>
                    </a:lnTo>
                    <a:lnTo>
                      <a:pt x="1308" y="1146"/>
                    </a:lnTo>
                    <a:lnTo>
                      <a:pt x="1308" y="1140"/>
                    </a:lnTo>
                    <a:lnTo>
                      <a:pt x="1308" y="1146"/>
                    </a:lnTo>
                    <a:lnTo>
                      <a:pt x="1302" y="1146"/>
                    </a:lnTo>
                    <a:lnTo>
                      <a:pt x="1296" y="1146"/>
                    </a:lnTo>
                    <a:lnTo>
                      <a:pt x="1296" y="1152"/>
                    </a:lnTo>
                    <a:lnTo>
                      <a:pt x="1290" y="1152"/>
                    </a:lnTo>
                    <a:lnTo>
                      <a:pt x="1290" y="1158"/>
                    </a:lnTo>
                    <a:lnTo>
                      <a:pt x="1284" y="1158"/>
                    </a:lnTo>
                    <a:lnTo>
                      <a:pt x="1278" y="1158"/>
                    </a:lnTo>
                    <a:lnTo>
                      <a:pt x="1278" y="1164"/>
                    </a:lnTo>
                    <a:lnTo>
                      <a:pt x="1278" y="1170"/>
                    </a:lnTo>
                    <a:lnTo>
                      <a:pt x="1272" y="1170"/>
                    </a:lnTo>
                    <a:lnTo>
                      <a:pt x="1266" y="1170"/>
                    </a:lnTo>
                    <a:lnTo>
                      <a:pt x="1260" y="1170"/>
                    </a:lnTo>
                    <a:lnTo>
                      <a:pt x="1260" y="1176"/>
                    </a:lnTo>
                    <a:lnTo>
                      <a:pt x="1254" y="1176"/>
                    </a:lnTo>
                    <a:lnTo>
                      <a:pt x="1254" y="1182"/>
                    </a:lnTo>
                    <a:lnTo>
                      <a:pt x="1254" y="1176"/>
                    </a:lnTo>
                    <a:lnTo>
                      <a:pt x="1248" y="1176"/>
                    </a:lnTo>
                    <a:lnTo>
                      <a:pt x="1254" y="1176"/>
                    </a:lnTo>
                    <a:lnTo>
                      <a:pt x="1254" y="1182"/>
                    </a:lnTo>
                    <a:lnTo>
                      <a:pt x="1248" y="1182"/>
                    </a:lnTo>
                    <a:lnTo>
                      <a:pt x="1248" y="1188"/>
                    </a:lnTo>
                    <a:lnTo>
                      <a:pt x="1242" y="1188"/>
                    </a:lnTo>
                    <a:lnTo>
                      <a:pt x="1236" y="1188"/>
                    </a:lnTo>
                    <a:lnTo>
                      <a:pt x="1236" y="1194"/>
                    </a:lnTo>
                    <a:lnTo>
                      <a:pt x="1230" y="1194"/>
                    </a:lnTo>
                    <a:lnTo>
                      <a:pt x="1224" y="1194"/>
                    </a:lnTo>
                    <a:lnTo>
                      <a:pt x="1224" y="1200"/>
                    </a:lnTo>
                    <a:lnTo>
                      <a:pt x="1218" y="1200"/>
                    </a:lnTo>
                    <a:lnTo>
                      <a:pt x="1218" y="1206"/>
                    </a:lnTo>
                    <a:lnTo>
                      <a:pt x="1212" y="1206"/>
                    </a:lnTo>
                    <a:lnTo>
                      <a:pt x="1206" y="1206"/>
                    </a:lnTo>
                    <a:lnTo>
                      <a:pt x="1200" y="1206"/>
                    </a:lnTo>
                    <a:lnTo>
                      <a:pt x="1194" y="1206"/>
                    </a:lnTo>
                    <a:lnTo>
                      <a:pt x="1194" y="1212"/>
                    </a:lnTo>
                    <a:lnTo>
                      <a:pt x="1188" y="1212"/>
                    </a:lnTo>
                    <a:lnTo>
                      <a:pt x="1188" y="1218"/>
                    </a:lnTo>
                    <a:lnTo>
                      <a:pt x="1182" y="1218"/>
                    </a:lnTo>
                    <a:lnTo>
                      <a:pt x="1182" y="1224"/>
                    </a:lnTo>
                    <a:lnTo>
                      <a:pt x="1176" y="1224"/>
                    </a:lnTo>
                    <a:lnTo>
                      <a:pt x="1170" y="1224"/>
                    </a:lnTo>
                    <a:lnTo>
                      <a:pt x="1164" y="1224"/>
                    </a:lnTo>
                    <a:lnTo>
                      <a:pt x="1158" y="1224"/>
                    </a:lnTo>
                    <a:lnTo>
                      <a:pt x="1152" y="1224"/>
                    </a:lnTo>
                    <a:lnTo>
                      <a:pt x="1152" y="1230"/>
                    </a:lnTo>
                    <a:lnTo>
                      <a:pt x="1146" y="1230"/>
                    </a:lnTo>
                    <a:lnTo>
                      <a:pt x="1140" y="1230"/>
                    </a:lnTo>
                    <a:lnTo>
                      <a:pt x="1140" y="1236"/>
                    </a:lnTo>
                    <a:lnTo>
                      <a:pt x="1134" y="1236"/>
                    </a:lnTo>
                    <a:lnTo>
                      <a:pt x="1128" y="1236"/>
                    </a:lnTo>
                    <a:lnTo>
                      <a:pt x="1128" y="1242"/>
                    </a:lnTo>
                    <a:lnTo>
                      <a:pt x="1122" y="1242"/>
                    </a:lnTo>
                    <a:lnTo>
                      <a:pt x="1122" y="1248"/>
                    </a:lnTo>
                    <a:lnTo>
                      <a:pt x="1116" y="1248"/>
                    </a:lnTo>
                    <a:lnTo>
                      <a:pt x="1110" y="1248"/>
                    </a:lnTo>
                    <a:lnTo>
                      <a:pt x="1110" y="1254"/>
                    </a:lnTo>
                    <a:lnTo>
                      <a:pt x="1104" y="1254"/>
                    </a:lnTo>
                    <a:lnTo>
                      <a:pt x="1098" y="1254"/>
                    </a:lnTo>
                    <a:lnTo>
                      <a:pt x="1092" y="1254"/>
                    </a:lnTo>
                    <a:lnTo>
                      <a:pt x="1092" y="1260"/>
                    </a:lnTo>
                    <a:lnTo>
                      <a:pt x="1086" y="1260"/>
                    </a:lnTo>
                    <a:lnTo>
                      <a:pt x="1086" y="1266"/>
                    </a:lnTo>
                    <a:lnTo>
                      <a:pt x="1080" y="1266"/>
                    </a:lnTo>
                    <a:lnTo>
                      <a:pt x="1074" y="1266"/>
                    </a:lnTo>
                    <a:lnTo>
                      <a:pt x="1068" y="1266"/>
                    </a:lnTo>
                    <a:lnTo>
                      <a:pt x="1068" y="1272"/>
                    </a:lnTo>
                    <a:lnTo>
                      <a:pt x="1062" y="1272"/>
                    </a:lnTo>
                    <a:lnTo>
                      <a:pt x="1056" y="1272"/>
                    </a:lnTo>
                    <a:lnTo>
                      <a:pt x="1056" y="1266"/>
                    </a:lnTo>
                    <a:lnTo>
                      <a:pt x="1050" y="1266"/>
                    </a:lnTo>
                    <a:lnTo>
                      <a:pt x="1044" y="1266"/>
                    </a:lnTo>
                    <a:lnTo>
                      <a:pt x="1038" y="1266"/>
                    </a:lnTo>
                    <a:lnTo>
                      <a:pt x="1032" y="1266"/>
                    </a:lnTo>
                    <a:lnTo>
                      <a:pt x="1026" y="1266"/>
                    </a:lnTo>
                    <a:lnTo>
                      <a:pt x="1020" y="1266"/>
                    </a:lnTo>
                    <a:lnTo>
                      <a:pt x="1014" y="1266"/>
                    </a:lnTo>
                    <a:lnTo>
                      <a:pt x="1008" y="1266"/>
                    </a:lnTo>
                    <a:lnTo>
                      <a:pt x="1008" y="1260"/>
                    </a:lnTo>
                    <a:lnTo>
                      <a:pt x="1002" y="1260"/>
                    </a:lnTo>
                    <a:lnTo>
                      <a:pt x="996" y="1260"/>
                    </a:lnTo>
                    <a:lnTo>
                      <a:pt x="990" y="1260"/>
                    </a:lnTo>
                    <a:lnTo>
                      <a:pt x="990" y="1254"/>
                    </a:lnTo>
                    <a:lnTo>
                      <a:pt x="984" y="1254"/>
                    </a:lnTo>
                    <a:lnTo>
                      <a:pt x="978" y="1254"/>
                    </a:lnTo>
                    <a:lnTo>
                      <a:pt x="972" y="1254"/>
                    </a:lnTo>
                    <a:lnTo>
                      <a:pt x="972" y="1248"/>
                    </a:lnTo>
                    <a:lnTo>
                      <a:pt x="966" y="1248"/>
                    </a:lnTo>
                    <a:lnTo>
                      <a:pt x="960" y="1248"/>
                    </a:lnTo>
                    <a:lnTo>
                      <a:pt x="954" y="1248"/>
                    </a:lnTo>
                    <a:lnTo>
                      <a:pt x="948" y="1248"/>
                    </a:lnTo>
                    <a:lnTo>
                      <a:pt x="942" y="1248"/>
                    </a:lnTo>
                    <a:lnTo>
                      <a:pt x="936" y="1248"/>
                    </a:lnTo>
                    <a:lnTo>
                      <a:pt x="930" y="1248"/>
                    </a:lnTo>
                    <a:lnTo>
                      <a:pt x="924" y="1248"/>
                    </a:lnTo>
                    <a:lnTo>
                      <a:pt x="918" y="1248"/>
                    </a:lnTo>
                    <a:lnTo>
                      <a:pt x="912" y="1248"/>
                    </a:lnTo>
                    <a:lnTo>
                      <a:pt x="906" y="1248"/>
                    </a:lnTo>
                    <a:lnTo>
                      <a:pt x="900" y="1248"/>
                    </a:lnTo>
                    <a:lnTo>
                      <a:pt x="894" y="1248"/>
                    </a:lnTo>
                    <a:lnTo>
                      <a:pt x="894" y="1254"/>
                    </a:lnTo>
                    <a:lnTo>
                      <a:pt x="888" y="1254"/>
                    </a:lnTo>
                    <a:lnTo>
                      <a:pt x="882" y="1254"/>
                    </a:lnTo>
                    <a:lnTo>
                      <a:pt x="876" y="1254"/>
                    </a:lnTo>
                    <a:lnTo>
                      <a:pt x="876" y="1260"/>
                    </a:lnTo>
                    <a:lnTo>
                      <a:pt x="870" y="1260"/>
                    </a:lnTo>
                    <a:lnTo>
                      <a:pt x="864" y="1260"/>
                    </a:lnTo>
                    <a:lnTo>
                      <a:pt x="864" y="1266"/>
                    </a:lnTo>
                    <a:lnTo>
                      <a:pt x="858" y="1266"/>
                    </a:lnTo>
                    <a:lnTo>
                      <a:pt x="858" y="1272"/>
                    </a:lnTo>
                    <a:lnTo>
                      <a:pt x="852" y="1272"/>
                    </a:lnTo>
                    <a:lnTo>
                      <a:pt x="846" y="1272"/>
                    </a:lnTo>
                    <a:lnTo>
                      <a:pt x="846" y="1278"/>
                    </a:lnTo>
                    <a:lnTo>
                      <a:pt x="840" y="1278"/>
                    </a:lnTo>
                    <a:lnTo>
                      <a:pt x="840" y="1284"/>
                    </a:lnTo>
                    <a:lnTo>
                      <a:pt x="834" y="1284"/>
                    </a:lnTo>
                    <a:lnTo>
                      <a:pt x="834" y="1290"/>
                    </a:lnTo>
                    <a:lnTo>
                      <a:pt x="828" y="1290"/>
                    </a:lnTo>
                    <a:lnTo>
                      <a:pt x="828" y="1296"/>
                    </a:lnTo>
                    <a:lnTo>
                      <a:pt x="828" y="1302"/>
                    </a:lnTo>
                    <a:lnTo>
                      <a:pt x="822" y="1302"/>
                    </a:lnTo>
                    <a:lnTo>
                      <a:pt x="822" y="1308"/>
                    </a:lnTo>
                    <a:lnTo>
                      <a:pt x="822" y="1314"/>
                    </a:lnTo>
                    <a:lnTo>
                      <a:pt x="822" y="1320"/>
                    </a:lnTo>
                    <a:lnTo>
                      <a:pt x="822" y="1326"/>
                    </a:lnTo>
                    <a:lnTo>
                      <a:pt x="822" y="1332"/>
                    </a:lnTo>
                    <a:lnTo>
                      <a:pt x="828" y="1332"/>
                    </a:lnTo>
                    <a:lnTo>
                      <a:pt x="822" y="1332"/>
                    </a:lnTo>
                    <a:lnTo>
                      <a:pt x="828" y="1332"/>
                    </a:lnTo>
                    <a:lnTo>
                      <a:pt x="828" y="1338"/>
                    </a:lnTo>
                    <a:lnTo>
                      <a:pt x="834" y="1338"/>
                    </a:lnTo>
                    <a:lnTo>
                      <a:pt x="834" y="1344"/>
                    </a:lnTo>
                    <a:lnTo>
                      <a:pt x="840" y="1344"/>
                    </a:lnTo>
                    <a:lnTo>
                      <a:pt x="840" y="1350"/>
                    </a:lnTo>
                    <a:lnTo>
                      <a:pt x="846" y="1350"/>
                    </a:lnTo>
                    <a:lnTo>
                      <a:pt x="846" y="1356"/>
                    </a:lnTo>
                    <a:lnTo>
                      <a:pt x="840" y="1356"/>
                    </a:lnTo>
                    <a:lnTo>
                      <a:pt x="846" y="1356"/>
                    </a:lnTo>
                    <a:lnTo>
                      <a:pt x="840" y="1356"/>
                    </a:lnTo>
                    <a:lnTo>
                      <a:pt x="834" y="1356"/>
                    </a:lnTo>
                    <a:lnTo>
                      <a:pt x="828" y="1356"/>
                    </a:lnTo>
                    <a:lnTo>
                      <a:pt x="828" y="1362"/>
                    </a:lnTo>
                    <a:lnTo>
                      <a:pt x="822" y="1362"/>
                    </a:lnTo>
                    <a:lnTo>
                      <a:pt x="816" y="1362"/>
                    </a:lnTo>
                    <a:lnTo>
                      <a:pt x="810" y="1362"/>
                    </a:lnTo>
                    <a:lnTo>
                      <a:pt x="804" y="1362"/>
                    </a:lnTo>
                    <a:lnTo>
                      <a:pt x="798" y="1362"/>
                    </a:lnTo>
                    <a:lnTo>
                      <a:pt x="798" y="1356"/>
                    </a:lnTo>
                    <a:lnTo>
                      <a:pt x="792" y="1356"/>
                    </a:lnTo>
                    <a:lnTo>
                      <a:pt x="786" y="1356"/>
                    </a:lnTo>
                    <a:lnTo>
                      <a:pt x="780" y="1356"/>
                    </a:lnTo>
                    <a:lnTo>
                      <a:pt x="774" y="1356"/>
                    </a:lnTo>
                    <a:lnTo>
                      <a:pt x="768" y="1356"/>
                    </a:lnTo>
                    <a:lnTo>
                      <a:pt x="762" y="1356"/>
                    </a:lnTo>
                    <a:lnTo>
                      <a:pt x="756" y="1356"/>
                    </a:lnTo>
                    <a:lnTo>
                      <a:pt x="756" y="1350"/>
                    </a:lnTo>
                    <a:lnTo>
                      <a:pt x="750" y="1350"/>
                    </a:lnTo>
                    <a:lnTo>
                      <a:pt x="744" y="1350"/>
                    </a:lnTo>
                    <a:lnTo>
                      <a:pt x="738" y="1350"/>
                    </a:lnTo>
                    <a:lnTo>
                      <a:pt x="738" y="1344"/>
                    </a:lnTo>
                    <a:lnTo>
                      <a:pt x="732" y="1344"/>
                    </a:lnTo>
                    <a:lnTo>
                      <a:pt x="726" y="1344"/>
                    </a:lnTo>
                    <a:lnTo>
                      <a:pt x="726" y="1338"/>
                    </a:lnTo>
                    <a:lnTo>
                      <a:pt x="720" y="1338"/>
                    </a:lnTo>
                    <a:lnTo>
                      <a:pt x="714" y="1338"/>
                    </a:lnTo>
                    <a:lnTo>
                      <a:pt x="708" y="1338"/>
                    </a:lnTo>
                    <a:lnTo>
                      <a:pt x="708" y="1332"/>
                    </a:lnTo>
                    <a:lnTo>
                      <a:pt x="702" y="1332"/>
                    </a:lnTo>
                    <a:lnTo>
                      <a:pt x="696" y="1332"/>
                    </a:lnTo>
                    <a:lnTo>
                      <a:pt x="690" y="1332"/>
                    </a:lnTo>
                    <a:lnTo>
                      <a:pt x="684" y="1332"/>
                    </a:lnTo>
                    <a:lnTo>
                      <a:pt x="678" y="1332"/>
                    </a:lnTo>
                    <a:lnTo>
                      <a:pt x="672" y="1332"/>
                    </a:lnTo>
                    <a:lnTo>
                      <a:pt x="666" y="1332"/>
                    </a:lnTo>
                    <a:lnTo>
                      <a:pt x="660" y="1332"/>
                    </a:lnTo>
                    <a:lnTo>
                      <a:pt x="660" y="1338"/>
                    </a:lnTo>
                    <a:lnTo>
                      <a:pt x="660" y="1332"/>
                    </a:lnTo>
                    <a:lnTo>
                      <a:pt x="654" y="1332"/>
                    </a:lnTo>
                    <a:lnTo>
                      <a:pt x="654" y="1338"/>
                    </a:lnTo>
                    <a:lnTo>
                      <a:pt x="648" y="1338"/>
                    </a:lnTo>
                    <a:lnTo>
                      <a:pt x="642" y="1338"/>
                    </a:lnTo>
                    <a:lnTo>
                      <a:pt x="636" y="1338"/>
                    </a:lnTo>
                    <a:lnTo>
                      <a:pt x="636" y="1344"/>
                    </a:lnTo>
                    <a:lnTo>
                      <a:pt x="630" y="1344"/>
                    </a:lnTo>
                    <a:lnTo>
                      <a:pt x="630" y="1350"/>
                    </a:lnTo>
                    <a:lnTo>
                      <a:pt x="624" y="1350"/>
                    </a:lnTo>
                    <a:lnTo>
                      <a:pt x="624" y="1356"/>
                    </a:lnTo>
                    <a:lnTo>
                      <a:pt x="630" y="1356"/>
                    </a:lnTo>
                    <a:lnTo>
                      <a:pt x="630" y="1362"/>
                    </a:lnTo>
                    <a:lnTo>
                      <a:pt x="624" y="1362"/>
                    </a:lnTo>
                    <a:lnTo>
                      <a:pt x="624" y="1368"/>
                    </a:lnTo>
                    <a:lnTo>
                      <a:pt x="624" y="1374"/>
                    </a:lnTo>
                    <a:lnTo>
                      <a:pt x="618" y="1374"/>
                    </a:lnTo>
                    <a:lnTo>
                      <a:pt x="618" y="1380"/>
                    </a:lnTo>
                    <a:lnTo>
                      <a:pt x="612" y="1380"/>
                    </a:lnTo>
                    <a:lnTo>
                      <a:pt x="612" y="1386"/>
                    </a:lnTo>
                    <a:lnTo>
                      <a:pt x="606" y="1386"/>
                    </a:lnTo>
                    <a:lnTo>
                      <a:pt x="606" y="1392"/>
                    </a:lnTo>
                    <a:lnTo>
                      <a:pt x="600" y="1392"/>
                    </a:lnTo>
                    <a:lnTo>
                      <a:pt x="600" y="1398"/>
                    </a:lnTo>
                    <a:lnTo>
                      <a:pt x="600" y="1404"/>
                    </a:lnTo>
                    <a:lnTo>
                      <a:pt x="606" y="1404"/>
                    </a:lnTo>
                    <a:lnTo>
                      <a:pt x="606" y="1410"/>
                    </a:lnTo>
                    <a:lnTo>
                      <a:pt x="612" y="1410"/>
                    </a:lnTo>
                    <a:lnTo>
                      <a:pt x="606" y="1410"/>
                    </a:lnTo>
                    <a:lnTo>
                      <a:pt x="600" y="1410"/>
                    </a:lnTo>
                    <a:lnTo>
                      <a:pt x="600" y="1416"/>
                    </a:lnTo>
                    <a:lnTo>
                      <a:pt x="594" y="1416"/>
                    </a:lnTo>
                    <a:lnTo>
                      <a:pt x="588" y="1416"/>
                    </a:lnTo>
                    <a:lnTo>
                      <a:pt x="588" y="1410"/>
                    </a:lnTo>
                    <a:lnTo>
                      <a:pt x="588" y="1416"/>
                    </a:lnTo>
                    <a:lnTo>
                      <a:pt x="582" y="1416"/>
                    </a:lnTo>
                    <a:lnTo>
                      <a:pt x="582" y="1410"/>
                    </a:lnTo>
                    <a:lnTo>
                      <a:pt x="576" y="1410"/>
                    </a:lnTo>
                    <a:lnTo>
                      <a:pt x="570" y="1410"/>
                    </a:lnTo>
                    <a:lnTo>
                      <a:pt x="564" y="1410"/>
                    </a:lnTo>
                    <a:lnTo>
                      <a:pt x="558" y="1410"/>
                    </a:lnTo>
                    <a:lnTo>
                      <a:pt x="558" y="1404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40" y="1404"/>
                    </a:lnTo>
                    <a:lnTo>
                      <a:pt x="534" y="1404"/>
                    </a:lnTo>
                    <a:lnTo>
                      <a:pt x="534" y="1410"/>
                    </a:lnTo>
                    <a:lnTo>
                      <a:pt x="528" y="1410"/>
                    </a:lnTo>
                    <a:lnTo>
                      <a:pt x="528" y="1404"/>
                    </a:lnTo>
                    <a:lnTo>
                      <a:pt x="522" y="1404"/>
                    </a:lnTo>
                    <a:lnTo>
                      <a:pt x="516" y="1404"/>
                    </a:lnTo>
                    <a:lnTo>
                      <a:pt x="510" y="1404"/>
                    </a:lnTo>
                    <a:lnTo>
                      <a:pt x="504" y="1404"/>
                    </a:lnTo>
                    <a:lnTo>
                      <a:pt x="498" y="1404"/>
                    </a:lnTo>
                    <a:lnTo>
                      <a:pt x="498" y="1398"/>
                    </a:lnTo>
                    <a:lnTo>
                      <a:pt x="492" y="1398"/>
                    </a:lnTo>
                    <a:lnTo>
                      <a:pt x="492" y="1392"/>
                    </a:lnTo>
                    <a:lnTo>
                      <a:pt x="486" y="1392"/>
                    </a:lnTo>
                    <a:lnTo>
                      <a:pt x="492" y="1392"/>
                    </a:lnTo>
                    <a:lnTo>
                      <a:pt x="486" y="1392"/>
                    </a:lnTo>
                    <a:lnTo>
                      <a:pt x="486" y="1386"/>
                    </a:lnTo>
                    <a:lnTo>
                      <a:pt x="480" y="1386"/>
                    </a:lnTo>
                    <a:lnTo>
                      <a:pt x="474" y="1386"/>
                    </a:lnTo>
                    <a:lnTo>
                      <a:pt x="474" y="1380"/>
                    </a:lnTo>
                    <a:lnTo>
                      <a:pt x="468" y="1380"/>
                    </a:lnTo>
                    <a:lnTo>
                      <a:pt x="462" y="1380"/>
                    </a:lnTo>
                    <a:lnTo>
                      <a:pt x="456" y="1380"/>
                    </a:lnTo>
                    <a:lnTo>
                      <a:pt x="450" y="1380"/>
                    </a:lnTo>
                    <a:lnTo>
                      <a:pt x="444" y="1380"/>
                    </a:lnTo>
                    <a:lnTo>
                      <a:pt x="444" y="1374"/>
                    </a:lnTo>
                    <a:lnTo>
                      <a:pt x="438" y="1374"/>
                    </a:lnTo>
                    <a:lnTo>
                      <a:pt x="432" y="1374"/>
                    </a:lnTo>
                    <a:lnTo>
                      <a:pt x="426" y="1374"/>
                    </a:lnTo>
                    <a:lnTo>
                      <a:pt x="426" y="1368"/>
                    </a:lnTo>
                    <a:lnTo>
                      <a:pt x="420" y="1368"/>
                    </a:lnTo>
                    <a:lnTo>
                      <a:pt x="414" y="1368"/>
                    </a:lnTo>
                    <a:lnTo>
                      <a:pt x="414" y="1362"/>
                    </a:lnTo>
                    <a:lnTo>
                      <a:pt x="414" y="1368"/>
                    </a:lnTo>
                    <a:lnTo>
                      <a:pt x="414" y="1362"/>
                    </a:lnTo>
                    <a:lnTo>
                      <a:pt x="414" y="1368"/>
                    </a:lnTo>
                    <a:lnTo>
                      <a:pt x="408" y="1368"/>
                    </a:lnTo>
                    <a:lnTo>
                      <a:pt x="408" y="1362"/>
                    </a:lnTo>
                    <a:lnTo>
                      <a:pt x="402" y="1362"/>
                    </a:lnTo>
                    <a:lnTo>
                      <a:pt x="396" y="1362"/>
                    </a:lnTo>
                    <a:lnTo>
                      <a:pt x="390" y="1362"/>
                    </a:lnTo>
                    <a:lnTo>
                      <a:pt x="384" y="1362"/>
                    </a:lnTo>
                    <a:lnTo>
                      <a:pt x="378" y="1362"/>
                    </a:lnTo>
                    <a:lnTo>
                      <a:pt x="372" y="1362"/>
                    </a:lnTo>
                    <a:lnTo>
                      <a:pt x="366" y="1362"/>
                    </a:lnTo>
                    <a:lnTo>
                      <a:pt x="366" y="1356"/>
                    </a:lnTo>
                    <a:lnTo>
                      <a:pt x="366" y="1362"/>
                    </a:lnTo>
                    <a:lnTo>
                      <a:pt x="366" y="1356"/>
                    </a:lnTo>
                    <a:lnTo>
                      <a:pt x="360" y="1356"/>
                    </a:lnTo>
                    <a:lnTo>
                      <a:pt x="354" y="1356"/>
                    </a:lnTo>
                    <a:lnTo>
                      <a:pt x="348" y="1356"/>
                    </a:lnTo>
                    <a:lnTo>
                      <a:pt x="342" y="1356"/>
                    </a:lnTo>
                    <a:lnTo>
                      <a:pt x="336" y="1356"/>
                    </a:lnTo>
                    <a:lnTo>
                      <a:pt x="330" y="1356"/>
                    </a:lnTo>
                    <a:lnTo>
                      <a:pt x="324" y="1356"/>
                    </a:lnTo>
                    <a:lnTo>
                      <a:pt x="318" y="1356"/>
                    </a:lnTo>
                    <a:lnTo>
                      <a:pt x="318" y="1350"/>
                    </a:lnTo>
                    <a:lnTo>
                      <a:pt x="312" y="1350"/>
                    </a:lnTo>
                    <a:lnTo>
                      <a:pt x="306" y="1350"/>
                    </a:lnTo>
                    <a:lnTo>
                      <a:pt x="300" y="1350"/>
                    </a:lnTo>
                    <a:lnTo>
                      <a:pt x="294" y="1350"/>
                    </a:lnTo>
                    <a:lnTo>
                      <a:pt x="294" y="1344"/>
                    </a:lnTo>
                    <a:lnTo>
                      <a:pt x="288" y="1344"/>
                    </a:lnTo>
                    <a:lnTo>
                      <a:pt x="282" y="1344"/>
                    </a:lnTo>
                    <a:lnTo>
                      <a:pt x="276" y="1344"/>
                    </a:lnTo>
                    <a:lnTo>
                      <a:pt x="270" y="1344"/>
                    </a:lnTo>
                    <a:lnTo>
                      <a:pt x="270" y="1338"/>
                    </a:lnTo>
                    <a:lnTo>
                      <a:pt x="270" y="1344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58" y="1332"/>
                    </a:lnTo>
                    <a:lnTo>
                      <a:pt x="258" y="1326"/>
                    </a:lnTo>
                    <a:lnTo>
                      <a:pt x="270" y="1308"/>
                    </a:lnTo>
                    <a:lnTo>
                      <a:pt x="276" y="1308"/>
                    </a:lnTo>
                    <a:lnTo>
                      <a:pt x="276" y="1302"/>
                    </a:lnTo>
                    <a:lnTo>
                      <a:pt x="264" y="1302"/>
                    </a:lnTo>
                    <a:lnTo>
                      <a:pt x="234" y="1290"/>
                    </a:lnTo>
                    <a:lnTo>
                      <a:pt x="234" y="1272"/>
                    </a:lnTo>
                    <a:lnTo>
                      <a:pt x="228" y="1272"/>
                    </a:lnTo>
                    <a:lnTo>
                      <a:pt x="222" y="1272"/>
                    </a:lnTo>
                    <a:lnTo>
                      <a:pt x="210" y="1278"/>
                    </a:lnTo>
                    <a:lnTo>
                      <a:pt x="186" y="1272"/>
                    </a:lnTo>
                    <a:lnTo>
                      <a:pt x="198" y="1260"/>
                    </a:lnTo>
                    <a:lnTo>
                      <a:pt x="198" y="1254"/>
                    </a:lnTo>
                    <a:lnTo>
                      <a:pt x="198" y="1248"/>
                    </a:lnTo>
                    <a:lnTo>
                      <a:pt x="228" y="1242"/>
                    </a:lnTo>
                    <a:lnTo>
                      <a:pt x="234" y="1230"/>
                    </a:lnTo>
                    <a:lnTo>
                      <a:pt x="240" y="1236"/>
                    </a:lnTo>
                    <a:lnTo>
                      <a:pt x="264" y="1230"/>
                    </a:lnTo>
                    <a:lnTo>
                      <a:pt x="264" y="1218"/>
                    </a:lnTo>
                    <a:lnTo>
                      <a:pt x="252" y="1206"/>
                    </a:lnTo>
                    <a:lnTo>
                      <a:pt x="246" y="1200"/>
                    </a:lnTo>
                    <a:lnTo>
                      <a:pt x="240" y="1176"/>
                    </a:lnTo>
                    <a:lnTo>
                      <a:pt x="216" y="1164"/>
                    </a:lnTo>
                    <a:lnTo>
                      <a:pt x="216" y="1158"/>
                    </a:lnTo>
                    <a:lnTo>
                      <a:pt x="168" y="1158"/>
                    </a:lnTo>
                    <a:lnTo>
                      <a:pt x="162" y="1140"/>
                    </a:lnTo>
                    <a:lnTo>
                      <a:pt x="138" y="1140"/>
                    </a:lnTo>
                    <a:lnTo>
                      <a:pt x="114" y="1140"/>
                    </a:lnTo>
                    <a:lnTo>
                      <a:pt x="96" y="1146"/>
                    </a:lnTo>
                    <a:lnTo>
                      <a:pt x="90" y="1140"/>
                    </a:lnTo>
                    <a:lnTo>
                      <a:pt x="48" y="1152"/>
                    </a:lnTo>
                    <a:lnTo>
                      <a:pt x="30" y="1152"/>
                    </a:lnTo>
                    <a:lnTo>
                      <a:pt x="18" y="1152"/>
                    </a:lnTo>
                    <a:lnTo>
                      <a:pt x="6" y="1146"/>
                    </a:lnTo>
                    <a:lnTo>
                      <a:pt x="0" y="1140"/>
                    </a:lnTo>
                    <a:lnTo>
                      <a:pt x="0" y="1122"/>
                    </a:lnTo>
                    <a:lnTo>
                      <a:pt x="12" y="1122"/>
                    </a:lnTo>
                    <a:lnTo>
                      <a:pt x="18" y="1104"/>
                    </a:lnTo>
                    <a:lnTo>
                      <a:pt x="30" y="1086"/>
                    </a:lnTo>
                    <a:lnTo>
                      <a:pt x="36" y="1086"/>
                    </a:lnTo>
                    <a:lnTo>
                      <a:pt x="36" y="1074"/>
                    </a:lnTo>
                    <a:lnTo>
                      <a:pt x="42" y="1056"/>
                    </a:lnTo>
                    <a:lnTo>
                      <a:pt x="60" y="1044"/>
                    </a:lnTo>
                    <a:lnTo>
                      <a:pt x="60" y="1026"/>
                    </a:lnTo>
                    <a:lnTo>
                      <a:pt x="54" y="1014"/>
                    </a:lnTo>
                    <a:lnTo>
                      <a:pt x="60" y="1008"/>
                    </a:lnTo>
                    <a:lnTo>
                      <a:pt x="60" y="990"/>
                    </a:lnTo>
                    <a:lnTo>
                      <a:pt x="72" y="978"/>
                    </a:lnTo>
                    <a:lnTo>
                      <a:pt x="78" y="966"/>
                    </a:lnTo>
                    <a:lnTo>
                      <a:pt x="96" y="972"/>
                    </a:lnTo>
                    <a:lnTo>
                      <a:pt x="102" y="960"/>
                    </a:lnTo>
                    <a:lnTo>
                      <a:pt x="90" y="930"/>
                    </a:lnTo>
                    <a:lnTo>
                      <a:pt x="96" y="936"/>
                    </a:lnTo>
                    <a:lnTo>
                      <a:pt x="102" y="942"/>
                    </a:lnTo>
                    <a:lnTo>
                      <a:pt x="102" y="948"/>
                    </a:lnTo>
                    <a:lnTo>
                      <a:pt x="108" y="954"/>
                    </a:lnTo>
                    <a:lnTo>
                      <a:pt x="126" y="936"/>
                    </a:lnTo>
                    <a:lnTo>
                      <a:pt x="150" y="942"/>
                    </a:lnTo>
                    <a:lnTo>
                      <a:pt x="180" y="948"/>
                    </a:lnTo>
                    <a:lnTo>
                      <a:pt x="180" y="930"/>
                    </a:lnTo>
                    <a:lnTo>
                      <a:pt x="174" y="930"/>
                    </a:lnTo>
                    <a:lnTo>
                      <a:pt x="168" y="924"/>
                    </a:lnTo>
                    <a:lnTo>
                      <a:pt x="168" y="918"/>
                    </a:lnTo>
                    <a:lnTo>
                      <a:pt x="168" y="912"/>
                    </a:lnTo>
                    <a:lnTo>
                      <a:pt x="168" y="906"/>
                    </a:lnTo>
                    <a:lnTo>
                      <a:pt x="144" y="894"/>
                    </a:lnTo>
                    <a:lnTo>
                      <a:pt x="156" y="888"/>
                    </a:lnTo>
                    <a:lnTo>
                      <a:pt x="156" y="882"/>
                    </a:lnTo>
                    <a:lnTo>
                      <a:pt x="150" y="852"/>
                    </a:lnTo>
                    <a:lnTo>
                      <a:pt x="138" y="846"/>
                    </a:lnTo>
                    <a:lnTo>
                      <a:pt x="138" y="828"/>
                    </a:lnTo>
                    <a:lnTo>
                      <a:pt x="138" y="822"/>
                    </a:lnTo>
                    <a:lnTo>
                      <a:pt x="132" y="816"/>
                    </a:lnTo>
                    <a:lnTo>
                      <a:pt x="162" y="798"/>
                    </a:lnTo>
                    <a:lnTo>
                      <a:pt x="168" y="792"/>
                    </a:lnTo>
                    <a:lnTo>
                      <a:pt x="186" y="798"/>
                    </a:lnTo>
                    <a:lnTo>
                      <a:pt x="198" y="780"/>
                    </a:lnTo>
                    <a:lnTo>
                      <a:pt x="234" y="780"/>
                    </a:lnTo>
                    <a:lnTo>
                      <a:pt x="240" y="780"/>
                    </a:lnTo>
                    <a:lnTo>
                      <a:pt x="258" y="780"/>
                    </a:lnTo>
                    <a:lnTo>
                      <a:pt x="258" y="774"/>
                    </a:lnTo>
                    <a:lnTo>
                      <a:pt x="252" y="768"/>
                    </a:lnTo>
                    <a:lnTo>
                      <a:pt x="258" y="750"/>
                    </a:lnTo>
                    <a:lnTo>
                      <a:pt x="282" y="732"/>
                    </a:lnTo>
                    <a:lnTo>
                      <a:pt x="288" y="726"/>
                    </a:lnTo>
                    <a:lnTo>
                      <a:pt x="306" y="738"/>
                    </a:lnTo>
                    <a:lnTo>
                      <a:pt x="306" y="744"/>
                    </a:lnTo>
                    <a:lnTo>
                      <a:pt x="312" y="750"/>
                    </a:lnTo>
                    <a:lnTo>
                      <a:pt x="324" y="750"/>
                    </a:lnTo>
                    <a:lnTo>
                      <a:pt x="366" y="726"/>
                    </a:lnTo>
                    <a:lnTo>
                      <a:pt x="366" y="720"/>
                    </a:lnTo>
                    <a:lnTo>
                      <a:pt x="378" y="720"/>
                    </a:lnTo>
                    <a:lnTo>
                      <a:pt x="390" y="708"/>
                    </a:lnTo>
                    <a:lnTo>
                      <a:pt x="390" y="702"/>
                    </a:lnTo>
                    <a:lnTo>
                      <a:pt x="384" y="696"/>
                    </a:lnTo>
                    <a:lnTo>
                      <a:pt x="384" y="690"/>
                    </a:lnTo>
                    <a:lnTo>
                      <a:pt x="384" y="684"/>
                    </a:lnTo>
                    <a:lnTo>
                      <a:pt x="390" y="684"/>
                    </a:lnTo>
                    <a:lnTo>
                      <a:pt x="396" y="684"/>
                    </a:lnTo>
                    <a:lnTo>
                      <a:pt x="396" y="678"/>
                    </a:lnTo>
                    <a:lnTo>
                      <a:pt x="390" y="672"/>
                    </a:lnTo>
                    <a:lnTo>
                      <a:pt x="390" y="666"/>
                    </a:lnTo>
                    <a:lnTo>
                      <a:pt x="402" y="666"/>
                    </a:lnTo>
                    <a:lnTo>
                      <a:pt x="420" y="648"/>
                    </a:lnTo>
                    <a:lnTo>
                      <a:pt x="408" y="642"/>
                    </a:lnTo>
                    <a:lnTo>
                      <a:pt x="414" y="642"/>
                    </a:lnTo>
                    <a:lnTo>
                      <a:pt x="408" y="636"/>
                    </a:lnTo>
                    <a:lnTo>
                      <a:pt x="402" y="630"/>
                    </a:lnTo>
                    <a:lnTo>
                      <a:pt x="384" y="636"/>
                    </a:lnTo>
                    <a:lnTo>
                      <a:pt x="396" y="618"/>
                    </a:lnTo>
                    <a:lnTo>
                      <a:pt x="402" y="618"/>
                    </a:lnTo>
                    <a:lnTo>
                      <a:pt x="402" y="606"/>
                    </a:lnTo>
                    <a:lnTo>
                      <a:pt x="408" y="606"/>
                    </a:lnTo>
                    <a:lnTo>
                      <a:pt x="402" y="600"/>
                    </a:lnTo>
                    <a:lnTo>
                      <a:pt x="402" y="594"/>
                    </a:lnTo>
                    <a:lnTo>
                      <a:pt x="396" y="588"/>
                    </a:lnTo>
                    <a:lnTo>
                      <a:pt x="396" y="582"/>
                    </a:lnTo>
                    <a:lnTo>
                      <a:pt x="402" y="576"/>
                    </a:lnTo>
                    <a:lnTo>
                      <a:pt x="426" y="588"/>
                    </a:lnTo>
                    <a:lnTo>
                      <a:pt x="432" y="588"/>
                    </a:lnTo>
                    <a:lnTo>
                      <a:pt x="438" y="582"/>
                    </a:lnTo>
                    <a:lnTo>
                      <a:pt x="444" y="576"/>
                    </a:lnTo>
                    <a:lnTo>
                      <a:pt x="444" y="570"/>
                    </a:lnTo>
                    <a:lnTo>
                      <a:pt x="498" y="570"/>
                    </a:lnTo>
                    <a:lnTo>
                      <a:pt x="504" y="564"/>
                    </a:lnTo>
                    <a:lnTo>
                      <a:pt x="504" y="540"/>
                    </a:lnTo>
                    <a:lnTo>
                      <a:pt x="504" y="528"/>
                    </a:lnTo>
                    <a:lnTo>
                      <a:pt x="504" y="522"/>
                    </a:lnTo>
                    <a:lnTo>
                      <a:pt x="504" y="516"/>
                    </a:lnTo>
                    <a:lnTo>
                      <a:pt x="510" y="498"/>
                    </a:lnTo>
                    <a:lnTo>
                      <a:pt x="504" y="492"/>
                    </a:lnTo>
                    <a:lnTo>
                      <a:pt x="516" y="486"/>
                    </a:lnTo>
                    <a:lnTo>
                      <a:pt x="516" y="468"/>
                    </a:lnTo>
                    <a:lnTo>
                      <a:pt x="516" y="462"/>
                    </a:lnTo>
                    <a:lnTo>
                      <a:pt x="540" y="462"/>
                    </a:lnTo>
                    <a:lnTo>
                      <a:pt x="558" y="468"/>
                    </a:lnTo>
                    <a:lnTo>
                      <a:pt x="564" y="462"/>
                    </a:lnTo>
                    <a:lnTo>
                      <a:pt x="582" y="462"/>
                    </a:lnTo>
                    <a:lnTo>
                      <a:pt x="594" y="450"/>
                    </a:lnTo>
                    <a:lnTo>
                      <a:pt x="606" y="456"/>
                    </a:lnTo>
                    <a:lnTo>
                      <a:pt x="606" y="438"/>
                    </a:lnTo>
                    <a:lnTo>
                      <a:pt x="630" y="432"/>
                    </a:lnTo>
                    <a:lnTo>
                      <a:pt x="636" y="420"/>
                    </a:lnTo>
                    <a:lnTo>
                      <a:pt x="660" y="420"/>
                    </a:lnTo>
                    <a:lnTo>
                      <a:pt x="702" y="402"/>
                    </a:lnTo>
                    <a:lnTo>
                      <a:pt x="708" y="396"/>
                    </a:lnTo>
                    <a:lnTo>
                      <a:pt x="750" y="402"/>
                    </a:lnTo>
                    <a:lnTo>
                      <a:pt x="756" y="396"/>
                    </a:lnTo>
                    <a:lnTo>
                      <a:pt x="756" y="378"/>
                    </a:lnTo>
                    <a:lnTo>
                      <a:pt x="762" y="372"/>
                    </a:lnTo>
                    <a:lnTo>
                      <a:pt x="768" y="372"/>
                    </a:lnTo>
                    <a:lnTo>
                      <a:pt x="780" y="360"/>
                    </a:lnTo>
                    <a:lnTo>
                      <a:pt x="774" y="348"/>
                    </a:lnTo>
                    <a:lnTo>
                      <a:pt x="780" y="348"/>
                    </a:lnTo>
                    <a:lnTo>
                      <a:pt x="792" y="336"/>
                    </a:lnTo>
                    <a:lnTo>
                      <a:pt x="786" y="324"/>
                    </a:lnTo>
                    <a:lnTo>
                      <a:pt x="792" y="312"/>
                    </a:lnTo>
                    <a:lnTo>
                      <a:pt x="798" y="306"/>
                    </a:lnTo>
                    <a:lnTo>
                      <a:pt x="798" y="300"/>
                    </a:lnTo>
                    <a:lnTo>
                      <a:pt x="798" y="294"/>
                    </a:lnTo>
                    <a:lnTo>
                      <a:pt x="786" y="282"/>
                    </a:lnTo>
                    <a:lnTo>
                      <a:pt x="786" y="276"/>
                    </a:lnTo>
                    <a:lnTo>
                      <a:pt x="792" y="276"/>
                    </a:lnTo>
                    <a:lnTo>
                      <a:pt x="798" y="270"/>
                    </a:lnTo>
                    <a:lnTo>
                      <a:pt x="804" y="258"/>
                    </a:lnTo>
                    <a:lnTo>
                      <a:pt x="786" y="252"/>
                    </a:lnTo>
                    <a:lnTo>
                      <a:pt x="780" y="198"/>
                    </a:lnTo>
                    <a:lnTo>
                      <a:pt x="786" y="198"/>
                    </a:lnTo>
                    <a:lnTo>
                      <a:pt x="792" y="198"/>
                    </a:lnTo>
                    <a:lnTo>
                      <a:pt x="798" y="198"/>
                    </a:lnTo>
                    <a:lnTo>
                      <a:pt x="798" y="192"/>
                    </a:lnTo>
                    <a:lnTo>
                      <a:pt x="804" y="192"/>
                    </a:lnTo>
                    <a:lnTo>
                      <a:pt x="810" y="192"/>
                    </a:lnTo>
                    <a:lnTo>
                      <a:pt x="816" y="192"/>
                    </a:lnTo>
                    <a:lnTo>
                      <a:pt x="822" y="192"/>
                    </a:lnTo>
                    <a:lnTo>
                      <a:pt x="828" y="192"/>
                    </a:lnTo>
                    <a:lnTo>
                      <a:pt x="828" y="198"/>
                    </a:lnTo>
                    <a:lnTo>
                      <a:pt x="828" y="204"/>
                    </a:lnTo>
                    <a:lnTo>
                      <a:pt x="828" y="210"/>
                    </a:lnTo>
                    <a:lnTo>
                      <a:pt x="834" y="210"/>
                    </a:lnTo>
                    <a:lnTo>
                      <a:pt x="840" y="210"/>
                    </a:lnTo>
                    <a:lnTo>
                      <a:pt x="846" y="216"/>
                    </a:lnTo>
                    <a:lnTo>
                      <a:pt x="852" y="216"/>
                    </a:lnTo>
                    <a:lnTo>
                      <a:pt x="858" y="216"/>
                    </a:lnTo>
                    <a:lnTo>
                      <a:pt x="858" y="222"/>
                    </a:lnTo>
                    <a:lnTo>
                      <a:pt x="864" y="222"/>
                    </a:lnTo>
                    <a:lnTo>
                      <a:pt x="864" y="216"/>
                    </a:lnTo>
                    <a:lnTo>
                      <a:pt x="870" y="216"/>
                    </a:lnTo>
                    <a:lnTo>
                      <a:pt x="876" y="216"/>
                    </a:lnTo>
                    <a:lnTo>
                      <a:pt x="876" y="210"/>
                    </a:lnTo>
                    <a:lnTo>
                      <a:pt x="882" y="210"/>
                    </a:lnTo>
                    <a:lnTo>
                      <a:pt x="888" y="204"/>
                    </a:lnTo>
                    <a:lnTo>
                      <a:pt x="894" y="204"/>
                    </a:lnTo>
                    <a:lnTo>
                      <a:pt x="894" y="198"/>
                    </a:lnTo>
                    <a:lnTo>
                      <a:pt x="900" y="198"/>
                    </a:lnTo>
                    <a:lnTo>
                      <a:pt x="900" y="192"/>
                    </a:lnTo>
                    <a:lnTo>
                      <a:pt x="906" y="192"/>
                    </a:lnTo>
                    <a:lnTo>
                      <a:pt x="906" y="186"/>
                    </a:lnTo>
                    <a:lnTo>
                      <a:pt x="900" y="186"/>
                    </a:lnTo>
                    <a:lnTo>
                      <a:pt x="900" y="180"/>
                    </a:lnTo>
                    <a:lnTo>
                      <a:pt x="900" y="174"/>
                    </a:lnTo>
                    <a:lnTo>
                      <a:pt x="906" y="174"/>
                    </a:lnTo>
                    <a:lnTo>
                      <a:pt x="912" y="174"/>
                    </a:lnTo>
                    <a:lnTo>
                      <a:pt x="918" y="174"/>
                    </a:lnTo>
                    <a:lnTo>
                      <a:pt x="918" y="180"/>
                    </a:lnTo>
                    <a:lnTo>
                      <a:pt x="924" y="180"/>
                    </a:lnTo>
                    <a:lnTo>
                      <a:pt x="930" y="180"/>
                    </a:lnTo>
                    <a:lnTo>
                      <a:pt x="930" y="174"/>
                    </a:lnTo>
                    <a:lnTo>
                      <a:pt x="936" y="174"/>
                    </a:lnTo>
                    <a:lnTo>
                      <a:pt x="936" y="168"/>
                    </a:lnTo>
                    <a:lnTo>
                      <a:pt x="942" y="168"/>
                    </a:lnTo>
                    <a:lnTo>
                      <a:pt x="948" y="168"/>
                    </a:lnTo>
                    <a:lnTo>
                      <a:pt x="954" y="168"/>
                    </a:lnTo>
                    <a:lnTo>
                      <a:pt x="954" y="162"/>
                    </a:lnTo>
                    <a:lnTo>
                      <a:pt x="960" y="162"/>
                    </a:lnTo>
                    <a:lnTo>
                      <a:pt x="966" y="162"/>
                    </a:lnTo>
                    <a:lnTo>
                      <a:pt x="966" y="168"/>
                    </a:lnTo>
                    <a:lnTo>
                      <a:pt x="972" y="168"/>
                    </a:lnTo>
                    <a:lnTo>
                      <a:pt x="972" y="174"/>
                    </a:lnTo>
                    <a:lnTo>
                      <a:pt x="978" y="168"/>
                    </a:lnTo>
                    <a:lnTo>
                      <a:pt x="984" y="168"/>
                    </a:lnTo>
                    <a:lnTo>
                      <a:pt x="984" y="162"/>
                    </a:lnTo>
                    <a:lnTo>
                      <a:pt x="978" y="162"/>
                    </a:lnTo>
                    <a:lnTo>
                      <a:pt x="978" y="156"/>
                    </a:lnTo>
                    <a:lnTo>
                      <a:pt x="984" y="156"/>
                    </a:lnTo>
                    <a:lnTo>
                      <a:pt x="990" y="156"/>
                    </a:lnTo>
                    <a:lnTo>
                      <a:pt x="996" y="156"/>
                    </a:lnTo>
                    <a:lnTo>
                      <a:pt x="996" y="162"/>
                    </a:lnTo>
                    <a:lnTo>
                      <a:pt x="996" y="168"/>
                    </a:lnTo>
                    <a:lnTo>
                      <a:pt x="1002" y="168"/>
                    </a:lnTo>
                    <a:lnTo>
                      <a:pt x="1008" y="168"/>
                    </a:lnTo>
                    <a:lnTo>
                      <a:pt x="1008" y="174"/>
                    </a:lnTo>
                    <a:lnTo>
                      <a:pt x="1014" y="174"/>
                    </a:lnTo>
                    <a:lnTo>
                      <a:pt x="1020" y="180"/>
                    </a:lnTo>
                    <a:lnTo>
                      <a:pt x="1020" y="186"/>
                    </a:lnTo>
                    <a:lnTo>
                      <a:pt x="1026" y="186"/>
                    </a:lnTo>
                    <a:lnTo>
                      <a:pt x="1032" y="186"/>
                    </a:lnTo>
                    <a:lnTo>
                      <a:pt x="1038" y="186"/>
                    </a:lnTo>
                    <a:lnTo>
                      <a:pt x="1044" y="186"/>
                    </a:lnTo>
                    <a:lnTo>
                      <a:pt x="1050" y="186"/>
                    </a:lnTo>
                    <a:lnTo>
                      <a:pt x="1050" y="180"/>
                    </a:lnTo>
                    <a:lnTo>
                      <a:pt x="1056" y="180"/>
                    </a:lnTo>
                    <a:lnTo>
                      <a:pt x="1056" y="186"/>
                    </a:lnTo>
                    <a:lnTo>
                      <a:pt x="1062" y="186"/>
                    </a:lnTo>
                    <a:lnTo>
                      <a:pt x="1062" y="180"/>
                    </a:lnTo>
                    <a:lnTo>
                      <a:pt x="1068" y="180"/>
                    </a:lnTo>
                    <a:lnTo>
                      <a:pt x="1068" y="186"/>
                    </a:lnTo>
                    <a:lnTo>
                      <a:pt x="1074" y="186"/>
                    </a:lnTo>
                    <a:lnTo>
                      <a:pt x="1080" y="186"/>
                    </a:lnTo>
                    <a:lnTo>
                      <a:pt x="1080" y="192"/>
                    </a:lnTo>
                    <a:lnTo>
                      <a:pt x="1080" y="198"/>
                    </a:lnTo>
                    <a:lnTo>
                      <a:pt x="1080" y="204"/>
                    </a:lnTo>
                    <a:lnTo>
                      <a:pt x="1086" y="204"/>
                    </a:lnTo>
                    <a:lnTo>
                      <a:pt x="1086" y="210"/>
                    </a:lnTo>
                    <a:lnTo>
                      <a:pt x="1092" y="210"/>
                    </a:lnTo>
                    <a:lnTo>
                      <a:pt x="1098" y="210"/>
                    </a:lnTo>
                    <a:lnTo>
                      <a:pt x="1098" y="216"/>
                    </a:lnTo>
                    <a:lnTo>
                      <a:pt x="1104" y="216"/>
                    </a:lnTo>
                    <a:lnTo>
                      <a:pt x="1110" y="216"/>
                    </a:lnTo>
                    <a:lnTo>
                      <a:pt x="1116" y="216"/>
                    </a:lnTo>
                    <a:lnTo>
                      <a:pt x="1122" y="216"/>
                    </a:lnTo>
                    <a:lnTo>
                      <a:pt x="1128" y="216"/>
                    </a:lnTo>
                    <a:lnTo>
                      <a:pt x="1122" y="216"/>
                    </a:lnTo>
                    <a:lnTo>
                      <a:pt x="1122" y="222"/>
                    </a:lnTo>
                    <a:lnTo>
                      <a:pt x="1128" y="222"/>
                    </a:lnTo>
                    <a:lnTo>
                      <a:pt x="1134" y="222"/>
                    </a:lnTo>
                    <a:lnTo>
                      <a:pt x="1134" y="216"/>
                    </a:lnTo>
                    <a:lnTo>
                      <a:pt x="1140" y="216"/>
                    </a:lnTo>
                    <a:lnTo>
                      <a:pt x="1140" y="222"/>
                    </a:lnTo>
                    <a:lnTo>
                      <a:pt x="1146" y="222"/>
                    </a:lnTo>
                    <a:lnTo>
                      <a:pt x="1146" y="216"/>
                    </a:lnTo>
                    <a:lnTo>
                      <a:pt x="1152" y="216"/>
                    </a:lnTo>
                    <a:lnTo>
                      <a:pt x="1158" y="216"/>
                    </a:lnTo>
                    <a:lnTo>
                      <a:pt x="1164" y="216"/>
                    </a:lnTo>
                    <a:lnTo>
                      <a:pt x="1164" y="210"/>
                    </a:lnTo>
                    <a:lnTo>
                      <a:pt x="1170" y="210"/>
                    </a:lnTo>
                    <a:lnTo>
                      <a:pt x="1176" y="210"/>
                    </a:lnTo>
                    <a:lnTo>
                      <a:pt x="1182" y="216"/>
                    </a:lnTo>
                    <a:lnTo>
                      <a:pt x="1182" y="222"/>
                    </a:lnTo>
                    <a:lnTo>
                      <a:pt x="1188" y="222"/>
                    </a:lnTo>
                    <a:lnTo>
                      <a:pt x="1194" y="222"/>
                    </a:lnTo>
                    <a:lnTo>
                      <a:pt x="1194" y="216"/>
                    </a:lnTo>
                    <a:lnTo>
                      <a:pt x="1200" y="216"/>
                    </a:lnTo>
                    <a:lnTo>
                      <a:pt x="1206" y="216"/>
                    </a:lnTo>
                    <a:lnTo>
                      <a:pt x="1212" y="216"/>
                    </a:lnTo>
                    <a:lnTo>
                      <a:pt x="1212" y="210"/>
                    </a:lnTo>
                    <a:lnTo>
                      <a:pt x="1212" y="204"/>
                    </a:lnTo>
                    <a:lnTo>
                      <a:pt x="1218" y="198"/>
                    </a:lnTo>
                    <a:lnTo>
                      <a:pt x="1224" y="198"/>
                    </a:lnTo>
                    <a:lnTo>
                      <a:pt x="1224" y="192"/>
                    </a:lnTo>
                    <a:lnTo>
                      <a:pt x="1230" y="192"/>
                    </a:lnTo>
                    <a:lnTo>
                      <a:pt x="1236" y="192"/>
                    </a:lnTo>
                    <a:lnTo>
                      <a:pt x="1242" y="198"/>
                    </a:lnTo>
                    <a:lnTo>
                      <a:pt x="1242" y="192"/>
                    </a:lnTo>
                    <a:lnTo>
                      <a:pt x="1242" y="186"/>
                    </a:lnTo>
                    <a:lnTo>
                      <a:pt x="1236" y="186"/>
                    </a:lnTo>
                    <a:lnTo>
                      <a:pt x="1236" y="180"/>
                    </a:lnTo>
                    <a:lnTo>
                      <a:pt x="1230" y="180"/>
                    </a:lnTo>
                    <a:lnTo>
                      <a:pt x="1230" y="174"/>
                    </a:lnTo>
                    <a:lnTo>
                      <a:pt x="1236" y="174"/>
                    </a:lnTo>
                    <a:lnTo>
                      <a:pt x="1242" y="174"/>
                    </a:lnTo>
                    <a:lnTo>
                      <a:pt x="1248" y="174"/>
                    </a:lnTo>
                    <a:lnTo>
                      <a:pt x="1254" y="174"/>
                    </a:lnTo>
                    <a:lnTo>
                      <a:pt x="1254" y="168"/>
                    </a:lnTo>
                    <a:lnTo>
                      <a:pt x="1260" y="174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72" y="174"/>
                    </a:lnTo>
                    <a:lnTo>
                      <a:pt x="1272" y="168"/>
                    </a:lnTo>
                    <a:lnTo>
                      <a:pt x="1272" y="162"/>
                    </a:lnTo>
                    <a:lnTo>
                      <a:pt x="1278" y="162"/>
                    </a:lnTo>
                    <a:lnTo>
                      <a:pt x="1284" y="162"/>
                    </a:lnTo>
                    <a:lnTo>
                      <a:pt x="1290" y="162"/>
                    </a:lnTo>
                    <a:lnTo>
                      <a:pt x="1296" y="156"/>
                    </a:lnTo>
                    <a:lnTo>
                      <a:pt x="1302" y="156"/>
                    </a:lnTo>
                    <a:lnTo>
                      <a:pt x="1308" y="156"/>
                    </a:lnTo>
                    <a:lnTo>
                      <a:pt x="1308" y="162"/>
                    </a:lnTo>
                    <a:lnTo>
                      <a:pt x="1314" y="162"/>
                    </a:lnTo>
                    <a:lnTo>
                      <a:pt x="1320" y="162"/>
                    </a:lnTo>
                    <a:lnTo>
                      <a:pt x="1320" y="156"/>
                    </a:lnTo>
                    <a:lnTo>
                      <a:pt x="1326" y="156"/>
                    </a:lnTo>
                    <a:lnTo>
                      <a:pt x="1326" y="150"/>
                    </a:lnTo>
                    <a:lnTo>
                      <a:pt x="1320" y="150"/>
                    </a:lnTo>
                    <a:lnTo>
                      <a:pt x="1320" y="144"/>
                    </a:lnTo>
                    <a:lnTo>
                      <a:pt x="1326" y="144"/>
                    </a:lnTo>
                    <a:lnTo>
                      <a:pt x="1332" y="144"/>
                    </a:lnTo>
                    <a:lnTo>
                      <a:pt x="1338" y="144"/>
                    </a:lnTo>
                    <a:lnTo>
                      <a:pt x="1338" y="138"/>
                    </a:lnTo>
                    <a:lnTo>
                      <a:pt x="1332" y="138"/>
                    </a:lnTo>
                    <a:lnTo>
                      <a:pt x="1326" y="132"/>
                    </a:lnTo>
                    <a:lnTo>
                      <a:pt x="1326" y="126"/>
                    </a:lnTo>
                    <a:lnTo>
                      <a:pt x="1332" y="126"/>
                    </a:lnTo>
                    <a:lnTo>
                      <a:pt x="1338" y="126"/>
                    </a:lnTo>
                    <a:lnTo>
                      <a:pt x="1344" y="126"/>
                    </a:lnTo>
                    <a:lnTo>
                      <a:pt x="1350" y="126"/>
                    </a:lnTo>
                    <a:lnTo>
                      <a:pt x="1350" y="120"/>
                    </a:lnTo>
                    <a:lnTo>
                      <a:pt x="1350" y="114"/>
                    </a:lnTo>
                    <a:lnTo>
                      <a:pt x="1344" y="114"/>
                    </a:lnTo>
                    <a:lnTo>
                      <a:pt x="1338" y="114"/>
                    </a:lnTo>
                    <a:lnTo>
                      <a:pt x="1338" y="108"/>
                    </a:lnTo>
                    <a:lnTo>
                      <a:pt x="1338" y="102"/>
                    </a:lnTo>
                    <a:lnTo>
                      <a:pt x="1344" y="102"/>
                    </a:lnTo>
                    <a:lnTo>
                      <a:pt x="1350" y="102"/>
                    </a:lnTo>
                    <a:lnTo>
                      <a:pt x="1350" y="108"/>
                    </a:lnTo>
                    <a:lnTo>
                      <a:pt x="1356" y="108"/>
                    </a:lnTo>
                    <a:lnTo>
                      <a:pt x="1362" y="102"/>
                    </a:lnTo>
                    <a:lnTo>
                      <a:pt x="1368" y="102"/>
                    </a:lnTo>
                    <a:lnTo>
                      <a:pt x="1374" y="102"/>
                    </a:lnTo>
                    <a:lnTo>
                      <a:pt x="1374" y="108"/>
                    </a:lnTo>
                    <a:lnTo>
                      <a:pt x="1374" y="114"/>
                    </a:lnTo>
                    <a:lnTo>
                      <a:pt x="1380" y="120"/>
                    </a:lnTo>
                    <a:lnTo>
                      <a:pt x="1386" y="120"/>
                    </a:lnTo>
                    <a:lnTo>
                      <a:pt x="1392" y="126"/>
                    </a:lnTo>
                    <a:lnTo>
                      <a:pt x="1398" y="126"/>
                    </a:lnTo>
                    <a:lnTo>
                      <a:pt x="1404" y="132"/>
                    </a:lnTo>
                    <a:lnTo>
                      <a:pt x="1404" y="138"/>
                    </a:lnTo>
                    <a:lnTo>
                      <a:pt x="1404" y="144"/>
                    </a:lnTo>
                    <a:lnTo>
                      <a:pt x="1410" y="144"/>
                    </a:lnTo>
                    <a:lnTo>
                      <a:pt x="1410" y="150"/>
                    </a:lnTo>
                    <a:lnTo>
                      <a:pt x="1416" y="150"/>
                    </a:lnTo>
                    <a:lnTo>
                      <a:pt x="1416" y="156"/>
                    </a:lnTo>
                    <a:lnTo>
                      <a:pt x="1416" y="162"/>
                    </a:lnTo>
                    <a:lnTo>
                      <a:pt x="1422" y="168"/>
                    </a:lnTo>
                    <a:lnTo>
                      <a:pt x="1428" y="168"/>
                    </a:lnTo>
                    <a:lnTo>
                      <a:pt x="1434" y="174"/>
                    </a:lnTo>
                    <a:lnTo>
                      <a:pt x="1440" y="174"/>
                    </a:lnTo>
                    <a:lnTo>
                      <a:pt x="1440" y="180"/>
                    </a:lnTo>
                    <a:lnTo>
                      <a:pt x="1440" y="186"/>
                    </a:lnTo>
                    <a:lnTo>
                      <a:pt x="1446" y="186"/>
                    </a:lnTo>
                    <a:lnTo>
                      <a:pt x="1446" y="192"/>
                    </a:lnTo>
                    <a:lnTo>
                      <a:pt x="1452" y="198"/>
                    </a:lnTo>
                    <a:lnTo>
                      <a:pt x="1458" y="198"/>
                    </a:lnTo>
                    <a:lnTo>
                      <a:pt x="1464" y="204"/>
                    </a:lnTo>
                    <a:lnTo>
                      <a:pt x="1470" y="204"/>
                    </a:lnTo>
                    <a:lnTo>
                      <a:pt x="1476" y="204"/>
                    </a:lnTo>
                    <a:lnTo>
                      <a:pt x="1488" y="204"/>
                    </a:lnTo>
                    <a:lnTo>
                      <a:pt x="1494" y="198"/>
                    </a:lnTo>
                    <a:lnTo>
                      <a:pt x="1500" y="204"/>
                    </a:lnTo>
                    <a:lnTo>
                      <a:pt x="1500" y="210"/>
                    </a:lnTo>
                    <a:lnTo>
                      <a:pt x="1506" y="216"/>
                    </a:lnTo>
                    <a:lnTo>
                      <a:pt x="1512" y="216"/>
                    </a:lnTo>
                    <a:lnTo>
                      <a:pt x="1518" y="222"/>
                    </a:lnTo>
                    <a:lnTo>
                      <a:pt x="1524" y="222"/>
                    </a:lnTo>
                    <a:lnTo>
                      <a:pt x="1530" y="222"/>
                    </a:lnTo>
                    <a:lnTo>
                      <a:pt x="1536" y="222"/>
                    </a:lnTo>
                    <a:lnTo>
                      <a:pt x="1542" y="222"/>
                    </a:lnTo>
                    <a:lnTo>
                      <a:pt x="1548" y="222"/>
                    </a:lnTo>
                    <a:lnTo>
                      <a:pt x="1554" y="222"/>
                    </a:lnTo>
                    <a:lnTo>
                      <a:pt x="1554" y="228"/>
                    </a:lnTo>
                    <a:lnTo>
                      <a:pt x="1560" y="228"/>
                    </a:lnTo>
                    <a:lnTo>
                      <a:pt x="1560" y="222"/>
                    </a:lnTo>
                    <a:lnTo>
                      <a:pt x="1560" y="216"/>
                    </a:lnTo>
                    <a:lnTo>
                      <a:pt x="1560" y="210"/>
                    </a:lnTo>
                    <a:lnTo>
                      <a:pt x="1560" y="204"/>
                    </a:lnTo>
                    <a:lnTo>
                      <a:pt x="1560" y="198"/>
                    </a:lnTo>
                    <a:lnTo>
                      <a:pt x="1566" y="198"/>
                    </a:lnTo>
                    <a:lnTo>
                      <a:pt x="1572" y="192"/>
                    </a:lnTo>
                    <a:lnTo>
                      <a:pt x="1572" y="186"/>
                    </a:lnTo>
                    <a:lnTo>
                      <a:pt x="1572" y="180"/>
                    </a:lnTo>
                    <a:lnTo>
                      <a:pt x="1578" y="174"/>
                    </a:lnTo>
                    <a:lnTo>
                      <a:pt x="1578" y="168"/>
                    </a:lnTo>
                    <a:lnTo>
                      <a:pt x="1578" y="162"/>
                    </a:lnTo>
                    <a:lnTo>
                      <a:pt x="1572" y="156"/>
                    </a:lnTo>
                    <a:lnTo>
                      <a:pt x="1578" y="150"/>
                    </a:lnTo>
                    <a:lnTo>
                      <a:pt x="1584" y="144"/>
                    </a:lnTo>
                    <a:lnTo>
                      <a:pt x="1590" y="144"/>
                    </a:lnTo>
                    <a:lnTo>
                      <a:pt x="1596" y="138"/>
                    </a:lnTo>
                    <a:lnTo>
                      <a:pt x="1602" y="138"/>
                    </a:lnTo>
                    <a:lnTo>
                      <a:pt x="1602" y="132"/>
                    </a:lnTo>
                    <a:lnTo>
                      <a:pt x="1608" y="132"/>
                    </a:lnTo>
                    <a:lnTo>
                      <a:pt x="1608" y="126"/>
                    </a:lnTo>
                    <a:lnTo>
                      <a:pt x="1608" y="120"/>
                    </a:lnTo>
                    <a:lnTo>
                      <a:pt x="1602" y="114"/>
                    </a:lnTo>
                    <a:lnTo>
                      <a:pt x="1608" y="114"/>
                    </a:lnTo>
                    <a:lnTo>
                      <a:pt x="1602" y="108"/>
                    </a:lnTo>
                    <a:lnTo>
                      <a:pt x="1596" y="102"/>
                    </a:lnTo>
                    <a:lnTo>
                      <a:pt x="1590" y="102"/>
                    </a:lnTo>
                    <a:lnTo>
                      <a:pt x="1590" y="96"/>
                    </a:lnTo>
                    <a:lnTo>
                      <a:pt x="1596" y="96"/>
                    </a:lnTo>
                    <a:lnTo>
                      <a:pt x="1602" y="90"/>
                    </a:lnTo>
                    <a:lnTo>
                      <a:pt x="1608" y="90"/>
                    </a:lnTo>
                    <a:lnTo>
                      <a:pt x="1608" y="84"/>
                    </a:lnTo>
                    <a:lnTo>
                      <a:pt x="1614" y="84"/>
                    </a:lnTo>
                    <a:lnTo>
                      <a:pt x="1620" y="84"/>
                    </a:lnTo>
                    <a:lnTo>
                      <a:pt x="1626" y="84"/>
                    </a:lnTo>
                    <a:lnTo>
                      <a:pt x="1626" y="78"/>
                    </a:lnTo>
                    <a:lnTo>
                      <a:pt x="1632" y="72"/>
                    </a:lnTo>
                    <a:lnTo>
                      <a:pt x="1638" y="60"/>
                    </a:lnTo>
                    <a:lnTo>
                      <a:pt x="1644" y="54"/>
                    </a:lnTo>
                    <a:lnTo>
                      <a:pt x="1650" y="48"/>
                    </a:lnTo>
                    <a:lnTo>
                      <a:pt x="1662" y="54"/>
                    </a:lnTo>
                    <a:lnTo>
                      <a:pt x="1668" y="54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86" y="48"/>
                    </a:lnTo>
                    <a:lnTo>
                      <a:pt x="1692" y="42"/>
                    </a:lnTo>
                    <a:lnTo>
                      <a:pt x="1698" y="42"/>
                    </a:lnTo>
                    <a:lnTo>
                      <a:pt x="1704" y="42"/>
                    </a:lnTo>
                    <a:lnTo>
                      <a:pt x="1704" y="48"/>
                    </a:lnTo>
                    <a:lnTo>
                      <a:pt x="1710" y="48"/>
                    </a:lnTo>
                    <a:lnTo>
                      <a:pt x="1716" y="48"/>
                    </a:lnTo>
                    <a:lnTo>
                      <a:pt x="1722" y="48"/>
                    </a:lnTo>
                    <a:lnTo>
                      <a:pt x="1728" y="48"/>
                    </a:lnTo>
                    <a:lnTo>
                      <a:pt x="1734" y="48"/>
                    </a:lnTo>
                    <a:lnTo>
                      <a:pt x="1740" y="48"/>
                    </a:lnTo>
                    <a:lnTo>
                      <a:pt x="1746" y="48"/>
                    </a:lnTo>
                    <a:lnTo>
                      <a:pt x="1746" y="42"/>
                    </a:lnTo>
                    <a:lnTo>
                      <a:pt x="1752" y="42"/>
                    </a:lnTo>
                    <a:lnTo>
                      <a:pt x="1758" y="42"/>
                    </a:lnTo>
                    <a:lnTo>
                      <a:pt x="1764" y="42"/>
                    </a:lnTo>
                    <a:lnTo>
                      <a:pt x="1770" y="36"/>
                    </a:lnTo>
                    <a:lnTo>
                      <a:pt x="1776" y="36"/>
                    </a:lnTo>
                    <a:lnTo>
                      <a:pt x="1782" y="36"/>
                    </a:lnTo>
                    <a:lnTo>
                      <a:pt x="1788" y="30"/>
                    </a:lnTo>
                    <a:lnTo>
                      <a:pt x="1794" y="30"/>
                    </a:lnTo>
                    <a:lnTo>
                      <a:pt x="1800" y="24"/>
                    </a:lnTo>
                    <a:lnTo>
                      <a:pt x="1806" y="24"/>
                    </a:lnTo>
                    <a:lnTo>
                      <a:pt x="1806" y="18"/>
                    </a:lnTo>
                    <a:lnTo>
                      <a:pt x="1812" y="18"/>
                    </a:lnTo>
                    <a:lnTo>
                      <a:pt x="1824" y="12"/>
                    </a:lnTo>
                    <a:lnTo>
                      <a:pt x="1830" y="6"/>
                    </a:lnTo>
                    <a:lnTo>
                      <a:pt x="1836" y="6"/>
                    </a:lnTo>
                    <a:lnTo>
                      <a:pt x="1836" y="12"/>
                    </a:lnTo>
                    <a:lnTo>
                      <a:pt x="1842" y="12"/>
                    </a:lnTo>
                    <a:lnTo>
                      <a:pt x="1842" y="18"/>
                    </a:lnTo>
                    <a:lnTo>
                      <a:pt x="1842" y="24"/>
                    </a:lnTo>
                    <a:lnTo>
                      <a:pt x="1848" y="24"/>
                    </a:lnTo>
                    <a:lnTo>
                      <a:pt x="1848" y="30"/>
                    </a:lnTo>
                    <a:lnTo>
                      <a:pt x="1854" y="30"/>
                    </a:lnTo>
                    <a:lnTo>
                      <a:pt x="1860" y="30"/>
                    </a:lnTo>
                    <a:lnTo>
                      <a:pt x="1860" y="36"/>
                    </a:lnTo>
                    <a:lnTo>
                      <a:pt x="1860" y="42"/>
                    </a:lnTo>
                    <a:lnTo>
                      <a:pt x="1860" y="48"/>
                    </a:lnTo>
                    <a:close/>
                    <a:moveTo>
                      <a:pt x="1962" y="0"/>
                    </a:moveTo>
                    <a:lnTo>
                      <a:pt x="1968" y="6"/>
                    </a:lnTo>
                    <a:lnTo>
                      <a:pt x="1968" y="12"/>
                    </a:lnTo>
                    <a:lnTo>
                      <a:pt x="1974" y="12"/>
                    </a:lnTo>
                    <a:lnTo>
                      <a:pt x="1974" y="18"/>
                    </a:lnTo>
                    <a:lnTo>
                      <a:pt x="1980" y="18"/>
                    </a:lnTo>
                    <a:lnTo>
                      <a:pt x="1986" y="18"/>
                    </a:lnTo>
                    <a:lnTo>
                      <a:pt x="1992" y="24"/>
                    </a:lnTo>
                    <a:lnTo>
                      <a:pt x="1998" y="30"/>
                    </a:lnTo>
                    <a:lnTo>
                      <a:pt x="2004" y="30"/>
                    </a:lnTo>
                    <a:lnTo>
                      <a:pt x="2010" y="30"/>
                    </a:lnTo>
                    <a:lnTo>
                      <a:pt x="2016" y="36"/>
                    </a:lnTo>
                    <a:lnTo>
                      <a:pt x="2016" y="42"/>
                    </a:lnTo>
                    <a:lnTo>
                      <a:pt x="2022" y="42"/>
                    </a:lnTo>
                    <a:lnTo>
                      <a:pt x="2028" y="42"/>
                    </a:lnTo>
                    <a:lnTo>
                      <a:pt x="2034" y="42"/>
                    </a:lnTo>
                    <a:lnTo>
                      <a:pt x="2040" y="42"/>
                    </a:lnTo>
                    <a:lnTo>
                      <a:pt x="2046" y="42"/>
                    </a:lnTo>
                    <a:lnTo>
                      <a:pt x="2052" y="42"/>
                    </a:lnTo>
                    <a:lnTo>
                      <a:pt x="2052" y="36"/>
                    </a:lnTo>
                    <a:lnTo>
                      <a:pt x="2064" y="36"/>
                    </a:lnTo>
                    <a:lnTo>
                      <a:pt x="2064" y="42"/>
                    </a:lnTo>
                    <a:lnTo>
                      <a:pt x="2070" y="42"/>
                    </a:lnTo>
                    <a:lnTo>
                      <a:pt x="2070" y="48"/>
                    </a:lnTo>
                    <a:lnTo>
                      <a:pt x="2070" y="54"/>
                    </a:lnTo>
                    <a:lnTo>
                      <a:pt x="2076" y="54"/>
                    </a:lnTo>
                    <a:lnTo>
                      <a:pt x="2076" y="60"/>
                    </a:lnTo>
                    <a:lnTo>
                      <a:pt x="2076" y="66"/>
                    </a:lnTo>
                    <a:lnTo>
                      <a:pt x="2076" y="72"/>
                    </a:lnTo>
                    <a:lnTo>
                      <a:pt x="2082" y="78"/>
                    </a:lnTo>
                    <a:lnTo>
                      <a:pt x="2088" y="78"/>
                    </a:lnTo>
                    <a:lnTo>
                      <a:pt x="2088" y="84"/>
                    </a:lnTo>
                    <a:lnTo>
                      <a:pt x="2088" y="90"/>
                    </a:lnTo>
                    <a:lnTo>
                      <a:pt x="2094" y="90"/>
                    </a:lnTo>
                    <a:lnTo>
                      <a:pt x="2100" y="90"/>
                    </a:lnTo>
                    <a:lnTo>
                      <a:pt x="2100" y="96"/>
                    </a:lnTo>
                    <a:lnTo>
                      <a:pt x="2100" y="102"/>
                    </a:lnTo>
                    <a:lnTo>
                      <a:pt x="2094" y="102"/>
                    </a:lnTo>
                    <a:lnTo>
                      <a:pt x="2094" y="108"/>
                    </a:lnTo>
                    <a:lnTo>
                      <a:pt x="2094" y="114"/>
                    </a:lnTo>
                    <a:lnTo>
                      <a:pt x="2100" y="114"/>
                    </a:lnTo>
                    <a:lnTo>
                      <a:pt x="2106" y="114"/>
                    </a:lnTo>
                    <a:lnTo>
                      <a:pt x="2106" y="120"/>
                    </a:lnTo>
                    <a:lnTo>
                      <a:pt x="2112" y="120"/>
                    </a:lnTo>
                    <a:lnTo>
                      <a:pt x="2112" y="126"/>
                    </a:lnTo>
                    <a:lnTo>
                      <a:pt x="2106" y="126"/>
                    </a:lnTo>
                    <a:lnTo>
                      <a:pt x="2106" y="132"/>
                    </a:lnTo>
                    <a:lnTo>
                      <a:pt x="2112" y="132"/>
                    </a:lnTo>
                    <a:lnTo>
                      <a:pt x="2118" y="132"/>
                    </a:lnTo>
                    <a:lnTo>
                      <a:pt x="2124" y="132"/>
                    </a:lnTo>
                    <a:lnTo>
                      <a:pt x="2124" y="126"/>
                    </a:lnTo>
                    <a:lnTo>
                      <a:pt x="2130" y="126"/>
                    </a:lnTo>
                    <a:lnTo>
                      <a:pt x="2130" y="132"/>
                    </a:lnTo>
                    <a:lnTo>
                      <a:pt x="2124" y="132"/>
                    </a:lnTo>
                    <a:lnTo>
                      <a:pt x="2118" y="132"/>
                    </a:lnTo>
                    <a:lnTo>
                      <a:pt x="2118" y="138"/>
                    </a:lnTo>
                    <a:lnTo>
                      <a:pt x="2124" y="138"/>
                    </a:lnTo>
                    <a:lnTo>
                      <a:pt x="2124" y="144"/>
                    </a:lnTo>
                    <a:lnTo>
                      <a:pt x="2130" y="144"/>
                    </a:lnTo>
                    <a:lnTo>
                      <a:pt x="2136" y="144"/>
                    </a:lnTo>
                    <a:lnTo>
                      <a:pt x="2136" y="150"/>
                    </a:lnTo>
                    <a:lnTo>
                      <a:pt x="2142" y="150"/>
                    </a:lnTo>
                    <a:lnTo>
                      <a:pt x="2148" y="150"/>
                    </a:lnTo>
                    <a:lnTo>
                      <a:pt x="2148" y="156"/>
                    </a:lnTo>
                    <a:lnTo>
                      <a:pt x="2142" y="162"/>
                    </a:lnTo>
                    <a:lnTo>
                      <a:pt x="2142" y="168"/>
                    </a:lnTo>
                    <a:lnTo>
                      <a:pt x="2136" y="168"/>
                    </a:lnTo>
                    <a:lnTo>
                      <a:pt x="2136" y="174"/>
                    </a:lnTo>
                    <a:lnTo>
                      <a:pt x="2130" y="174"/>
                    </a:lnTo>
                    <a:lnTo>
                      <a:pt x="2124" y="168"/>
                    </a:lnTo>
                    <a:lnTo>
                      <a:pt x="2124" y="174"/>
                    </a:lnTo>
                    <a:lnTo>
                      <a:pt x="2124" y="180"/>
                    </a:lnTo>
                    <a:lnTo>
                      <a:pt x="2118" y="180"/>
                    </a:lnTo>
                    <a:lnTo>
                      <a:pt x="2118" y="186"/>
                    </a:lnTo>
                    <a:lnTo>
                      <a:pt x="2112" y="186"/>
                    </a:lnTo>
                    <a:lnTo>
                      <a:pt x="2112" y="192"/>
                    </a:lnTo>
                    <a:lnTo>
                      <a:pt x="2106" y="198"/>
                    </a:lnTo>
                    <a:lnTo>
                      <a:pt x="2106" y="204"/>
                    </a:lnTo>
                    <a:lnTo>
                      <a:pt x="2100" y="210"/>
                    </a:lnTo>
                    <a:lnTo>
                      <a:pt x="2094" y="210"/>
                    </a:lnTo>
                    <a:lnTo>
                      <a:pt x="2094" y="216"/>
                    </a:lnTo>
                    <a:lnTo>
                      <a:pt x="2094" y="222"/>
                    </a:lnTo>
                    <a:lnTo>
                      <a:pt x="2088" y="216"/>
                    </a:lnTo>
                    <a:lnTo>
                      <a:pt x="2088" y="210"/>
                    </a:lnTo>
                    <a:lnTo>
                      <a:pt x="2082" y="210"/>
                    </a:lnTo>
                    <a:lnTo>
                      <a:pt x="2076" y="210"/>
                    </a:lnTo>
                    <a:lnTo>
                      <a:pt x="2070" y="210"/>
                    </a:lnTo>
                    <a:lnTo>
                      <a:pt x="2064" y="204"/>
                    </a:lnTo>
                    <a:lnTo>
                      <a:pt x="2058" y="204"/>
                    </a:lnTo>
                    <a:lnTo>
                      <a:pt x="2052" y="204"/>
                    </a:lnTo>
                    <a:lnTo>
                      <a:pt x="2052" y="198"/>
                    </a:lnTo>
                    <a:lnTo>
                      <a:pt x="2046" y="192"/>
                    </a:lnTo>
                    <a:lnTo>
                      <a:pt x="2040" y="192"/>
                    </a:lnTo>
                    <a:lnTo>
                      <a:pt x="2034" y="192"/>
                    </a:lnTo>
                    <a:lnTo>
                      <a:pt x="2028" y="192"/>
                    </a:lnTo>
                    <a:lnTo>
                      <a:pt x="2022" y="192"/>
                    </a:lnTo>
                    <a:lnTo>
                      <a:pt x="2016" y="192"/>
                    </a:lnTo>
                    <a:lnTo>
                      <a:pt x="2010" y="192"/>
                    </a:lnTo>
                    <a:lnTo>
                      <a:pt x="2004" y="198"/>
                    </a:lnTo>
                    <a:lnTo>
                      <a:pt x="2004" y="204"/>
                    </a:lnTo>
                    <a:lnTo>
                      <a:pt x="1998" y="204"/>
                    </a:lnTo>
                    <a:lnTo>
                      <a:pt x="1992" y="204"/>
                    </a:lnTo>
                    <a:lnTo>
                      <a:pt x="1992" y="198"/>
                    </a:lnTo>
                    <a:lnTo>
                      <a:pt x="1992" y="192"/>
                    </a:lnTo>
                    <a:lnTo>
                      <a:pt x="1998" y="192"/>
                    </a:lnTo>
                    <a:lnTo>
                      <a:pt x="1998" y="186"/>
                    </a:lnTo>
                    <a:lnTo>
                      <a:pt x="1998" y="180"/>
                    </a:lnTo>
                    <a:lnTo>
                      <a:pt x="1992" y="180"/>
                    </a:lnTo>
                    <a:lnTo>
                      <a:pt x="1992" y="174"/>
                    </a:lnTo>
                    <a:lnTo>
                      <a:pt x="1992" y="168"/>
                    </a:lnTo>
                    <a:lnTo>
                      <a:pt x="1992" y="162"/>
                    </a:lnTo>
                    <a:lnTo>
                      <a:pt x="1986" y="156"/>
                    </a:lnTo>
                    <a:lnTo>
                      <a:pt x="1986" y="150"/>
                    </a:lnTo>
                    <a:lnTo>
                      <a:pt x="1980" y="144"/>
                    </a:lnTo>
                    <a:lnTo>
                      <a:pt x="1980" y="138"/>
                    </a:lnTo>
                    <a:lnTo>
                      <a:pt x="1974" y="138"/>
                    </a:lnTo>
                    <a:lnTo>
                      <a:pt x="1974" y="132"/>
                    </a:lnTo>
                    <a:lnTo>
                      <a:pt x="1968" y="132"/>
                    </a:lnTo>
                    <a:lnTo>
                      <a:pt x="1962" y="126"/>
                    </a:lnTo>
                    <a:lnTo>
                      <a:pt x="1968" y="126"/>
                    </a:lnTo>
                    <a:lnTo>
                      <a:pt x="1968" y="120"/>
                    </a:lnTo>
                    <a:lnTo>
                      <a:pt x="1968" y="114"/>
                    </a:lnTo>
                    <a:lnTo>
                      <a:pt x="1968" y="108"/>
                    </a:lnTo>
                    <a:lnTo>
                      <a:pt x="1968" y="102"/>
                    </a:lnTo>
                    <a:lnTo>
                      <a:pt x="1974" y="102"/>
                    </a:lnTo>
                    <a:lnTo>
                      <a:pt x="1974" y="96"/>
                    </a:lnTo>
                    <a:lnTo>
                      <a:pt x="1974" y="90"/>
                    </a:lnTo>
                    <a:lnTo>
                      <a:pt x="1968" y="84"/>
                    </a:lnTo>
                    <a:lnTo>
                      <a:pt x="1962" y="84"/>
                    </a:lnTo>
                    <a:lnTo>
                      <a:pt x="1962" y="78"/>
                    </a:lnTo>
                    <a:lnTo>
                      <a:pt x="1956" y="78"/>
                    </a:lnTo>
                    <a:lnTo>
                      <a:pt x="1950" y="78"/>
                    </a:lnTo>
                    <a:lnTo>
                      <a:pt x="1944" y="72"/>
                    </a:lnTo>
                    <a:lnTo>
                      <a:pt x="1938" y="66"/>
                    </a:lnTo>
                    <a:lnTo>
                      <a:pt x="1932" y="66"/>
                    </a:lnTo>
                    <a:lnTo>
                      <a:pt x="1938" y="66"/>
                    </a:lnTo>
                    <a:lnTo>
                      <a:pt x="1938" y="60"/>
                    </a:lnTo>
                    <a:lnTo>
                      <a:pt x="1944" y="60"/>
                    </a:lnTo>
                    <a:lnTo>
                      <a:pt x="1944" y="54"/>
                    </a:lnTo>
                    <a:lnTo>
                      <a:pt x="1944" y="48"/>
                    </a:lnTo>
                    <a:lnTo>
                      <a:pt x="1944" y="42"/>
                    </a:lnTo>
                    <a:lnTo>
                      <a:pt x="1950" y="42"/>
                    </a:lnTo>
                    <a:lnTo>
                      <a:pt x="1950" y="36"/>
                    </a:lnTo>
                    <a:lnTo>
                      <a:pt x="1950" y="30"/>
                    </a:lnTo>
                    <a:lnTo>
                      <a:pt x="1956" y="30"/>
                    </a:lnTo>
                    <a:lnTo>
                      <a:pt x="1962" y="30"/>
                    </a:lnTo>
                    <a:lnTo>
                      <a:pt x="1962" y="24"/>
                    </a:lnTo>
                    <a:lnTo>
                      <a:pt x="1962" y="18"/>
                    </a:lnTo>
                    <a:lnTo>
                      <a:pt x="1956" y="18"/>
                    </a:lnTo>
                    <a:lnTo>
                      <a:pt x="1950" y="18"/>
                    </a:lnTo>
                    <a:lnTo>
                      <a:pt x="1950" y="12"/>
                    </a:lnTo>
                    <a:lnTo>
                      <a:pt x="1944" y="12"/>
                    </a:lnTo>
                    <a:lnTo>
                      <a:pt x="1944" y="6"/>
                    </a:lnTo>
                    <a:lnTo>
                      <a:pt x="1950" y="6"/>
                    </a:lnTo>
                    <a:lnTo>
                      <a:pt x="1956" y="0"/>
                    </a:lnTo>
                    <a:lnTo>
                      <a:pt x="196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7" name="Freeform 7"/>
              <p:cNvSpPr>
                <a:spLocks noChangeAspect="1"/>
              </p:cNvSpPr>
              <p:nvPr/>
            </p:nvSpPr>
            <p:spPr bwMode="auto">
              <a:xfrm>
                <a:off x="3244897" y="5658329"/>
                <a:ext cx="187251" cy="154998"/>
              </a:xfrm>
              <a:custGeom>
                <a:avLst/>
                <a:gdLst>
                  <a:gd name="T0" fmla="*/ 2147483647 w 1638"/>
                  <a:gd name="T1" fmla="*/ 2147483647 h 1356"/>
                  <a:gd name="T2" fmla="*/ 2147483647 w 1638"/>
                  <a:gd name="T3" fmla="*/ 2147483647 h 1356"/>
                  <a:gd name="T4" fmla="*/ 2147483647 w 1638"/>
                  <a:gd name="T5" fmla="*/ 2147483647 h 1356"/>
                  <a:gd name="T6" fmla="*/ 2147483647 w 1638"/>
                  <a:gd name="T7" fmla="*/ 2147483647 h 1356"/>
                  <a:gd name="T8" fmla="*/ 2147483647 w 1638"/>
                  <a:gd name="T9" fmla="*/ 2147483647 h 1356"/>
                  <a:gd name="T10" fmla="*/ 2147483647 w 1638"/>
                  <a:gd name="T11" fmla="*/ 2147483647 h 1356"/>
                  <a:gd name="T12" fmla="*/ 2147483647 w 1638"/>
                  <a:gd name="T13" fmla="*/ 2147483647 h 1356"/>
                  <a:gd name="T14" fmla="*/ 2147483647 w 1638"/>
                  <a:gd name="T15" fmla="*/ 2147483647 h 1356"/>
                  <a:gd name="T16" fmla="*/ 2147483647 w 1638"/>
                  <a:gd name="T17" fmla="*/ 2147483647 h 1356"/>
                  <a:gd name="T18" fmla="*/ 2147483647 w 1638"/>
                  <a:gd name="T19" fmla="*/ 2147483647 h 1356"/>
                  <a:gd name="T20" fmla="*/ 2147483647 w 1638"/>
                  <a:gd name="T21" fmla="*/ 2147483647 h 1356"/>
                  <a:gd name="T22" fmla="*/ 2147483647 w 1638"/>
                  <a:gd name="T23" fmla="*/ 2147483647 h 1356"/>
                  <a:gd name="T24" fmla="*/ 2147483647 w 1638"/>
                  <a:gd name="T25" fmla="*/ 2147483647 h 1356"/>
                  <a:gd name="T26" fmla="*/ 2147483647 w 1638"/>
                  <a:gd name="T27" fmla="*/ 2147483647 h 1356"/>
                  <a:gd name="T28" fmla="*/ 2147483647 w 1638"/>
                  <a:gd name="T29" fmla="*/ 2147483647 h 1356"/>
                  <a:gd name="T30" fmla="*/ 2147483647 w 1638"/>
                  <a:gd name="T31" fmla="*/ 2147483647 h 1356"/>
                  <a:gd name="T32" fmla="*/ 2147483647 w 1638"/>
                  <a:gd name="T33" fmla="*/ 2147483647 h 1356"/>
                  <a:gd name="T34" fmla="*/ 2147483647 w 1638"/>
                  <a:gd name="T35" fmla="*/ 2147483647 h 1356"/>
                  <a:gd name="T36" fmla="*/ 2147483647 w 1638"/>
                  <a:gd name="T37" fmla="*/ 2147483647 h 1356"/>
                  <a:gd name="T38" fmla="*/ 2147483647 w 1638"/>
                  <a:gd name="T39" fmla="*/ 2147483647 h 1356"/>
                  <a:gd name="T40" fmla="*/ 2147483647 w 1638"/>
                  <a:gd name="T41" fmla="*/ 2147483647 h 1356"/>
                  <a:gd name="T42" fmla="*/ 2147483647 w 1638"/>
                  <a:gd name="T43" fmla="*/ 2147483647 h 1356"/>
                  <a:gd name="T44" fmla="*/ 2147483647 w 1638"/>
                  <a:gd name="T45" fmla="*/ 2147483647 h 1356"/>
                  <a:gd name="T46" fmla="*/ 2147483647 w 1638"/>
                  <a:gd name="T47" fmla="*/ 2147483647 h 1356"/>
                  <a:gd name="T48" fmla="*/ 2147483647 w 1638"/>
                  <a:gd name="T49" fmla="*/ 2147483647 h 1356"/>
                  <a:gd name="T50" fmla="*/ 2147483647 w 1638"/>
                  <a:gd name="T51" fmla="*/ 2147483647 h 1356"/>
                  <a:gd name="T52" fmla="*/ 2147483647 w 1638"/>
                  <a:gd name="T53" fmla="*/ 2147483647 h 1356"/>
                  <a:gd name="T54" fmla="*/ 2147483647 w 1638"/>
                  <a:gd name="T55" fmla="*/ 2147483647 h 1356"/>
                  <a:gd name="T56" fmla="*/ 2147483647 w 1638"/>
                  <a:gd name="T57" fmla="*/ 2147483647 h 1356"/>
                  <a:gd name="T58" fmla="*/ 2147483647 w 1638"/>
                  <a:gd name="T59" fmla="*/ 2147483647 h 1356"/>
                  <a:gd name="T60" fmla="*/ 2147483647 w 1638"/>
                  <a:gd name="T61" fmla="*/ 2147483647 h 1356"/>
                  <a:gd name="T62" fmla="*/ 2147483647 w 1638"/>
                  <a:gd name="T63" fmla="*/ 2147483647 h 1356"/>
                  <a:gd name="T64" fmla="*/ 2147483647 w 1638"/>
                  <a:gd name="T65" fmla="*/ 2147483647 h 1356"/>
                  <a:gd name="T66" fmla="*/ 2147483647 w 1638"/>
                  <a:gd name="T67" fmla="*/ 2147483647 h 1356"/>
                  <a:gd name="T68" fmla="*/ 2147483647 w 1638"/>
                  <a:gd name="T69" fmla="*/ 2147483647 h 1356"/>
                  <a:gd name="T70" fmla="*/ 2147483647 w 1638"/>
                  <a:gd name="T71" fmla="*/ 2147483647 h 1356"/>
                  <a:gd name="T72" fmla="*/ 2147483647 w 1638"/>
                  <a:gd name="T73" fmla="*/ 2147483647 h 1356"/>
                  <a:gd name="T74" fmla="*/ 2147483647 w 1638"/>
                  <a:gd name="T75" fmla="*/ 2147483647 h 1356"/>
                  <a:gd name="T76" fmla="*/ 2147483647 w 1638"/>
                  <a:gd name="T77" fmla="*/ 2147483647 h 1356"/>
                  <a:gd name="T78" fmla="*/ 2147483647 w 1638"/>
                  <a:gd name="T79" fmla="*/ 2147483647 h 1356"/>
                  <a:gd name="T80" fmla="*/ 2147483647 w 1638"/>
                  <a:gd name="T81" fmla="*/ 2147483647 h 1356"/>
                  <a:gd name="T82" fmla="*/ 2147483647 w 1638"/>
                  <a:gd name="T83" fmla="*/ 2147483647 h 1356"/>
                  <a:gd name="T84" fmla="*/ 2147483647 w 1638"/>
                  <a:gd name="T85" fmla="*/ 2147483647 h 1356"/>
                  <a:gd name="T86" fmla="*/ 2147483647 w 1638"/>
                  <a:gd name="T87" fmla="*/ 2147483647 h 1356"/>
                  <a:gd name="T88" fmla="*/ 2147483647 w 1638"/>
                  <a:gd name="T89" fmla="*/ 2147483647 h 1356"/>
                  <a:gd name="T90" fmla="*/ 2147483647 w 1638"/>
                  <a:gd name="T91" fmla="*/ 2147483647 h 1356"/>
                  <a:gd name="T92" fmla="*/ 2147483647 w 1638"/>
                  <a:gd name="T93" fmla="*/ 2147483647 h 1356"/>
                  <a:gd name="T94" fmla="*/ 2147483647 w 1638"/>
                  <a:gd name="T95" fmla="*/ 2147483647 h 1356"/>
                  <a:gd name="T96" fmla="*/ 2147483647 w 1638"/>
                  <a:gd name="T97" fmla="*/ 2147483647 h 1356"/>
                  <a:gd name="T98" fmla="*/ 2147483647 w 1638"/>
                  <a:gd name="T99" fmla="*/ 2147483647 h 1356"/>
                  <a:gd name="T100" fmla="*/ 2147483647 w 1638"/>
                  <a:gd name="T101" fmla="*/ 2147483647 h 1356"/>
                  <a:gd name="T102" fmla="*/ 2147483647 w 1638"/>
                  <a:gd name="T103" fmla="*/ 2147483647 h 1356"/>
                  <a:gd name="T104" fmla="*/ 2147483647 w 1638"/>
                  <a:gd name="T105" fmla="*/ 2147483647 h 1356"/>
                  <a:gd name="T106" fmla="*/ 2147483647 w 1638"/>
                  <a:gd name="T107" fmla="*/ 2147483647 h 1356"/>
                  <a:gd name="T108" fmla="*/ 2147483647 w 1638"/>
                  <a:gd name="T109" fmla="*/ 2147483647 h 1356"/>
                  <a:gd name="T110" fmla="*/ 2147483647 w 1638"/>
                  <a:gd name="T111" fmla="*/ 2147483647 h 1356"/>
                  <a:gd name="T112" fmla="*/ 2147483647 w 1638"/>
                  <a:gd name="T113" fmla="*/ 2147483647 h 1356"/>
                  <a:gd name="T114" fmla="*/ 2147483647 w 1638"/>
                  <a:gd name="T115" fmla="*/ 2147483647 h 1356"/>
                  <a:gd name="T116" fmla="*/ 2147483647 w 1638"/>
                  <a:gd name="T117" fmla="*/ 2147483647 h 1356"/>
                  <a:gd name="T118" fmla="*/ 2147483647 w 1638"/>
                  <a:gd name="T119" fmla="*/ 2147483647 h 1356"/>
                  <a:gd name="T120" fmla="*/ 2147483647 w 1638"/>
                  <a:gd name="T121" fmla="*/ 2147483647 h 1356"/>
                  <a:gd name="T122" fmla="*/ 2147483647 w 1638"/>
                  <a:gd name="T123" fmla="*/ 2147483647 h 13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638" h="1356">
                    <a:moveTo>
                      <a:pt x="1104" y="24"/>
                    </a:moveTo>
                    <a:lnTo>
                      <a:pt x="1104" y="30"/>
                    </a:lnTo>
                    <a:lnTo>
                      <a:pt x="1110" y="30"/>
                    </a:lnTo>
                    <a:lnTo>
                      <a:pt x="1110" y="36"/>
                    </a:lnTo>
                    <a:lnTo>
                      <a:pt x="1110" y="42"/>
                    </a:lnTo>
                    <a:lnTo>
                      <a:pt x="1116" y="42"/>
                    </a:lnTo>
                    <a:lnTo>
                      <a:pt x="1116" y="48"/>
                    </a:lnTo>
                    <a:lnTo>
                      <a:pt x="1122" y="48"/>
                    </a:lnTo>
                    <a:lnTo>
                      <a:pt x="1122" y="54"/>
                    </a:lnTo>
                    <a:lnTo>
                      <a:pt x="1128" y="54"/>
                    </a:lnTo>
                    <a:lnTo>
                      <a:pt x="1128" y="60"/>
                    </a:lnTo>
                    <a:lnTo>
                      <a:pt x="1134" y="60"/>
                    </a:lnTo>
                    <a:lnTo>
                      <a:pt x="1140" y="60"/>
                    </a:lnTo>
                    <a:lnTo>
                      <a:pt x="1140" y="66"/>
                    </a:lnTo>
                    <a:lnTo>
                      <a:pt x="1146" y="66"/>
                    </a:lnTo>
                    <a:lnTo>
                      <a:pt x="1146" y="78"/>
                    </a:lnTo>
                    <a:lnTo>
                      <a:pt x="1158" y="66"/>
                    </a:lnTo>
                    <a:lnTo>
                      <a:pt x="1158" y="72"/>
                    </a:lnTo>
                    <a:lnTo>
                      <a:pt x="1158" y="78"/>
                    </a:lnTo>
                    <a:lnTo>
                      <a:pt x="1164" y="78"/>
                    </a:lnTo>
                    <a:lnTo>
                      <a:pt x="1170" y="84"/>
                    </a:lnTo>
                    <a:lnTo>
                      <a:pt x="1176" y="78"/>
                    </a:lnTo>
                    <a:lnTo>
                      <a:pt x="1182" y="78"/>
                    </a:lnTo>
                    <a:lnTo>
                      <a:pt x="1188" y="78"/>
                    </a:lnTo>
                    <a:lnTo>
                      <a:pt x="1188" y="84"/>
                    </a:lnTo>
                    <a:lnTo>
                      <a:pt x="1194" y="84"/>
                    </a:lnTo>
                    <a:lnTo>
                      <a:pt x="1200" y="84"/>
                    </a:lnTo>
                    <a:lnTo>
                      <a:pt x="1200" y="90"/>
                    </a:lnTo>
                    <a:lnTo>
                      <a:pt x="1206" y="90"/>
                    </a:lnTo>
                    <a:lnTo>
                      <a:pt x="1212" y="90"/>
                    </a:lnTo>
                    <a:lnTo>
                      <a:pt x="1218" y="90"/>
                    </a:lnTo>
                    <a:lnTo>
                      <a:pt x="1224" y="90"/>
                    </a:lnTo>
                    <a:lnTo>
                      <a:pt x="1230" y="96"/>
                    </a:lnTo>
                    <a:lnTo>
                      <a:pt x="1230" y="102"/>
                    </a:lnTo>
                    <a:lnTo>
                      <a:pt x="1230" y="108"/>
                    </a:lnTo>
                    <a:lnTo>
                      <a:pt x="1236" y="108"/>
                    </a:lnTo>
                    <a:lnTo>
                      <a:pt x="1236" y="114"/>
                    </a:lnTo>
                    <a:lnTo>
                      <a:pt x="1236" y="108"/>
                    </a:lnTo>
                    <a:lnTo>
                      <a:pt x="1242" y="108"/>
                    </a:lnTo>
                    <a:lnTo>
                      <a:pt x="1242" y="102"/>
                    </a:lnTo>
                    <a:lnTo>
                      <a:pt x="1248" y="102"/>
                    </a:lnTo>
                    <a:lnTo>
                      <a:pt x="1254" y="102"/>
                    </a:lnTo>
                    <a:lnTo>
                      <a:pt x="1254" y="108"/>
                    </a:lnTo>
                    <a:lnTo>
                      <a:pt x="1260" y="108"/>
                    </a:lnTo>
                    <a:lnTo>
                      <a:pt x="1260" y="114"/>
                    </a:lnTo>
                    <a:lnTo>
                      <a:pt x="1266" y="120"/>
                    </a:lnTo>
                    <a:lnTo>
                      <a:pt x="1272" y="120"/>
                    </a:lnTo>
                    <a:lnTo>
                      <a:pt x="1272" y="126"/>
                    </a:lnTo>
                    <a:lnTo>
                      <a:pt x="1272" y="132"/>
                    </a:lnTo>
                    <a:lnTo>
                      <a:pt x="1266" y="132"/>
                    </a:lnTo>
                    <a:lnTo>
                      <a:pt x="1266" y="138"/>
                    </a:lnTo>
                    <a:lnTo>
                      <a:pt x="1272" y="138"/>
                    </a:lnTo>
                    <a:lnTo>
                      <a:pt x="1272" y="132"/>
                    </a:lnTo>
                    <a:lnTo>
                      <a:pt x="1278" y="132"/>
                    </a:lnTo>
                    <a:lnTo>
                      <a:pt x="1278" y="126"/>
                    </a:lnTo>
                    <a:lnTo>
                      <a:pt x="1284" y="126"/>
                    </a:lnTo>
                    <a:lnTo>
                      <a:pt x="1284" y="120"/>
                    </a:lnTo>
                    <a:lnTo>
                      <a:pt x="1290" y="120"/>
                    </a:lnTo>
                    <a:lnTo>
                      <a:pt x="1296" y="120"/>
                    </a:lnTo>
                    <a:lnTo>
                      <a:pt x="1302" y="120"/>
                    </a:lnTo>
                    <a:lnTo>
                      <a:pt x="1302" y="114"/>
                    </a:lnTo>
                    <a:lnTo>
                      <a:pt x="1296" y="114"/>
                    </a:lnTo>
                    <a:lnTo>
                      <a:pt x="1290" y="114"/>
                    </a:lnTo>
                    <a:lnTo>
                      <a:pt x="1290" y="108"/>
                    </a:lnTo>
                    <a:lnTo>
                      <a:pt x="1296" y="108"/>
                    </a:lnTo>
                    <a:lnTo>
                      <a:pt x="1296" y="102"/>
                    </a:lnTo>
                    <a:lnTo>
                      <a:pt x="1302" y="102"/>
                    </a:lnTo>
                    <a:lnTo>
                      <a:pt x="1308" y="102"/>
                    </a:lnTo>
                    <a:lnTo>
                      <a:pt x="1308" y="108"/>
                    </a:lnTo>
                    <a:lnTo>
                      <a:pt x="1314" y="108"/>
                    </a:lnTo>
                    <a:lnTo>
                      <a:pt x="1320" y="108"/>
                    </a:lnTo>
                    <a:lnTo>
                      <a:pt x="1320" y="114"/>
                    </a:lnTo>
                    <a:lnTo>
                      <a:pt x="1326" y="114"/>
                    </a:lnTo>
                    <a:lnTo>
                      <a:pt x="1326" y="120"/>
                    </a:lnTo>
                    <a:lnTo>
                      <a:pt x="1332" y="120"/>
                    </a:lnTo>
                    <a:lnTo>
                      <a:pt x="1338" y="120"/>
                    </a:lnTo>
                    <a:lnTo>
                      <a:pt x="1338" y="126"/>
                    </a:lnTo>
                    <a:lnTo>
                      <a:pt x="1344" y="126"/>
                    </a:lnTo>
                    <a:lnTo>
                      <a:pt x="1350" y="126"/>
                    </a:lnTo>
                    <a:lnTo>
                      <a:pt x="1350" y="132"/>
                    </a:lnTo>
                    <a:lnTo>
                      <a:pt x="1356" y="132"/>
                    </a:lnTo>
                    <a:lnTo>
                      <a:pt x="1362" y="132"/>
                    </a:lnTo>
                    <a:lnTo>
                      <a:pt x="1368" y="132"/>
                    </a:lnTo>
                    <a:lnTo>
                      <a:pt x="1368" y="138"/>
                    </a:lnTo>
                    <a:lnTo>
                      <a:pt x="1374" y="138"/>
                    </a:lnTo>
                    <a:lnTo>
                      <a:pt x="1374" y="132"/>
                    </a:lnTo>
                    <a:lnTo>
                      <a:pt x="1380" y="126"/>
                    </a:lnTo>
                    <a:lnTo>
                      <a:pt x="1386" y="126"/>
                    </a:lnTo>
                    <a:lnTo>
                      <a:pt x="1392" y="126"/>
                    </a:lnTo>
                    <a:lnTo>
                      <a:pt x="1392" y="120"/>
                    </a:lnTo>
                    <a:lnTo>
                      <a:pt x="1398" y="120"/>
                    </a:lnTo>
                    <a:lnTo>
                      <a:pt x="1404" y="120"/>
                    </a:lnTo>
                    <a:lnTo>
                      <a:pt x="1410" y="120"/>
                    </a:lnTo>
                    <a:lnTo>
                      <a:pt x="1410" y="126"/>
                    </a:lnTo>
                    <a:lnTo>
                      <a:pt x="1416" y="132"/>
                    </a:lnTo>
                    <a:lnTo>
                      <a:pt x="1422" y="132"/>
                    </a:lnTo>
                    <a:lnTo>
                      <a:pt x="1428" y="138"/>
                    </a:lnTo>
                    <a:lnTo>
                      <a:pt x="1428" y="144"/>
                    </a:lnTo>
                    <a:lnTo>
                      <a:pt x="1428" y="150"/>
                    </a:lnTo>
                    <a:lnTo>
                      <a:pt x="1434" y="150"/>
                    </a:lnTo>
                    <a:lnTo>
                      <a:pt x="1434" y="156"/>
                    </a:lnTo>
                    <a:lnTo>
                      <a:pt x="1434" y="162"/>
                    </a:lnTo>
                    <a:lnTo>
                      <a:pt x="1434" y="168"/>
                    </a:lnTo>
                    <a:lnTo>
                      <a:pt x="1440" y="168"/>
                    </a:lnTo>
                    <a:lnTo>
                      <a:pt x="1440" y="174"/>
                    </a:lnTo>
                    <a:lnTo>
                      <a:pt x="1446" y="174"/>
                    </a:lnTo>
                    <a:lnTo>
                      <a:pt x="1446" y="168"/>
                    </a:lnTo>
                    <a:lnTo>
                      <a:pt x="1452" y="168"/>
                    </a:lnTo>
                    <a:lnTo>
                      <a:pt x="1458" y="168"/>
                    </a:lnTo>
                    <a:lnTo>
                      <a:pt x="1464" y="168"/>
                    </a:lnTo>
                    <a:lnTo>
                      <a:pt x="1470" y="168"/>
                    </a:lnTo>
                    <a:lnTo>
                      <a:pt x="1470" y="174"/>
                    </a:lnTo>
                    <a:lnTo>
                      <a:pt x="1476" y="174"/>
                    </a:lnTo>
                    <a:lnTo>
                      <a:pt x="1476" y="180"/>
                    </a:lnTo>
                    <a:lnTo>
                      <a:pt x="1482" y="180"/>
                    </a:lnTo>
                    <a:lnTo>
                      <a:pt x="1482" y="186"/>
                    </a:lnTo>
                    <a:lnTo>
                      <a:pt x="1488" y="186"/>
                    </a:lnTo>
                    <a:lnTo>
                      <a:pt x="1494" y="186"/>
                    </a:lnTo>
                    <a:lnTo>
                      <a:pt x="1494" y="192"/>
                    </a:lnTo>
                    <a:lnTo>
                      <a:pt x="1500" y="192"/>
                    </a:lnTo>
                    <a:lnTo>
                      <a:pt x="1506" y="192"/>
                    </a:lnTo>
                    <a:lnTo>
                      <a:pt x="1506" y="198"/>
                    </a:lnTo>
                    <a:lnTo>
                      <a:pt x="1506" y="204"/>
                    </a:lnTo>
                    <a:lnTo>
                      <a:pt x="1512" y="204"/>
                    </a:lnTo>
                    <a:lnTo>
                      <a:pt x="1518" y="204"/>
                    </a:lnTo>
                    <a:lnTo>
                      <a:pt x="1524" y="204"/>
                    </a:lnTo>
                    <a:lnTo>
                      <a:pt x="1530" y="204"/>
                    </a:lnTo>
                    <a:lnTo>
                      <a:pt x="1530" y="210"/>
                    </a:lnTo>
                    <a:lnTo>
                      <a:pt x="1536" y="210"/>
                    </a:lnTo>
                    <a:lnTo>
                      <a:pt x="1542" y="210"/>
                    </a:lnTo>
                    <a:lnTo>
                      <a:pt x="1542" y="216"/>
                    </a:lnTo>
                    <a:lnTo>
                      <a:pt x="1542" y="222"/>
                    </a:lnTo>
                    <a:lnTo>
                      <a:pt x="1548" y="222"/>
                    </a:lnTo>
                    <a:lnTo>
                      <a:pt x="1548" y="228"/>
                    </a:lnTo>
                    <a:lnTo>
                      <a:pt x="1548" y="234"/>
                    </a:lnTo>
                    <a:lnTo>
                      <a:pt x="1554" y="234"/>
                    </a:lnTo>
                    <a:lnTo>
                      <a:pt x="1554" y="240"/>
                    </a:lnTo>
                    <a:lnTo>
                      <a:pt x="1548" y="240"/>
                    </a:lnTo>
                    <a:lnTo>
                      <a:pt x="1554" y="246"/>
                    </a:lnTo>
                    <a:lnTo>
                      <a:pt x="1560" y="252"/>
                    </a:lnTo>
                    <a:lnTo>
                      <a:pt x="1560" y="258"/>
                    </a:lnTo>
                    <a:lnTo>
                      <a:pt x="1566" y="258"/>
                    </a:lnTo>
                    <a:lnTo>
                      <a:pt x="1566" y="264"/>
                    </a:lnTo>
                    <a:lnTo>
                      <a:pt x="1566" y="270"/>
                    </a:lnTo>
                    <a:lnTo>
                      <a:pt x="1572" y="270"/>
                    </a:lnTo>
                    <a:lnTo>
                      <a:pt x="1572" y="276"/>
                    </a:lnTo>
                    <a:lnTo>
                      <a:pt x="1578" y="276"/>
                    </a:lnTo>
                    <a:lnTo>
                      <a:pt x="1578" y="282"/>
                    </a:lnTo>
                    <a:lnTo>
                      <a:pt x="1584" y="282"/>
                    </a:lnTo>
                    <a:lnTo>
                      <a:pt x="1584" y="288"/>
                    </a:lnTo>
                    <a:lnTo>
                      <a:pt x="1584" y="294"/>
                    </a:lnTo>
                    <a:lnTo>
                      <a:pt x="1584" y="300"/>
                    </a:lnTo>
                    <a:lnTo>
                      <a:pt x="1590" y="300"/>
                    </a:lnTo>
                    <a:lnTo>
                      <a:pt x="1596" y="300"/>
                    </a:lnTo>
                    <a:lnTo>
                      <a:pt x="1602" y="300"/>
                    </a:lnTo>
                    <a:lnTo>
                      <a:pt x="1602" y="294"/>
                    </a:lnTo>
                    <a:lnTo>
                      <a:pt x="1608" y="294"/>
                    </a:lnTo>
                    <a:lnTo>
                      <a:pt x="1614" y="294"/>
                    </a:lnTo>
                    <a:lnTo>
                      <a:pt x="1614" y="288"/>
                    </a:lnTo>
                    <a:lnTo>
                      <a:pt x="1614" y="282"/>
                    </a:lnTo>
                    <a:lnTo>
                      <a:pt x="1620" y="282"/>
                    </a:lnTo>
                    <a:lnTo>
                      <a:pt x="1626" y="282"/>
                    </a:lnTo>
                    <a:lnTo>
                      <a:pt x="1632" y="282"/>
                    </a:lnTo>
                    <a:lnTo>
                      <a:pt x="1638" y="282"/>
                    </a:lnTo>
                    <a:lnTo>
                      <a:pt x="1632" y="282"/>
                    </a:lnTo>
                    <a:lnTo>
                      <a:pt x="1626" y="282"/>
                    </a:lnTo>
                    <a:lnTo>
                      <a:pt x="1626" y="288"/>
                    </a:lnTo>
                    <a:lnTo>
                      <a:pt x="1620" y="288"/>
                    </a:lnTo>
                    <a:lnTo>
                      <a:pt x="1620" y="294"/>
                    </a:lnTo>
                    <a:lnTo>
                      <a:pt x="1620" y="300"/>
                    </a:lnTo>
                    <a:lnTo>
                      <a:pt x="1620" y="306"/>
                    </a:lnTo>
                    <a:lnTo>
                      <a:pt x="1626" y="306"/>
                    </a:lnTo>
                    <a:lnTo>
                      <a:pt x="1626" y="312"/>
                    </a:lnTo>
                    <a:lnTo>
                      <a:pt x="1632" y="312"/>
                    </a:lnTo>
                    <a:lnTo>
                      <a:pt x="1632" y="318"/>
                    </a:lnTo>
                    <a:lnTo>
                      <a:pt x="1638" y="318"/>
                    </a:lnTo>
                    <a:lnTo>
                      <a:pt x="1638" y="324"/>
                    </a:lnTo>
                    <a:lnTo>
                      <a:pt x="1638" y="330"/>
                    </a:lnTo>
                    <a:lnTo>
                      <a:pt x="1632" y="330"/>
                    </a:lnTo>
                    <a:lnTo>
                      <a:pt x="1632" y="336"/>
                    </a:lnTo>
                    <a:lnTo>
                      <a:pt x="1626" y="336"/>
                    </a:lnTo>
                    <a:lnTo>
                      <a:pt x="1620" y="342"/>
                    </a:lnTo>
                    <a:lnTo>
                      <a:pt x="1614" y="342"/>
                    </a:lnTo>
                    <a:lnTo>
                      <a:pt x="1614" y="348"/>
                    </a:lnTo>
                    <a:lnTo>
                      <a:pt x="1608" y="348"/>
                    </a:lnTo>
                    <a:lnTo>
                      <a:pt x="1608" y="354"/>
                    </a:lnTo>
                    <a:lnTo>
                      <a:pt x="1608" y="360"/>
                    </a:lnTo>
                    <a:lnTo>
                      <a:pt x="1608" y="366"/>
                    </a:lnTo>
                    <a:lnTo>
                      <a:pt x="1614" y="366"/>
                    </a:lnTo>
                    <a:lnTo>
                      <a:pt x="1614" y="372"/>
                    </a:lnTo>
                    <a:lnTo>
                      <a:pt x="1614" y="378"/>
                    </a:lnTo>
                    <a:lnTo>
                      <a:pt x="1614" y="384"/>
                    </a:lnTo>
                    <a:lnTo>
                      <a:pt x="1608" y="390"/>
                    </a:lnTo>
                    <a:lnTo>
                      <a:pt x="1614" y="396"/>
                    </a:lnTo>
                    <a:lnTo>
                      <a:pt x="1614" y="402"/>
                    </a:lnTo>
                    <a:lnTo>
                      <a:pt x="1614" y="408"/>
                    </a:lnTo>
                    <a:lnTo>
                      <a:pt x="1614" y="414"/>
                    </a:lnTo>
                    <a:lnTo>
                      <a:pt x="1608" y="414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602" y="426"/>
                    </a:lnTo>
                    <a:lnTo>
                      <a:pt x="1602" y="432"/>
                    </a:lnTo>
                    <a:lnTo>
                      <a:pt x="1602" y="438"/>
                    </a:lnTo>
                    <a:lnTo>
                      <a:pt x="1596" y="438"/>
                    </a:lnTo>
                    <a:lnTo>
                      <a:pt x="1596" y="444"/>
                    </a:lnTo>
                    <a:lnTo>
                      <a:pt x="1596" y="450"/>
                    </a:lnTo>
                    <a:lnTo>
                      <a:pt x="1596" y="456"/>
                    </a:lnTo>
                    <a:lnTo>
                      <a:pt x="1596" y="462"/>
                    </a:lnTo>
                    <a:lnTo>
                      <a:pt x="1590" y="462"/>
                    </a:lnTo>
                    <a:lnTo>
                      <a:pt x="1590" y="468"/>
                    </a:lnTo>
                    <a:lnTo>
                      <a:pt x="1584" y="468"/>
                    </a:lnTo>
                    <a:lnTo>
                      <a:pt x="1584" y="474"/>
                    </a:lnTo>
                    <a:lnTo>
                      <a:pt x="1584" y="480"/>
                    </a:lnTo>
                    <a:lnTo>
                      <a:pt x="1584" y="486"/>
                    </a:lnTo>
                    <a:lnTo>
                      <a:pt x="1584" y="492"/>
                    </a:lnTo>
                    <a:lnTo>
                      <a:pt x="1590" y="492"/>
                    </a:lnTo>
                    <a:lnTo>
                      <a:pt x="1590" y="498"/>
                    </a:lnTo>
                    <a:lnTo>
                      <a:pt x="1596" y="498"/>
                    </a:lnTo>
                    <a:lnTo>
                      <a:pt x="1596" y="504"/>
                    </a:lnTo>
                    <a:lnTo>
                      <a:pt x="1596" y="510"/>
                    </a:lnTo>
                    <a:lnTo>
                      <a:pt x="1596" y="516"/>
                    </a:lnTo>
                    <a:lnTo>
                      <a:pt x="1596" y="522"/>
                    </a:lnTo>
                    <a:lnTo>
                      <a:pt x="1590" y="522"/>
                    </a:lnTo>
                    <a:lnTo>
                      <a:pt x="1590" y="528"/>
                    </a:lnTo>
                    <a:lnTo>
                      <a:pt x="1584" y="528"/>
                    </a:lnTo>
                    <a:lnTo>
                      <a:pt x="1584" y="534"/>
                    </a:lnTo>
                    <a:lnTo>
                      <a:pt x="1578" y="534"/>
                    </a:lnTo>
                    <a:lnTo>
                      <a:pt x="1578" y="540"/>
                    </a:lnTo>
                    <a:lnTo>
                      <a:pt x="1578" y="546"/>
                    </a:lnTo>
                    <a:lnTo>
                      <a:pt x="1572" y="546"/>
                    </a:lnTo>
                    <a:lnTo>
                      <a:pt x="1572" y="552"/>
                    </a:lnTo>
                    <a:lnTo>
                      <a:pt x="1566" y="552"/>
                    </a:lnTo>
                    <a:lnTo>
                      <a:pt x="1560" y="552"/>
                    </a:lnTo>
                    <a:lnTo>
                      <a:pt x="1554" y="552"/>
                    </a:lnTo>
                    <a:lnTo>
                      <a:pt x="1548" y="552"/>
                    </a:lnTo>
                    <a:lnTo>
                      <a:pt x="1542" y="552"/>
                    </a:lnTo>
                    <a:lnTo>
                      <a:pt x="1542" y="558"/>
                    </a:lnTo>
                    <a:lnTo>
                      <a:pt x="1536" y="558"/>
                    </a:lnTo>
                    <a:lnTo>
                      <a:pt x="1536" y="564"/>
                    </a:lnTo>
                    <a:lnTo>
                      <a:pt x="1536" y="570"/>
                    </a:lnTo>
                    <a:lnTo>
                      <a:pt x="1530" y="570"/>
                    </a:lnTo>
                    <a:lnTo>
                      <a:pt x="1524" y="570"/>
                    </a:lnTo>
                    <a:lnTo>
                      <a:pt x="1524" y="576"/>
                    </a:lnTo>
                    <a:lnTo>
                      <a:pt x="1524" y="582"/>
                    </a:lnTo>
                    <a:lnTo>
                      <a:pt x="1518" y="582"/>
                    </a:lnTo>
                    <a:lnTo>
                      <a:pt x="1518" y="588"/>
                    </a:lnTo>
                    <a:lnTo>
                      <a:pt x="1512" y="588"/>
                    </a:lnTo>
                    <a:lnTo>
                      <a:pt x="1506" y="588"/>
                    </a:lnTo>
                    <a:lnTo>
                      <a:pt x="1500" y="588"/>
                    </a:lnTo>
                    <a:lnTo>
                      <a:pt x="1500" y="594"/>
                    </a:lnTo>
                    <a:lnTo>
                      <a:pt x="1494" y="594"/>
                    </a:lnTo>
                    <a:lnTo>
                      <a:pt x="1494" y="600"/>
                    </a:lnTo>
                    <a:lnTo>
                      <a:pt x="1488" y="600"/>
                    </a:lnTo>
                    <a:lnTo>
                      <a:pt x="1488" y="606"/>
                    </a:lnTo>
                    <a:lnTo>
                      <a:pt x="1482" y="606"/>
                    </a:lnTo>
                    <a:lnTo>
                      <a:pt x="1482" y="612"/>
                    </a:lnTo>
                    <a:lnTo>
                      <a:pt x="1476" y="612"/>
                    </a:lnTo>
                    <a:lnTo>
                      <a:pt x="1470" y="612"/>
                    </a:lnTo>
                    <a:lnTo>
                      <a:pt x="1464" y="612"/>
                    </a:lnTo>
                    <a:lnTo>
                      <a:pt x="1458" y="612"/>
                    </a:lnTo>
                    <a:lnTo>
                      <a:pt x="1458" y="618"/>
                    </a:lnTo>
                    <a:lnTo>
                      <a:pt x="1452" y="618"/>
                    </a:lnTo>
                    <a:lnTo>
                      <a:pt x="1452" y="624"/>
                    </a:lnTo>
                    <a:lnTo>
                      <a:pt x="1452" y="630"/>
                    </a:lnTo>
                    <a:lnTo>
                      <a:pt x="1452" y="636"/>
                    </a:lnTo>
                    <a:lnTo>
                      <a:pt x="1452" y="642"/>
                    </a:lnTo>
                    <a:lnTo>
                      <a:pt x="1446" y="648"/>
                    </a:lnTo>
                    <a:lnTo>
                      <a:pt x="1440" y="642"/>
                    </a:lnTo>
                    <a:lnTo>
                      <a:pt x="1434" y="648"/>
                    </a:lnTo>
                    <a:lnTo>
                      <a:pt x="1428" y="648"/>
                    </a:lnTo>
                    <a:lnTo>
                      <a:pt x="1422" y="648"/>
                    </a:lnTo>
                    <a:lnTo>
                      <a:pt x="1416" y="648"/>
                    </a:lnTo>
                    <a:lnTo>
                      <a:pt x="1410" y="648"/>
                    </a:lnTo>
                    <a:lnTo>
                      <a:pt x="1404" y="648"/>
                    </a:lnTo>
                    <a:lnTo>
                      <a:pt x="1398" y="648"/>
                    </a:lnTo>
                    <a:lnTo>
                      <a:pt x="1398" y="654"/>
                    </a:lnTo>
                    <a:lnTo>
                      <a:pt x="1392" y="654"/>
                    </a:lnTo>
                    <a:lnTo>
                      <a:pt x="1386" y="654"/>
                    </a:lnTo>
                    <a:lnTo>
                      <a:pt x="1380" y="654"/>
                    </a:lnTo>
                    <a:lnTo>
                      <a:pt x="1380" y="660"/>
                    </a:lnTo>
                    <a:lnTo>
                      <a:pt x="1374" y="666"/>
                    </a:lnTo>
                    <a:lnTo>
                      <a:pt x="1368" y="666"/>
                    </a:lnTo>
                    <a:lnTo>
                      <a:pt x="1368" y="672"/>
                    </a:lnTo>
                    <a:lnTo>
                      <a:pt x="1368" y="678"/>
                    </a:lnTo>
                    <a:lnTo>
                      <a:pt x="1368" y="684"/>
                    </a:lnTo>
                    <a:lnTo>
                      <a:pt x="1362" y="690"/>
                    </a:lnTo>
                    <a:lnTo>
                      <a:pt x="1356" y="690"/>
                    </a:lnTo>
                    <a:lnTo>
                      <a:pt x="1356" y="696"/>
                    </a:lnTo>
                    <a:lnTo>
                      <a:pt x="1356" y="702"/>
                    </a:lnTo>
                    <a:lnTo>
                      <a:pt x="1356" y="708"/>
                    </a:lnTo>
                    <a:lnTo>
                      <a:pt x="1350" y="714"/>
                    </a:lnTo>
                    <a:lnTo>
                      <a:pt x="1350" y="720"/>
                    </a:lnTo>
                    <a:lnTo>
                      <a:pt x="1344" y="714"/>
                    </a:lnTo>
                    <a:lnTo>
                      <a:pt x="1338" y="714"/>
                    </a:lnTo>
                    <a:lnTo>
                      <a:pt x="1332" y="708"/>
                    </a:lnTo>
                    <a:lnTo>
                      <a:pt x="1332" y="702"/>
                    </a:lnTo>
                    <a:lnTo>
                      <a:pt x="1332" y="696"/>
                    </a:lnTo>
                    <a:lnTo>
                      <a:pt x="1326" y="696"/>
                    </a:lnTo>
                    <a:lnTo>
                      <a:pt x="1320" y="690"/>
                    </a:lnTo>
                    <a:lnTo>
                      <a:pt x="1314" y="690"/>
                    </a:lnTo>
                    <a:lnTo>
                      <a:pt x="1308" y="690"/>
                    </a:lnTo>
                    <a:lnTo>
                      <a:pt x="1302" y="684"/>
                    </a:lnTo>
                    <a:lnTo>
                      <a:pt x="1302" y="672"/>
                    </a:lnTo>
                    <a:lnTo>
                      <a:pt x="1302" y="666"/>
                    </a:lnTo>
                    <a:lnTo>
                      <a:pt x="1302" y="660"/>
                    </a:lnTo>
                    <a:lnTo>
                      <a:pt x="1296" y="660"/>
                    </a:lnTo>
                    <a:lnTo>
                      <a:pt x="1296" y="654"/>
                    </a:lnTo>
                    <a:lnTo>
                      <a:pt x="1290" y="654"/>
                    </a:lnTo>
                    <a:lnTo>
                      <a:pt x="1284" y="654"/>
                    </a:lnTo>
                    <a:lnTo>
                      <a:pt x="1278" y="654"/>
                    </a:lnTo>
                    <a:lnTo>
                      <a:pt x="1278" y="660"/>
                    </a:lnTo>
                    <a:lnTo>
                      <a:pt x="1272" y="660"/>
                    </a:lnTo>
                    <a:lnTo>
                      <a:pt x="1266" y="660"/>
                    </a:lnTo>
                    <a:lnTo>
                      <a:pt x="1260" y="660"/>
                    </a:lnTo>
                    <a:lnTo>
                      <a:pt x="1254" y="660"/>
                    </a:lnTo>
                    <a:lnTo>
                      <a:pt x="1248" y="660"/>
                    </a:lnTo>
                    <a:lnTo>
                      <a:pt x="1242" y="660"/>
                    </a:lnTo>
                    <a:lnTo>
                      <a:pt x="1236" y="660"/>
                    </a:lnTo>
                    <a:lnTo>
                      <a:pt x="1230" y="660"/>
                    </a:lnTo>
                    <a:lnTo>
                      <a:pt x="1224" y="666"/>
                    </a:lnTo>
                    <a:lnTo>
                      <a:pt x="1218" y="666"/>
                    </a:lnTo>
                    <a:lnTo>
                      <a:pt x="1212" y="666"/>
                    </a:lnTo>
                    <a:lnTo>
                      <a:pt x="1212" y="672"/>
                    </a:lnTo>
                    <a:lnTo>
                      <a:pt x="1206" y="678"/>
                    </a:lnTo>
                    <a:lnTo>
                      <a:pt x="1200" y="684"/>
                    </a:lnTo>
                    <a:lnTo>
                      <a:pt x="1200" y="690"/>
                    </a:lnTo>
                    <a:lnTo>
                      <a:pt x="1206" y="690"/>
                    </a:lnTo>
                    <a:lnTo>
                      <a:pt x="1200" y="690"/>
                    </a:lnTo>
                    <a:lnTo>
                      <a:pt x="1194" y="690"/>
                    </a:lnTo>
                    <a:lnTo>
                      <a:pt x="1188" y="690"/>
                    </a:lnTo>
                    <a:lnTo>
                      <a:pt x="1182" y="690"/>
                    </a:lnTo>
                    <a:lnTo>
                      <a:pt x="1182" y="696"/>
                    </a:lnTo>
                    <a:lnTo>
                      <a:pt x="1176" y="696"/>
                    </a:lnTo>
                    <a:lnTo>
                      <a:pt x="1170" y="690"/>
                    </a:lnTo>
                    <a:lnTo>
                      <a:pt x="1164" y="690"/>
                    </a:lnTo>
                    <a:lnTo>
                      <a:pt x="1158" y="690"/>
                    </a:lnTo>
                    <a:lnTo>
                      <a:pt x="1152" y="696"/>
                    </a:lnTo>
                    <a:lnTo>
                      <a:pt x="1152" y="690"/>
                    </a:lnTo>
                    <a:lnTo>
                      <a:pt x="1146" y="690"/>
                    </a:lnTo>
                    <a:lnTo>
                      <a:pt x="1140" y="690"/>
                    </a:lnTo>
                    <a:lnTo>
                      <a:pt x="1140" y="696"/>
                    </a:lnTo>
                    <a:lnTo>
                      <a:pt x="1134" y="696"/>
                    </a:lnTo>
                    <a:lnTo>
                      <a:pt x="1134" y="702"/>
                    </a:lnTo>
                    <a:lnTo>
                      <a:pt x="1128" y="702"/>
                    </a:lnTo>
                    <a:lnTo>
                      <a:pt x="1128" y="708"/>
                    </a:lnTo>
                    <a:lnTo>
                      <a:pt x="1128" y="714"/>
                    </a:lnTo>
                    <a:lnTo>
                      <a:pt x="1122" y="714"/>
                    </a:lnTo>
                    <a:lnTo>
                      <a:pt x="1122" y="720"/>
                    </a:lnTo>
                    <a:lnTo>
                      <a:pt x="1116" y="720"/>
                    </a:lnTo>
                    <a:lnTo>
                      <a:pt x="1116" y="726"/>
                    </a:lnTo>
                    <a:lnTo>
                      <a:pt x="1110" y="726"/>
                    </a:lnTo>
                    <a:lnTo>
                      <a:pt x="1110" y="732"/>
                    </a:lnTo>
                    <a:lnTo>
                      <a:pt x="1110" y="738"/>
                    </a:lnTo>
                    <a:lnTo>
                      <a:pt x="1098" y="744"/>
                    </a:lnTo>
                    <a:lnTo>
                      <a:pt x="1104" y="750"/>
                    </a:lnTo>
                    <a:lnTo>
                      <a:pt x="1098" y="750"/>
                    </a:lnTo>
                    <a:lnTo>
                      <a:pt x="1092" y="750"/>
                    </a:lnTo>
                    <a:lnTo>
                      <a:pt x="1086" y="750"/>
                    </a:lnTo>
                    <a:lnTo>
                      <a:pt x="1080" y="750"/>
                    </a:lnTo>
                    <a:lnTo>
                      <a:pt x="1080" y="744"/>
                    </a:lnTo>
                    <a:lnTo>
                      <a:pt x="1074" y="744"/>
                    </a:lnTo>
                    <a:lnTo>
                      <a:pt x="1068" y="744"/>
                    </a:lnTo>
                    <a:lnTo>
                      <a:pt x="1068" y="750"/>
                    </a:lnTo>
                    <a:lnTo>
                      <a:pt x="1062" y="750"/>
                    </a:lnTo>
                    <a:lnTo>
                      <a:pt x="1062" y="756"/>
                    </a:lnTo>
                    <a:lnTo>
                      <a:pt x="1062" y="762"/>
                    </a:lnTo>
                    <a:lnTo>
                      <a:pt x="1056" y="762"/>
                    </a:lnTo>
                    <a:lnTo>
                      <a:pt x="1050" y="762"/>
                    </a:lnTo>
                    <a:lnTo>
                      <a:pt x="1050" y="756"/>
                    </a:lnTo>
                    <a:lnTo>
                      <a:pt x="1044" y="756"/>
                    </a:lnTo>
                    <a:lnTo>
                      <a:pt x="1038" y="756"/>
                    </a:lnTo>
                    <a:lnTo>
                      <a:pt x="1038" y="762"/>
                    </a:lnTo>
                    <a:lnTo>
                      <a:pt x="1032" y="762"/>
                    </a:lnTo>
                    <a:lnTo>
                      <a:pt x="1026" y="756"/>
                    </a:lnTo>
                    <a:lnTo>
                      <a:pt x="1020" y="756"/>
                    </a:lnTo>
                    <a:lnTo>
                      <a:pt x="1020" y="762"/>
                    </a:lnTo>
                    <a:lnTo>
                      <a:pt x="1020" y="768"/>
                    </a:lnTo>
                    <a:lnTo>
                      <a:pt x="1014" y="768"/>
                    </a:lnTo>
                    <a:lnTo>
                      <a:pt x="1014" y="774"/>
                    </a:lnTo>
                    <a:lnTo>
                      <a:pt x="1008" y="774"/>
                    </a:lnTo>
                    <a:lnTo>
                      <a:pt x="1008" y="780"/>
                    </a:lnTo>
                    <a:lnTo>
                      <a:pt x="1008" y="786"/>
                    </a:lnTo>
                    <a:lnTo>
                      <a:pt x="1008" y="792"/>
                    </a:lnTo>
                    <a:lnTo>
                      <a:pt x="1002" y="792"/>
                    </a:lnTo>
                    <a:lnTo>
                      <a:pt x="996" y="792"/>
                    </a:lnTo>
                    <a:lnTo>
                      <a:pt x="1002" y="798"/>
                    </a:lnTo>
                    <a:lnTo>
                      <a:pt x="996" y="798"/>
                    </a:lnTo>
                    <a:lnTo>
                      <a:pt x="996" y="804"/>
                    </a:lnTo>
                    <a:lnTo>
                      <a:pt x="990" y="804"/>
                    </a:lnTo>
                    <a:lnTo>
                      <a:pt x="984" y="804"/>
                    </a:lnTo>
                    <a:lnTo>
                      <a:pt x="984" y="810"/>
                    </a:lnTo>
                    <a:lnTo>
                      <a:pt x="990" y="810"/>
                    </a:lnTo>
                    <a:lnTo>
                      <a:pt x="996" y="810"/>
                    </a:lnTo>
                    <a:lnTo>
                      <a:pt x="996" y="816"/>
                    </a:lnTo>
                    <a:lnTo>
                      <a:pt x="990" y="816"/>
                    </a:lnTo>
                    <a:lnTo>
                      <a:pt x="984" y="816"/>
                    </a:lnTo>
                    <a:lnTo>
                      <a:pt x="990" y="816"/>
                    </a:lnTo>
                    <a:lnTo>
                      <a:pt x="990" y="822"/>
                    </a:lnTo>
                    <a:lnTo>
                      <a:pt x="990" y="828"/>
                    </a:lnTo>
                    <a:lnTo>
                      <a:pt x="984" y="828"/>
                    </a:lnTo>
                    <a:lnTo>
                      <a:pt x="978" y="834"/>
                    </a:lnTo>
                    <a:lnTo>
                      <a:pt x="972" y="834"/>
                    </a:lnTo>
                    <a:lnTo>
                      <a:pt x="978" y="840"/>
                    </a:lnTo>
                    <a:lnTo>
                      <a:pt x="972" y="846"/>
                    </a:lnTo>
                    <a:lnTo>
                      <a:pt x="966" y="846"/>
                    </a:lnTo>
                    <a:lnTo>
                      <a:pt x="966" y="852"/>
                    </a:lnTo>
                    <a:lnTo>
                      <a:pt x="954" y="852"/>
                    </a:lnTo>
                    <a:lnTo>
                      <a:pt x="954" y="858"/>
                    </a:lnTo>
                    <a:lnTo>
                      <a:pt x="948" y="864"/>
                    </a:lnTo>
                    <a:lnTo>
                      <a:pt x="948" y="870"/>
                    </a:lnTo>
                    <a:lnTo>
                      <a:pt x="954" y="870"/>
                    </a:lnTo>
                    <a:lnTo>
                      <a:pt x="954" y="876"/>
                    </a:lnTo>
                    <a:lnTo>
                      <a:pt x="948" y="882"/>
                    </a:lnTo>
                    <a:lnTo>
                      <a:pt x="942" y="882"/>
                    </a:lnTo>
                    <a:lnTo>
                      <a:pt x="936" y="888"/>
                    </a:lnTo>
                    <a:lnTo>
                      <a:pt x="930" y="888"/>
                    </a:lnTo>
                    <a:lnTo>
                      <a:pt x="924" y="888"/>
                    </a:lnTo>
                    <a:lnTo>
                      <a:pt x="930" y="888"/>
                    </a:lnTo>
                    <a:lnTo>
                      <a:pt x="930" y="894"/>
                    </a:lnTo>
                    <a:lnTo>
                      <a:pt x="924" y="900"/>
                    </a:lnTo>
                    <a:lnTo>
                      <a:pt x="924" y="906"/>
                    </a:lnTo>
                    <a:lnTo>
                      <a:pt x="924" y="912"/>
                    </a:lnTo>
                    <a:lnTo>
                      <a:pt x="918" y="912"/>
                    </a:lnTo>
                    <a:lnTo>
                      <a:pt x="912" y="912"/>
                    </a:lnTo>
                    <a:lnTo>
                      <a:pt x="918" y="918"/>
                    </a:lnTo>
                    <a:lnTo>
                      <a:pt x="918" y="924"/>
                    </a:lnTo>
                    <a:lnTo>
                      <a:pt x="912" y="930"/>
                    </a:lnTo>
                    <a:lnTo>
                      <a:pt x="906" y="936"/>
                    </a:lnTo>
                    <a:lnTo>
                      <a:pt x="900" y="942"/>
                    </a:lnTo>
                    <a:lnTo>
                      <a:pt x="900" y="948"/>
                    </a:lnTo>
                    <a:lnTo>
                      <a:pt x="894" y="954"/>
                    </a:lnTo>
                    <a:lnTo>
                      <a:pt x="894" y="948"/>
                    </a:lnTo>
                    <a:lnTo>
                      <a:pt x="888" y="948"/>
                    </a:lnTo>
                    <a:lnTo>
                      <a:pt x="888" y="954"/>
                    </a:lnTo>
                    <a:lnTo>
                      <a:pt x="882" y="954"/>
                    </a:lnTo>
                    <a:lnTo>
                      <a:pt x="882" y="960"/>
                    </a:lnTo>
                    <a:lnTo>
                      <a:pt x="882" y="966"/>
                    </a:lnTo>
                    <a:lnTo>
                      <a:pt x="876" y="966"/>
                    </a:lnTo>
                    <a:lnTo>
                      <a:pt x="870" y="966"/>
                    </a:lnTo>
                    <a:lnTo>
                      <a:pt x="870" y="972"/>
                    </a:lnTo>
                    <a:lnTo>
                      <a:pt x="864" y="972"/>
                    </a:lnTo>
                    <a:lnTo>
                      <a:pt x="858" y="972"/>
                    </a:lnTo>
                    <a:lnTo>
                      <a:pt x="852" y="972"/>
                    </a:lnTo>
                    <a:lnTo>
                      <a:pt x="852" y="978"/>
                    </a:lnTo>
                    <a:lnTo>
                      <a:pt x="846" y="978"/>
                    </a:lnTo>
                    <a:lnTo>
                      <a:pt x="840" y="978"/>
                    </a:lnTo>
                    <a:lnTo>
                      <a:pt x="834" y="978"/>
                    </a:lnTo>
                    <a:lnTo>
                      <a:pt x="828" y="978"/>
                    </a:lnTo>
                    <a:lnTo>
                      <a:pt x="822" y="984"/>
                    </a:lnTo>
                    <a:lnTo>
                      <a:pt x="822" y="990"/>
                    </a:lnTo>
                    <a:lnTo>
                      <a:pt x="816" y="990"/>
                    </a:lnTo>
                    <a:lnTo>
                      <a:pt x="810" y="990"/>
                    </a:lnTo>
                    <a:lnTo>
                      <a:pt x="810" y="996"/>
                    </a:lnTo>
                    <a:lnTo>
                      <a:pt x="810" y="1002"/>
                    </a:lnTo>
                    <a:lnTo>
                      <a:pt x="804" y="1002"/>
                    </a:lnTo>
                    <a:lnTo>
                      <a:pt x="804" y="996"/>
                    </a:lnTo>
                    <a:lnTo>
                      <a:pt x="798" y="996"/>
                    </a:lnTo>
                    <a:lnTo>
                      <a:pt x="798" y="1002"/>
                    </a:lnTo>
                    <a:lnTo>
                      <a:pt x="798" y="1008"/>
                    </a:lnTo>
                    <a:lnTo>
                      <a:pt x="804" y="1014"/>
                    </a:lnTo>
                    <a:lnTo>
                      <a:pt x="804" y="1020"/>
                    </a:lnTo>
                    <a:lnTo>
                      <a:pt x="810" y="1020"/>
                    </a:lnTo>
                    <a:lnTo>
                      <a:pt x="810" y="1026"/>
                    </a:lnTo>
                    <a:lnTo>
                      <a:pt x="816" y="1026"/>
                    </a:lnTo>
                    <a:lnTo>
                      <a:pt x="816" y="1032"/>
                    </a:lnTo>
                    <a:lnTo>
                      <a:pt x="822" y="1038"/>
                    </a:lnTo>
                    <a:lnTo>
                      <a:pt x="822" y="1044"/>
                    </a:lnTo>
                    <a:lnTo>
                      <a:pt x="828" y="1056"/>
                    </a:lnTo>
                    <a:lnTo>
                      <a:pt x="828" y="1062"/>
                    </a:lnTo>
                    <a:lnTo>
                      <a:pt x="834" y="1068"/>
                    </a:lnTo>
                    <a:lnTo>
                      <a:pt x="840" y="1080"/>
                    </a:lnTo>
                    <a:lnTo>
                      <a:pt x="840" y="1086"/>
                    </a:lnTo>
                    <a:lnTo>
                      <a:pt x="840" y="1092"/>
                    </a:lnTo>
                    <a:lnTo>
                      <a:pt x="846" y="1104"/>
                    </a:lnTo>
                    <a:lnTo>
                      <a:pt x="846" y="1110"/>
                    </a:lnTo>
                    <a:lnTo>
                      <a:pt x="852" y="1116"/>
                    </a:lnTo>
                    <a:lnTo>
                      <a:pt x="858" y="1128"/>
                    </a:lnTo>
                    <a:lnTo>
                      <a:pt x="858" y="1134"/>
                    </a:lnTo>
                    <a:lnTo>
                      <a:pt x="876" y="1146"/>
                    </a:lnTo>
                    <a:lnTo>
                      <a:pt x="876" y="1152"/>
                    </a:lnTo>
                    <a:lnTo>
                      <a:pt x="882" y="1164"/>
                    </a:lnTo>
                    <a:lnTo>
                      <a:pt x="882" y="1170"/>
                    </a:lnTo>
                    <a:lnTo>
                      <a:pt x="882" y="1176"/>
                    </a:lnTo>
                    <a:lnTo>
                      <a:pt x="882" y="1182"/>
                    </a:lnTo>
                    <a:lnTo>
                      <a:pt x="894" y="1176"/>
                    </a:lnTo>
                    <a:lnTo>
                      <a:pt x="906" y="1176"/>
                    </a:lnTo>
                    <a:lnTo>
                      <a:pt x="906" y="1182"/>
                    </a:lnTo>
                    <a:lnTo>
                      <a:pt x="906" y="1188"/>
                    </a:lnTo>
                    <a:lnTo>
                      <a:pt x="900" y="1188"/>
                    </a:lnTo>
                    <a:lnTo>
                      <a:pt x="900" y="1194"/>
                    </a:lnTo>
                    <a:lnTo>
                      <a:pt x="894" y="1194"/>
                    </a:lnTo>
                    <a:lnTo>
                      <a:pt x="894" y="1200"/>
                    </a:lnTo>
                    <a:lnTo>
                      <a:pt x="894" y="1212"/>
                    </a:lnTo>
                    <a:lnTo>
                      <a:pt x="894" y="1218"/>
                    </a:lnTo>
                    <a:lnTo>
                      <a:pt x="900" y="1224"/>
                    </a:lnTo>
                    <a:lnTo>
                      <a:pt x="900" y="1230"/>
                    </a:lnTo>
                    <a:lnTo>
                      <a:pt x="906" y="1230"/>
                    </a:lnTo>
                    <a:lnTo>
                      <a:pt x="906" y="1236"/>
                    </a:lnTo>
                    <a:lnTo>
                      <a:pt x="900" y="1236"/>
                    </a:lnTo>
                    <a:lnTo>
                      <a:pt x="894" y="1236"/>
                    </a:lnTo>
                    <a:lnTo>
                      <a:pt x="888" y="1236"/>
                    </a:lnTo>
                    <a:lnTo>
                      <a:pt x="888" y="1242"/>
                    </a:lnTo>
                    <a:lnTo>
                      <a:pt x="888" y="1248"/>
                    </a:lnTo>
                    <a:lnTo>
                      <a:pt x="894" y="1248"/>
                    </a:lnTo>
                    <a:lnTo>
                      <a:pt x="900" y="1248"/>
                    </a:lnTo>
                    <a:lnTo>
                      <a:pt x="900" y="1254"/>
                    </a:lnTo>
                    <a:lnTo>
                      <a:pt x="900" y="1260"/>
                    </a:lnTo>
                    <a:lnTo>
                      <a:pt x="894" y="1260"/>
                    </a:lnTo>
                    <a:lnTo>
                      <a:pt x="888" y="1260"/>
                    </a:lnTo>
                    <a:lnTo>
                      <a:pt x="882" y="1260"/>
                    </a:lnTo>
                    <a:lnTo>
                      <a:pt x="876" y="1260"/>
                    </a:lnTo>
                    <a:lnTo>
                      <a:pt x="876" y="1266"/>
                    </a:lnTo>
                    <a:lnTo>
                      <a:pt x="882" y="1272"/>
                    </a:lnTo>
                    <a:lnTo>
                      <a:pt x="888" y="1272"/>
                    </a:lnTo>
                    <a:lnTo>
                      <a:pt x="888" y="1278"/>
                    </a:lnTo>
                    <a:lnTo>
                      <a:pt x="882" y="1278"/>
                    </a:lnTo>
                    <a:lnTo>
                      <a:pt x="876" y="1278"/>
                    </a:lnTo>
                    <a:lnTo>
                      <a:pt x="870" y="1278"/>
                    </a:lnTo>
                    <a:lnTo>
                      <a:pt x="870" y="1284"/>
                    </a:lnTo>
                    <a:lnTo>
                      <a:pt x="876" y="1284"/>
                    </a:lnTo>
                    <a:lnTo>
                      <a:pt x="876" y="1290"/>
                    </a:lnTo>
                    <a:lnTo>
                      <a:pt x="870" y="1290"/>
                    </a:lnTo>
                    <a:lnTo>
                      <a:pt x="870" y="1296"/>
                    </a:lnTo>
                    <a:lnTo>
                      <a:pt x="864" y="1296"/>
                    </a:lnTo>
                    <a:lnTo>
                      <a:pt x="858" y="1296"/>
                    </a:lnTo>
                    <a:lnTo>
                      <a:pt x="858" y="1290"/>
                    </a:lnTo>
                    <a:lnTo>
                      <a:pt x="852" y="1290"/>
                    </a:lnTo>
                    <a:lnTo>
                      <a:pt x="846" y="1290"/>
                    </a:lnTo>
                    <a:lnTo>
                      <a:pt x="840" y="1296"/>
                    </a:lnTo>
                    <a:lnTo>
                      <a:pt x="834" y="1296"/>
                    </a:lnTo>
                    <a:lnTo>
                      <a:pt x="828" y="1296"/>
                    </a:lnTo>
                    <a:lnTo>
                      <a:pt x="822" y="1296"/>
                    </a:lnTo>
                    <a:lnTo>
                      <a:pt x="822" y="1302"/>
                    </a:lnTo>
                    <a:lnTo>
                      <a:pt x="822" y="1308"/>
                    </a:lnTo>
                    <a:lnTo>
                      <a:pt x="816" y="1308"/>
                    </a:lnTo>
                    <a:lnTo>
                      <a:pt x="816" y="1314"/>
                    </a:lnTo>
                    <a:lnTo>
                      <a:pt x="810" y="1308"/>
                    </a:lnTo>
                    <a:lnTo>
                      <a:pt x="804" y="1302"/>
                    </a:lnTo>
                    <a:lnTo>
                      <a:pt x="804" y="1308"/>
                    </a:lnTo>
                    <a:lnTo>
                      <a:pt x="798" y="1308"/>
                    </a:lnTo>
                    <a:lnTo>
                      <a:pt x="792" y="1308"/>
                    </a:lnTo>
                    <a:lnTo>
                      <a:pt x="786" y="1308"/>
                    </a:lnTo>
                    <a:lnTo>
                      <a:pt x="780" y="1308"/>
                    </a:lnTo>
                    <a:lnTo>
                      <a:pt x="780" y="1314"/>
                    </a:lnTo>
                    <a:lnTo>
                      <a:pt x="786" y="1314"/>
                    </a:lnTo>
                    <a:lnTo>
                      <a:pt x="786" y="1320"/>
                    </a:lnTo>
                    <a:lnTo>
                      <a:pt x="792" y="1320"/>
                    </a:lnTo>
                    <a:lnTo>
                      <a:pt x="792" y="1326"/>
                    </a:lnTo>
                    <a:lnTo>
                      <a:pt x="792" y="1332"/>
                    </a:lnTo>
                    <a:lnTo>
                      <a:pt x="786" y="1326"/>
                    </a:lnTo>
                    <a:lnTo>
                      <a:pt x="780" y="1326"/>
                    </a:lnTo>
                    <a:lnTo>
                      <a:pt x="774" y="1326"/>
                    </a:lnTo>
                    <a:lnTo>
                      <a:pt x="774" y="1332"/>
                    </a:lnTo>
                    <a:lnTo>
                      <a:pt x="768" y="1332"/>
                    </a:lnTo>
                    <a:lnTo>
                      <a:pt x="762" y="1338"/>
                    </a:lnTo>
                    <a:lnTo>
                      <a:pt x="762" y="1344"/>
                    </a:lnTo>
                    <a:lnTo>
                      <a:pt x="762" y="1350"/>
                    </a:lnTo>
                    <a:lnTo>
                      <a:pt x="756" y="1350"/>
                    </a:lnTo>
                    <a:lnTo>
                      <a:pt x="750" y="1350"/>
                    </a:lnTo>
                    <a:lnTo>
                      <a:pt x="744" y="1350"/>
                    </a:lnTo>
                    <a:lnTo>
                      <a:pt x="744" y="1356"/>
                    </a:lnTo>
                    <a:lnTo>
                      <a:pt x="738" y="1356"/>
                    </a:lnTo>
                    <a:lnTo>
                      <a:pt x="732" y="1356"/>
                    </a:lnTo>
                    <a:lnTo>
                      <a:pt x="732" y="1350"/>
                    </a:lnTo>
                    <a:lnTo>
                      <a:pt x="726" y="1344"/>
                    </a:lnTo>
                    <a:lnTo>
                      <a:pt x="720" y="1344"/>
                    </a:lnTo>
                    <a:lnTo>
                      <a:pt x="714" y="1344"/>
                    </a:lnTo>
                    <a:lnTo>
                      <a:pt x="714" y="1350"/>
                    </a:lnTo>
                    <a:lnTo>
                      <a:pt x="708" y="1350"/>
                    </a:lnTo>
                    <a:lnTo>
                      <a:pt x="702" y="1350"/>
                    </a:lnTo>
                    <a:lnTo>
                      <a:pt x="696" y="1350"/>
                    </a:lnTo>
                    <a:lnTo>
                      <a:pt x="696" y="1356"/>
                    </a:lnTo>
                    <a:lnTo>
                      <a:pt x="690" y="1356"/>
                    </a:lnTo>
                    <a:lnTo>
                      <a:pt x="690" y="1350"/>
                    </a:lnTo>
                    <a:lnTo>
                      <a:pt x="684" y="1350"/>
                    </a:lnTo>
                    <a:lnTo>
                      <a:pt x="684" y="1356"/>
                    </a:lnTo>
                    <a:lnTo>
                      <a:pt x="678" y="1356"/>
                    </a:lnTo>
                    <a:lnTo>
                      <a:pt x="672" y="1356"/>
                    </a:lnTo>
                    <a:lnTo>
                      <a:pt x="672" y="1350"/>
                    </a:lnTo>
                    <a:lnTo>
                      <a:pt x="678" y="1350"/>
                    </a:lnTo>
                    <a:lnTo>
                      <a:pt x="672" y="1350"/>
                    </a:lnTo>
                    <a:lnTo>
                      <a:pt x="666" y="1350"/>
                    </a:lnTo>
                    <a:lnTo>
                      <a:pt x="660" y="1350"/>
                    </a:lnTo>
                    <a:lnTo>
                      <a:pt x="654" y="1350"/>
                    </a:lnTo>
                    <a:lnTo>
                      <a:pt x="648" y="1350"/>
                    </a:lnTo>
                    <a:lnTo>
                      <a:pt x="648" y="1344"/>
                    </a:lnTo>
                    <a:lnTo>
                      <a:pt x="642" y="1344"/>
                    </a:lnTo>
                    <a:lnTo>
                      <a:pt x="636" y="1344"/>
                    </a:lnTo>
                    <a:lnTo>
                      <a:pt x="636" y="1338"/>
                    </a:lnTo>
                    <a:lnTo>
                      <a:pt x="630" y="1338"/>
                    </a:lnTo>
                    <a:lnTo>
                      <a:pt x="630" y="1332"/>
                    </a:lnTo>
                    <a:lnTo>
                      <a:pt x="630" y="1326"/>
                    </a:lnTo>
                    <a:lnTo>
                      <a:pt x="630" y="1320"/>
                    </a:lnTo>
                    <a:lnTo>
                      <a:pt x="624" y="1320"/>
                    </a:lnTo>
                    <a:lnTo>
                      <a:pt x="618" y="1320"/>
                    </a:lnTo>
                    <a:lnTo>
                      <a:pt x="618" y="1314"/>
                    </a:lnTo>
                    <a:lnTo>
                      <a:pt x="612" y="1314"/>
                    </a:lnTo>
                    <a:lnTo>
                      <a:pt x="612" y="1320"/>
                    </a:lnTo>
                    <a:lnTo>
                      <a:pt x="606" y="1320"/>
                    </a:lnTo>
                    <a:lnTo>
                      <a:pt x="606" y="1314"/>
                    </a:lnTo>
                    <a:lnTo>
                      <a:pt x="600" y="1314"/>
                    </a:lnTo>
                    <a:lnTo>
                      <a:pt x="600" y="1320"/>
                    </a:lnTo>
                    <a:lnTo>
                      <a:pt x="594" y="1320"/>
                    </a:lnTo>
                    <a:lnTo>
                      <a:pt x="588" y="1320"/>
                    </a:lnTo>
                    <a:lnTo>
                      <a:pt x="582" y="1320"/>
                    </a:lnTo>
                    <a:lnTo>
                      <a:pt x="576" y="1320"/>
                    </a:lnTo>
                    <a:lnTo>
                      <a:pt x="570" y="1320"/>
                    </a:lnTo>
                    <a:lnTo>
                      <a:pt x="570" y="1314"/>
                    </a:lnTo>
                    <a:lnTo>
                      <a:pt x="564" y="1308"/>
                    </a:lnTo>
                    <a:lnTo>
                      <a:pt x="558" y="1308"/>
                    </a:lnTo>
                    <a:lnTo>
                      <a:pt x="558" y="1302"/>
                    </a:lnTo>
                    <a:lnTo>
                      <a:pt x="552" y="1302"/>
                    </a:lnTo>
                    <a:lnTo>
                      <a:pt x="546" y="1302"/>
                    </a:lnTo>
                    <a:lnTo>
                      <a:pt x="546" y="1296"/>
                    </a:lnTo>
                    <a:lnTo>
                      <a:pt x="546" y="1290"/>
                    </a:lnTo>
                    <a:lnTo>
                      <a:pt x="540" y="1290"/>
                    </a:lnTo>
                    <a:lnTo>
                      <a:pt x="534" y="1290"/>
                    </a:lnTo>
                    <a:lnTo>
                      <a:pt x="528" y="1290"/>
                    </a:lnTo>
                    <a:lnTo>
                      <a:pt x="528" y="1296"/>
                    </a:lnTo>
                    <a:lnTo>
                      <a:pt x="534" y="1296"/>
                    </a:lnTo>
                    <a:lnTo>
                      <a:pt x="534" y="1302"/>
                    </a:lnTo>
                    <a:lnTo>
                      <a:pt x="528" y="1302"/>
                    </a:lnTo>
                    <a:lnTo>
                      <a:pt x="522" y="1308"/>
                    </a:lnTo>
                    <a:lnTo>
                      <a:pt x="522" y="1302"/>
                    </a:lnTo>
                    <a:lnTo>
                      <a:pt x="516" y="1302"/>
                    </a:lnTo>
                    <a:lnTo>
                      <a:pt x="516" y="1296"/>
                    </a:lnTo>
                    <a:lnTo>
                      <a:pt x="510" y="1296"/>
                    </a:lnTo>
                    <a:lnTo>
                      <a:pt x="504" y="1296"/>
                    </a:lnTo>
                    <a:lnTo>
                      <a:pt x="504" y="1302"/>
                    </a:lnTo>
                    <a:lnTo>
                      <a:pt x="498" y="1302"/>
                    </a:lnTo>
                    <a:lnTo>
                      <a:pt x="492" y="1302"/>
                    </a:lnTo>
                    <a:lnTo>
                      <a:pt x="486" y="1302"/>
                    </a:lnTo>
                    <a:lnTo>
                      <a:pt x="486" y="1308"/>
                    </a:lnTo>
                    <a:lnTo>
                      <a:pt x="480" y="1308"/>
                    </a:lnTo>
                    <a:lnTo>
                      <a:pt x="480" y="1314"/>
                    </a:lnTo>
                    <a:lnTo>
                      <a:pt x="474" y="1314"/>
                    </a:lnTo>
                    <a:lnTo>
                      <a:pt x="468" y="1314"/>
                    </a:lnTo>
                    <a:lnTo>
                      <a:pt x="468" y="1308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50" y="1308"/>
                    </a:lnTo>
                    <a:lnTo>
                      <a:pt x="450" y="1314"/>
                    </a:lnTo>
                    <a:lnTo>
                      <a:pt x="450" y="1320"/>
                    </a:lnTo>
                    <a:lnTo>
                      <a:pt x="456" y="1320"/>
                    </a:lnTo>
                    <a:lnTo>
                      <a:pt x="456" y="1326"/>
                    </a:lnTo>
                    <a:lnTo>
                      <a:pt x="450" y="1326"/>
                    </a:lnTo>
                    <a:lnTo>
                      <a:pt x="450" y="1332"/>
                    </a:lnTo>
                    <a:lnTo>
                      <a:pt x="444" y="1332"/>
                    </a:lnTo>
                    <a:lnTo>
                      <a:pt x="444" y="1338"/>
                    </a:lnTo>
                    <a:lnTo>
                      <a:pt x="438" y="1338"/>
                    </a:lnTo>
                    <a:lnTo>
                      <a:pt x="432" y="1344"/>
                    </a:lnTo>
                    <a:lnTo>
                      <a:pt x="426" y="1344"/>
                    </a:lnTo>
                    <a:lnTo>
                      <a:pt x="426" y="1350"/>
                    </a:lnTo>
                    <a:lnTo>
                      <a:pt x="420" y="1350"/>
                    </a:lnTo>
                    <a:lnTo>
                      <a:pt x="414" y="1350"/>
                    </a:lnTo>
                    <a:lnTo>
                      <a:pt x="414" y="1356"/>
                    </a:lnTo>
                    <a:lnTo>
                      <a:pt x="408" y="1356"/>
                    </a:lnTo>
                    <a:lnTo>
                      <a:pt x="408" y="1350"/>
                    </a:lnTo>
                    <a:lnTo>
                      <a:pt x="402" y="1350"/>
                    </a:lnTo>
                    <a:lnTo>
                      <a:pt x="396" y="1350"/>
                    </a:lnTo>
                    <a:lnTo>
                      <a:pt x="390" y="1344"/>
                    </a:lnTo>
                    <a:lnTo>
                      <a:pt x="384" y="1344"/>
                    </a:lnTo>
                    <a:lnTo>
                      <a:pt x="378" y="1344"/>
                    </a:lnTo>
                    <a:lnTo>
                      <a:pt x="378" y="1338"/>
                    </a:lnTo>
                    <a:lnTo>
                      <a:pt x="378" y="1332"/>
                    </a:lnTo>
                    <a:lnTo>
                      <a:pt x="378" y="1326"/>
                    </a:lnTo>
                    <a:lnTo>
                      <a:pt x="372" y="1326"/>
                    </a:lnTo>
                    <a:lnTo>
                      <a:pt x="366" y="1326"/>
                    </a:lnTo>
                    <a:lnTo>
                      <a:pt x="360" y="1326"/>
                    </a:lnTo>
                    <a:lnTo>
                      <a:pt x="354" y="1326"/>
                    </a:lnTo>
                    <a:lnTo>
                      <a:pt x="348" y="1326"/>
                    </a:lnTo>
                    <a:lnTo>
                      <a:pt x="348" y="1332"/>
                    </a:lnTo>
                    <a:lnTo>
                      <a:pt x="342" y="1332"/>
                    </a:lnTo>
                    <a:lnTo>
                      <a:pt x="336" y="1332"/>
                    </a:lnTo>
                    <a:lnTo>
                      <a:pt x="330" y="1332"/>
                    </a:lnTo>
                    <a:lnTo>
                      <a:pt x="330" y="1326"/>
                    </a:lnTo>
                    <a:lnTo>
                      <a:pt x="324" y="1326"/>
                    </a:lnTo>
                    <a:lnTo>
                      <a:pt x="324" y="1320"/>
                    </a:lnTo>
                    <a:lnTo>
                      <a:pt x="318" y="1320"/>
                    </a:lnTo>
                    <a:lnTo>
                      <a:pt x="318" y="1314"/>
                    </a:lnTo>
                    <a:lnTo>
                      <a:pt x="312" y="1314"/>
                    </a:lnTo>
                    <a:lnTo>
                      <a:pt x="312" y="1308"/>
                    </a:lnTo>
                    <a:lnTo>
                      <a:pt x="306" y="1308"/>
                    </a:lnTo>
                    <a:lnTo>
                      <a:pt x="300" y="1308"/>
                    </a:lnTo>
                    <a:lnTo>
                      <a:pt x="294" y="1308"/>
                    </a:lnTo>
                    <a:lnTo>
                      <a:pt x="288" y="1308"/>
                    </a:lnTo>
                    <a:lnTo>
                      <a:pt x="282" y="1308"/>
                    </a:lnTo>
                    <a:lnTo>
                      <a:pt x="282" y="1302"/>
                    </a:lnTo>
                    <a:lnTo>
                      <a:pt x="276" y="1302"/>
                    </a:lnTo>
                    <a:lnTo>
                      <a:pt x="276" y="1296"/>
                    </a:lnTo>
                    <a:lnTo>
                      <a:pt x="276" y="1290"/>
                    </a:lnTo>
                    <a:lnTo>
                      <a:pt x="270" y="1290"/>
                    </a:lnTo>
                    <a:lnTo>
                      <a:pt x="264" y="1284"/>
                    </a:lnTo>
                    <a:lnTo>
                      <a:pt x="258" y="1284"/>
                    </a:lnTo>
                    <a:lnTo>
                      <a:pt x="258" y="1278"/>
                    </a:lnTo>
                    <a:lnTo>
                      <a:pt x="252" y="1278"/>
                    </a:lnTo>
                    <a:lnTo>
                      <a:pt x="246" y="1278"/>
                    </a:lnTo>
                    <a:lnTo>
                      <a:pt x="246" y="1272"/>
                    </a:lnTo>
                    <a:lnTo>
                      <a:pt x="240" y="1266"/>
                    </a:lnTo>
                    <a:lnTo>
                      <a:pt x="240" y="1260"/>
                    </a:lnTo>
                    <a:lnTo>
                      <a:pt x="240" y="1254"/>
                    </a:lnTo>
                    <a:lnTo>
                      <a:pt x="234" y="1254"/>
                    </a:lnTo>
                    <a:lnTo>
                      <a:pt x="228" y="1254"/>
                    </a:lnTo>
                    <a:lnTo>
                      <a:pt x="228" y="1248"/>
                    </a:lnTo>
                    <a:lnTo>
                      <a:pt x="222" y="1248"/>
                    </a:lnTo>
                    <a:lnTo>
                      <a:pt x="222" y="1242"/>
                    </a:lnTo>
                    <a:lnTo>
                      <a:pt x="216" y="1242"/>
                    </a:lnTo>
                    <a:lnTo>
                      <a:pt x="216" y="1236"/>
                    </a:lnTo>
                    <a:lnTo>
                      <a:pt x="210" y="1236"/>
                    </a:lnTo>
                    <a:lnTo>
                      <a:pt x="210" y="1230"/>
                    </a:lnTo>
                    <a:lnTo>
                      <a:pt x="204" y="1224"/>
                    </a:lnTo>
                    <a:lnTo>
                      <a:pt x="204" y="1218"/>
                    </a:lnTo>
                    <a:lnTo>
                      <a:pt x="198" y="1218"/>
                    </a:lnTo>
                    <a:lnTo>
                      <a:pt x="198" y="1212"/>
                    </a:lnTo>
                    <a:lnTo>
                      <a:pt x="192" y="1212"/>
                    </a:lnTo>
                    <a:lnTo>
                      <a:pt x="186" y="1206"/>
                    </a:lnTo>
                    <a:lnTo>
                      <a:pt x="186" y="1200"/>
                    </a:lnTo>
                    <a:lnTo>
                      <a:pt x="180" y="1200"/>
                    </a:lnTo>
                    <a:lnTo>
                      <a:pt x="180" y="1194"/>
                    </a:lnTo>
                    <a:lnTo>
                      <a:pt x="180" y="1188"/>
                    </a:lnTo>
                    <a:lnTo>
                      <a:pt x="174" y="1188"/>
                    </a:lnTo>
                    <a:lnTo>
                      <a:pt x="174" y="1182"/>
                    </a:lnTo>
                    <a:lnTo>
                      <a:pt x="168" y="1182"/>
                    </a:lnTo>
                    <a:lnTo>
                      <a:pt x="162" y="1182"/>
                    </a:lnTo>
                    <a:lnTo>
                      <a:pt x="162" y="1176"/>
                    </a:lnTo>
                    <a:lnTo>
                      <a:pt x="162" y="1170"/>
                    </a:lnTo>
                    <a:lnTo>
                      <a:pt x="156" y="1170"/>
                    </a:lnTo>
                    <a:lnTo>
                      <a:pt x="156" y="1164"/>
                    </a:lnTo>
                    <a:lnTo>
                      <a:pt x="156" y="1158"/>
                    </a:lnTo>
                    <a:lnTo>
                      <a:pt x="150" y="1158"/>
                    </a:lnTo>
                    <a:lnTo>
                      <a:pt x="150" y="1152"/>
                    </a:lnTo>
                    <a:lnTo>
                      <a:pt x="150" y="1146"/>
                    </a:lnTo>
                    <a:lnTo>
                      <a:pt x="144" y="1146"/>
                    </a:lnTo>
                    <a:lnTo>
                      <a:pt x="144" y="1140"/>
                    </a:lnTo>
                    <a:lnTo>
                      <a:pt x="144" y="1134"/>
                    </a:lnTo>
                    <a:lnTo>
                      <a:pt x="138" y="1134"/>
                    </a:lnTo>
                    <a:lnTo>
                      <a:pt x="138" y="1128"/>
                    </a:lnTo>
                    <a:lnTo>
                      <a:pt x="138" y="1122"/>
                    </a:lnTo>
                    <a:lnTo>
                      <a:pt x="132" y="1116"/>
                    </a:lnTo>
                    <a:lnTo>
                      <a:pt x="126" y="1116"/>
                    </a:lnTo>
                    <a:lnTo>
                      <a:pt x="120" y="1116"/>
                    </a:lnTo>
                    <a:lnTo>
                      <a:pt x="114" y="1116"/>
                    </a:lnTo>
                    <a:lnTo>
                      <a:pt x="108" y="1116"/>
                    </a:lnTo>
                    <a:lnTo>
                      <a:pt x="108" y="1110"/>
                    </a:lnTo>
                    <a:lnTo>
                      <a:pt x="102" y="1110"/>
                    </a:lnTo>
                    <a:lnTo>
                      <a:pt x="102" y="1104"/>
                    </a:lnTo>
                    <a:lnTo>
                      <a:pt x="96" y="1104"/>
                    </a:lnTo>
                    <a:lnTo>
                      <a:pt x="96" y="1098"/>
                    </a:lnTo>
                    <a:lnTo>
                      <a:pt x="96" y="1092"/>
                    </a:lnTo>
                    <a:lnTo>
                      <a:pt x="96" y="1086"/>
                    </a:lnTo>
                    <a:lnTo>
                      <a:pt x="90" y="1086"/>
                    </a:lnTo>
                    <a:lnTo>
                      <a:pt x="84" y="1086"/>
                    </a:lnTo>
                    <a:lnTo>
                      <a:pt x="78" y="1086"/>
                    </a:lnTo>
                    <a:lnTo>
                      <a:pt x="78" y="1080"/>
                    </a:lnTo>
                    <a:lnTo>
                      <a:pt x="72" y="1080"/>
                    </a:lnTo>
                    <a:lnTo>
                      <a:pt x="72" y="1074"/>
                    </a:lnTo>
                    <a:lnTo>
                      <a:pt x="66" y="1074"/>
                    </a:lnTo>
                    <a:lnTo>
                      <a:pt x="66" y="1068"/>
                    </a:lnTo>
                    <a:lnTo>
                      <a:pt x="60" y="1062"/>
                    </a:lnTo>
                    <a:lnTo>
                      <a:pt x="54" y="1062"/>
                    </a:lnTo>
                    <a:lnTo>
                      <a:pt x="48" y="1062"/>
                    </a:lnTo>
                    <a:lnTo>
                      <a:pt x="48" y="1056"/>
                    </a:lnTo>
                    <a:lnTo>
                      <a:pt x="42" y="1056"/>
                    </a:lnTo>
                    <a:lnTo>
                      <a:pt x="42" y="1050"/>
                    </a:lnTo>
                    <a:lnTo>
                      <a:pt x="36" y="1050"/>
                    </a:lnTo>
                    <a:lnTo>
                      <a:pt x="30" y="1050"/>
                    </a:lnTo>
                    <a:lnTo>
                      <a:pt x="24" y="1050"/>
                    </a:lnTo>
                    <a:lnTo>
                      <a:pt x="24" y="1044"/>
                    </a:lnTo>
                    <a:lnTo>
                      <a:pt x="18" y="1044"/>
                    </a:lnTo>
                    <a:lnTo>
                      <a:pt x="18" y="1038"/>
                    </a:lnTo>
                    <a:lnTo>
                      <a:pt x="18" y="1032"/>
                    </a:lnTo>
                    <a:lnTo>
                      <a:pt x="12" y="1032"/>
                    </a:lnTo>
                    <a:lnTo>
                      <a:pt x="12" y="1026"/>
                    </a:lnTo>
                    <a:lnTo>
                      <a:pt x="6" y="1026"/>
                    </a:lnTo>
                    <a:lnTo>
                      <a:pt x="6" y="1020"/>
                    </a:lnTo>
                    <a:lnTo>
                      <a:pt x="6" y="1014"/>
                    </a:lnTo>
                    <a:lnTo>
                      <a:pt x="6" y="1008"/>
                    </a:lnTo>
                    <a:lnTo>
                      <a:pt x="0" y="1002"/>
                    </a:lnTo>
                    <a:lnTo>
                      <a:pt x="6" y="996"/>
                    </a:lnTo>
                    <a:lnTo>
                      <a:pt x="6" y="990"/>
                    </a:lnTo>
                    <a:lnTo>
                      <a:pt x="12" y="990"/>
                    </a:lnTo>
                    <a:lnTo>
                      <a:pt x="12" y="984"/>
                    </a:lnTo>
                    <a:lnTo>
                      <a:pt x="12" y="978"/>
                    </a:lnTo>
                    <a:lnTo>
                      <a:pt x="18" y="972"/>
                    </a:lnTo>
                    <a:lnTo>
                      <a:pt x="18" y="966"/>
                    </a:lnTo>
                    <a:lnTo>
                      <a:pt x="24" y="960"/>
                    </a:lnTo>
                    <a:lnTo>
                      <a:pt x="24" y="954"/>
                    </a:lnTo>
                    <a:lnTo>
                      <a:pt x="24" y="948"/>
                    </a:lnTo>
                    <a:lnTo>
                      <a:pt x="30" y="948"/>
                    </a:lnTo>
                    <a:lnTo>
                      <a:pt x="30" y="942"/>
                    </a:lnTo>
                    <a:lnTo>
                      <a:pt x="30" y="936"/>
                    </a:lnTo>
                    <a:lnTo>
                      <a:pt x="36" y="930"/>
                    </a:lnTo>
                    <a:lnTo>
                      <a:pt x="36" y="924"/>
                    </a:lnTo>
                    <a:lnTo>
                      <a:pt x="42" y="924"/>
                    </a:lnTo>
                    <a:lnTo>
                      <a:pt x="42" y="918"/>
                    </a:lnTo>
                    <a:lnTo>
                      <a:pt x="42" y="912"/>
                    </a:lnTo>
                    <a:lnTo>
                      <a:pt x="48" y="906"/>
                    </a:lnTo>
                    <a:lnTo>
                      <a:pt x="48" y="900"/>
                    </a:lnTo>
                    <a:lnTo>
                      <a:pt x="54" y="894"/>
                    </a:lnTo>
                    <a:lnTo>
                      <a:pt x="54" y="888"/>
                    </a:lnTo>
                    <a:lnTo>
                      <a:pt x="54" y="882"/>
                    </a:lnTo>
                    <a:lnTo>
                      <a:pt x="60" y="882"/>
                    </a:lnTo>
                    <a:lnTo>
                      <a:pt x="60" y="876"/>
                    </a:lnTo>
                    <a:lnTo>
                      <a:pt x="66" y="870"/>
                    </a:lnTo>
                    <a:lnTo>
                      <a:pt x="66" y="864"/>
                    </a:lnTo>
                    <a:lnTo>
                      <a:pt x="66" y="858"/>
                    </a:lnTo>
                    <a:lnTo>
                      <a:pt x="72" y="858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8" y="840"/>
                    </a:lnTo>
                    <a:lnTo>
                      <a:pt x="84" y="834"/>
                    </a:lnTo>
                    <a:lnTo>
                      <a:pt x="84" y="828"/>
                    </a:lnTo>
                    <a:lnTo>
                      <a:pt x="84" y="822"/>
                    </a:lnTo>
                    <a:lnTo>
                      <a:pt x="90" y="816"/>
                    </a:lnTo>
                    <a:lnTo>
                      <a:pt x="90" y="810"/>
                    </a:lnTo>
                    <a:lnTo>
                      <a:pt x="96" y="804"/>
                    </a:lnTo>
                    <a:lnTo>
                      <a:pt x="96" y="798"/>
                    </a:lnTo>
                    <a:lnTo>
                      <a:pt x="102" y="792"/>
                    </a:lnTo>
                    <a:lnTo>
                      <a:pt x="102" y="786"/>
                    </a:lnTo>
                    <a:lnTo>
                      <a:pt x="108" y="780"/>
                    </a:lnTo>
                    <a:lnTo>
                      <a:pt x="108" y="774"/>
                    </a:lnTo>
                    <a:lnTo>
                      <a:pt x="108" y="768"/>
                    </a:lnTo>
                    <a:lnTo>
                      <a:pt x="114" y="762"/>
                    </a:lnTo>
                    <a:lnTo>
                      <a:pt x="114" y="756"/>
                    </a:lnTo>
                    <a:lnTo>
                      <a:pt x="120" y="750"/>
                    </a:lnTo>
                    <a:lnTo>
                      <a:pt x="120" y="744"/>
                    </a:lnTo>
                    <a:lnTo>
                      <a:pt x="126" y="744"/>
                    </a:lnTo>
                    <a:lnTo>
                      <a:pt x="126" y="738"/>
                    </a:lnTo>
                    <a:lnTo>
                      <a:pt x="126" y="732"/>
                    </a:lnTo>
                    <a:lnTo>
                      <a:pt x="132" y="726"/>
                    </a:lnTo>
                    <a:lnTo>
                      <a:pt x="132" y="720"/>
                    </a:lnTo>
                    <a:lnTo>
                      <a:pt x="138" y="714"/>
                    </a:lnTo>
                    <a:lnTo>
                      <a:pt x="138" y="708"/>
                    </a:lnTo>
                    <a:lnTo>
                      <a:pt x="138" y="702"/>
                    </a:lnTo>
                    <a:lnTo>
                      <a:pt x="144" y="702"/>
                    </a:lnTo>
                    <a:lnTo>
                      <a:pt x="144" y="696"/>
                    </a:lnTo>
                    <a:lnTo>
                      <a:pt x="144" y="690"/>
                    </a:lnTo>
                    <a:lnTo>
                      <a:pt x="150" y="684"/>
                    </a:lnTo>
                    <a:lnTo>
                      <a:pt x="150" y="678"/>
                    </a:lnTo>
                    <a:lnTo>
                      <a:pt x="156" y="678"/>
                    </a:lnTo>
                    <a:lnTo>
                      <a:pt x="156" y="672"/>
                    </a:lnTo>
                    <a:lnTo>
                      <a:pt x="156" y="666"/>
                    </a:lnTo>
                    <a:lnTo>
                      <a:pt x="162" y="660"/>
                    </a:lnTo>
                    <a:lnTo>
                      <a:pt x="162" y="654"/>
                    </a:lnTo>
                    <a:lnTo>
                      <a:pt x="156" y="654"/>
                    </a:lnTo>
                    <a:lnTo>
                      <a:pt x="150" y="654"/>
                    </a:lnTo>
                    <a:lnTo>
                      <a:pt x="144" y="648"/>
                    </a:lnTo>
                    <a:lnTo>
                      <a:pt x="150" y="642"/>
                    </a:lnTo>
                    <a:lnTo>
                      <a:pt x="150" y="636"/>
                    </a:lnTo>
                    <a:lnTo>
                      <a:pt x="150" y="630"/>
                    </a:lnTo>
                    <a:lnTo>
                      <a:pt x="150" y="624"/>
                    </a:lnTo>
                    <a:lnTo>
                      <a:pt x="150" y="618"/>
                    </a:lnTo>
                    <a:lnTo>
                      <a:pt x="156" y="612"/>
                    </a:lnTo>
                    <a:lnTo>
                      <a:pt x="150" y="606"/>
                    </a:lnTo>
                    <a:lnTo>
                      <a:pt x="156" y="600"/>
                    </a:lnTo>
                    <a:lnTo>
                      <a:pt x="162" y="594"/>
                    </a:lnTo>
                    <a:lnTo>
                      <a:pt x="162" y="588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68" y="576"/>
                    </a:lnTo>
                    <a:lnTo>
                      <a:pt x="168" y="570"/>
                    </a:lnTo>
                    <a:lnTo>
                      <a:pt x="168" y="564"/>
                    </a:lnTo>
                    <a:lnTo>
                      <a:pt x="174" y="558"/>
                    </a:lnTo>
                    <a:lnTo>
                      <a:pt x="174" y="552"/>
                    </a:lnTo>
                    <a:lnTo>
                      <a:pt x="174" y="546"/>
                    </a:lnTo>
                    <a:lnTo>
                      <a:pt x="168" y="546"/>
                    </a:lnTo>
                    <a:lnTo>
                      <a:pt x="168" y="540"/>
                    </a:lnTo>
                    <a:lnTo>
                      <a:pt x="162" y="540"/>
                    </a:lnTo>
                    <a:lnTo>
                      <a:pt x="162" y="534"/>
                    </a:lnTo>
                    <a:lnTo>
                      <a:pt x="174" y="534"/>
                    </a:lnTo>
                    <a:lnTo>
                      <a:pt x="174" y="522"/>
                    </a:lnTo>
                    <a:lnTo>
                      <a:pt x="186" y="522"/>
                    </a:lnTo>
                    <a:lnTo>
                      <a:pt x="186" y="516"/>
                    </a:lnTo>
                    <a:lnTo>
                      <a:pt x="192" y="510"/>
                    </a:lnTo>
                    <a:lnTo>
                      <a:pt x="192" y="504"/>
                    </a:lnTo>
                    <a:lnTo>
                      <a:pt x="192" y="498"/>
                    </a:lnTo>
                    <a:lnTo>
                      <a:pt x="192" y="492"/>
                    </a:lnTo>
                    <a:lnTo>
                      <a:pt x="198" y="492"/>
                    </a:lnTo>
                    <a:lnTo>
                      <a:pt x="198" y="486"/>
                    </a:lnTo>
                    <a:lnTo>
                      <a:pt x="198" y="480"/>
                    </a:lnTo>
                    <a:lnTo>
                      <a:pt x="192" y="468"/>
                    </a:lnTo>
                    <a:lnTo>
                      <a:pt x="198" y="468"/>
                    </a:lnTo>
                    <a:lnTo>
                      <a:pt x="198" y="462"/>
                    </a:lnTo>
                    <a:lnTo>
                      <a:pt x="204" y="462"/>
                    </a:lnTo>
                    <a:lnTo>
                      <a:pt x="210" y="462"/>
                    </a:lnTo>
                    <a:lnTo>
                      <a:pt x="216" y="462"/>
                    </a:lnTo>
                    <a:lnTo>
                      <a:pt x="216" y="456"/>
                    </a:lnTo>
                    <a:lnTo>
                      <a:pt x="222" y="450"/>
                    </a:lnTo>
                    <a:lnTo>
                      <a:pt x="222" y="444"/>
                    </a:lnTo>
                    <a:lnTo>
                      <a:pt x="228" y="444"/>
                    </a:lnTo>
                    <a:lnTo>
                      <a:pt x="228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34" y="426"/>
                    </a:lnTo>
                    <a:lnTo>
                      <a:pt x="234" y="420"/>
                    </a:lnTo>
                    <a:lnTo>
                      <a:pt x="234" y="414"/>
                    </a:lnTo>
                    <a:lnTo>
                      <a:pt x="240" y="414"/>
                    </a:lnTo>
                    <a:lnTo>
                      <a:pt x="246" y="414"/>
                    </a:lnTo>
                    <a:lnTo>
                      <a:pt x="252" y="414"/>
                    </a:lnTo>
                    <a:lnTo>
                      <a:pt x="252" y="408"/>
                    </a:lnTo>
                    <a:lnTo>
                      <a:pt x="258" y="408"/>
                    </a:lnTo>
                    <a:lnTo>
                      <a:pt x="258" y="402"/>
                    </a:lnTo>
                    <a:lnTo>
                      <a:pt x="264" y="402"/>
                    </a:lnTo>
                    <a:lnTo>
                      <a:pt x="264" y="396"/>
                    </a:lnTo>
                    <a:lnTo>
                      <a:pt x="270" y="396"/>
                    </a:lnTo>
                    <a:lnTo>
                      <a:pt x="270" y="390"/>
                    </a:lnTo>
                    <a:lnTo>
                      <a:pt x="270" y="384"/>
                    </a:lnTo>
                    <a:lnTo>
                      <a:pt x="270" y="378"/>
                    </a:lnTo>
                    <a:lnTo>
                      <a:pt x="276" y="378"/>
                    </a:lnTo>
                    <a:lnTo>
                      <a:pt x="276" y="372"/>
                    </a:lnTo>
                    <a:lnTo>
                      <a:pt x="282" y="372"/>
                    </a:lnTo>
                    <a:lnTo>
                      <a:pt x="282" y="366"/>
                    </a:lnTo>
                    <a:lnTo>
                      <a:pt x="288" y="366"/>
                    </a:lnTo>
                    <a:lnTo>
                      <a:pt x="294" y="366"/>
                    </a:lnTo>
                    <a:lnTo>
                      <a:pt x="300" y="366"/>
                    </a:lnTo>
                    <a:lnTo>
                      <a:pt x="300" y="360"/>
                    </a:lnTo>
                    <a:lnTo>
                      <a:pt x="306" y="360"/>
                    </a:lnTo>
                    <a:lnTo>
                      <a:pt x="306" y="354"/>
                    </a:lnTo>
                    <a:lnTo>
                      <a:pt x="312" y="354"/>
                    </a:lnTo>
                    <a:lnTo>
                      <a:pt x="312" y="348"/>
                    </a:lnTo>
                    <a:lnTo>
                      <a:pt x="318" y="348"/>
                    </a:lnTo>
                    <a:lnTo>
                      <a:pt x="324" y="342"/>
                    </a:lnTo>
                    <a:lnTo>
                      <a:pt x="330" y="342"/>
                    </a:lnTo>
                    <a:lnTo>
                      <a:pt x="336" y="342"/>
                    </a:lnTo>
                    <a:lnTo>
                      <a:pt x="342" y="342"/>
                    </a:lnTo>
                    <a:lnTo>
                      <a:pt x="342" y="336"/>
                    </a:lnTo>
                    <a:lnTo>
                      <a:pt x="348" y="336"/>
                    </a:lnTo>
                    <a:lnTo>
                      <a:pt x="354" y="336"/>
                    </a:lnTo>
                    <a:lnTo>
                      <a:pt x="360" y="336"/>
                    </a:lnTo>
                    <a:lnTo>
                      <a:pt x="366" y="330"/>
                    </a:lnTo>
                    <a:lnTo>
                      <a:pt x="372" y="324"/>
                    </a:lnTo>
                    <a:lnTo>
                      <a:pt x="378" y="324"/>
                    </a:lnTo>
                    <a:lnTo>
                      <a:pt x="378" y="330"/>
                    </a:lnTo>
                    <a:lnTo>
                      <a:pt x="384" y="330"/>
                    </a:lnTo>
                    <a:lnTo>
                      <a:pt x="390" y="330"/>
                    </a:lnTo>
                    <a:lnTo>
                      <a:pt x="396" y="330"/>
                    </a:lnTo>
                    <a:lnTo>
                      <a:pt x="396" y="324"/>
                    </a:lnTo>
                    <a:lnTo>
                      <a:pt x="402" y="318"/>
                    </a:lnTo>
                    <a:lnTo>
                      <a:pt x="408" y="318"/>
                    </a:lnTo>
                    <a:lnTo>
                      <a:pt x="408" y="312"/>
                    </a:lnTo>
                    <a:lnTo>
                      <a:pt x="414" y="312"/>
                    </a:lnTo>
                    <a:lnTo>
                      <a:pt x="420" y="312"/>
                    </a:lnTo>
                    <a:lnTo>
                      <a:pt x="420" y="306"/>
                    </a:lnTo>
                    <a:lnTo>
                      <a:pt x="426" y="306"/>
                    </a:lnTo>
                    <a:lnTo>
                      <a:pt x="432" y="300"/>
                    </a:lnTo>
                    <a:lnTo>
                      <a:pt x="438" y="300"/>
                    </a:lnTo>
                    <a:lnTo>
                      <a:pt x="444" y="300"/>
                    </a:lnTo>
                    <a:lnTo>
                      <a:pt x="450" y="300"/>
                    </a:lnTo>
                    <a:lnTo>
                      <a:pt x="450" y="306"/>
                    </a:lnTo>
                    <a:lnTo>
                      <a:pt x="450" y="312"/>
                    </a:lnTo>
                    <a:lnTo>
                      <a:pt x="456" y="312"/>
                    </a:lnTo>
                    <a:lnTo>
                      <a:pt x="462" y="312"/>
                    </a:lnTo>
                    <a:lnTo>
                      <a:pt x="468" y="312"/>
                    </a:lnTo>
                    <a:lnTo>
                      <a:pt x="474" y="312"/>
                    </a:lnTo>
                    <a:lnTo>
                      <a:pt x="480" y="312"/>
                    </a:lnTo>
                    <a:lnTo>
                      <a:pt x="486" y="318"/>
                    </a:lnTo>
                    <a:lnTo>
                      <a:pt x="492" y="318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10" y="348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22" y="342"/>
                    </a:lnTo>
                    <a:lnTo>
                      <a:pt x="522" y="336"/>
                    </a:lnTo>
                    <a:lnTo>
                      <a:pt x="516" y="336"/>
                    </a:lnTo>
                    <a:lnTo>
                      <a:pt x="516" y="330"/>
                    </a:lnTo>
                    <a:lnTo>
                      <a:pt x="516" y="324"/>
                    </a:lnTo>
                    <a:lnTo>
                      <a:pt x="516" y="318"/>
                    </a:lnTo>
                    <a:lnTo>
                      <a:pt x="522" y="318"/>
                    </a:lnTo>
                    <a:lnTo>
                      <a:pt x="522" y="312"/>
                    </a:lnTo>
                    <a:lnTo>
                      <a:pt x="522" y="306"/>
                    </a:lnTo>
                    <a:lnTo>
                      <a:pt x="528" y="306"/>
                    </a:lnTo>
                    <a:lnTo>
                      <a:pt x="528" y="300"/>
                    </a:lnTo>
                    <a:lnTo>
                      <a:pt x="534" y="300"/>
                    </a:lnTo>
                    <a:lnTo>
                      <a:pt x="534" y="294"/>
                    </a:lnTo>
                    <a:lnTo>
                      <a:pt x="540" y="294"/>
                    </a:lnTo>
                    <a:lnTo>
                      <a:pt x="540" y="288"/>
                    </a:lnTo>
                    <a:lnTo>
                      <a:pt x="546" y="288"/>
                    </a:lnTo>
                    <a:lnTo>
                      <a:pt x="552" y="282"/>
                    </a:lnTo>
                    <a:lnTo>
                      <a:pt x="552" y="276"/>
                    </a:lnTo>
                    <a:lnTo>
                      <a:pt x="558" y="276"/>
                    </a:lnTo>
                    <a:lnTo>
                      <a:pt x="564" y="276"/>
                    </a:lnTo>
                    <a:lnTo>
                      <a:pt x="570" y="270"/>
                    </a:lnTo>
                    <a:lnTo>
                      <a:pt x="570" y="264"/>
                    </a:lnTo>
                    <a:lnTo>
                      <a:pt x="564" y="264"/>
                    </a:lnTo>
                    <a:lnTo>
                      <a:pt x="570" y="258"/>
                    </a:lnTo>
                    <a:lnTo>
                      <a:pt x="570" y="252"/>
                    </a:lnTo>
                    <a:lnTo>
                      <a:pt x="576" y="252"/>
                    </a:lnTo>
                    <a:lnTo>
                      <a:pt x="576" y="246"/>
                    </a:lnTo>
                    <a:lnTo>
                      <a:pt x="582" y="246"/>
                    </a:lnTo>
                    <a:lnTo>
                      <a:pt x="582" y="240"/>
                    </a:lnTo>
                    <a:lnTo>
                      <a:pt x="588" y="240"/>
                    </a:lnTo>
                    <a:lnTo>
                      <a:pt x="594" y="240"/>
                    </a:lnTo>
                    <a:lnTo>
                      <a:pt x="594" y="246"/>
                    </a:lnTo>
                    <a:lnTo>
                      <a:pt x="600" y="246"/>
                    </a:lnTo>
                    <a:lnTo>
                      <a:pt x="600" y="240"/>
                    </a:lnTo>
                    <a:lnTo>
                      <a:pt x="600" y="234"/>
                    </a:lnTo>
                    <a:lnTo>
                      <a:pt x="606" y="234"/>
                    </a:lnTo>
                    <a:lnTo>
                      <a:pt x="612" y="234"/>
                    </a:lnTo>
                    <a:lnTo>
                      <a:pt x="618" y="234"/>
                    </a:lnTo>
                    <a:lnTo>
                      <a:pt x="618" y="240"/>
                    </a:lnTo>
                    <a:lnTo>
                      <a:pt x="624" y="240"/>
                    </a:lnTo>
                    <a:lnTo>
                      <a:pt x="630" y="240"/>
                    </a:lnTo>
                    <a:lnTo>
                      <a:pt x="630" y="234"/>
                    </a:lnTo>
                    <a:lnTo>
                      <a:pt x="636" y="234"/>
                    </a:lnTo>
                    <a:lnTo>
                      <a:pt x="642" y="234"/>
                    </a:lnTo>
                    <a:lnTo>
                      <a:pt x="642" y="240"/>
                    </a:lnTo>
                    <a:lnTo>
                      <a:pt x="648" y="240"/>
                    </a:lnTo>
                    <a:lnTo>
                      <a:pt x="654" y="240"/>
                    </a:lnTo>
                    <a:lnTo>
                      <a:pt x="654" y="234"/>
                    </a:lnTo>
                    <a:lnTo>
                      <a:pt x="648" y="234"/>
                    </a:lnTo>
                    <a:lnTo>
                      <a:pt x="642" y="234"/>
                    </a:lnTo>
                    <a:lnTo>
                      <a:pt x="642" y="228"/>
                    </a:lnTo>
                    <a:lnTo>
                      <a:pt x="636" y="228"/>
                    </a:lnTo>
                    <a:lnTo>
                      <a:pt x="636" y="222"/>
                    </a:lnTo>
                    <a:lnTo>
                      <a:pt x="636" y="216"/>
                    </a:lnTo>
                    <a:lnTo>
                      <a:pt x="642" y="210"/>
                    </a:lnTo>
                    <a:lnTo>
                      <a:pt x="648" y="210"/>
                    </a:lnTo>
                    <a:lnTo>
                      <a:pt x="648" y="204"/>
                    </a:lnTo>
                    <a:lnTo>
                      <a:pt x="648" y="198"/>
                    </a:lnTo>
                    <a:lnTo>
                      <a:pt x="648" y="192"/>
                    </a:lnTo>
                    <a:lnTo>
                      <a:pt x="642" y="186"/>
                    </a:lnTo>
                    <a:lnTo>
                      <a:pt x="642" y="180"/>
                    </a:lnTo>
                    <a:lnTo>
                      <a:pt x="636" y="180"/>
                    </a:lnTo>
                    <a:lnTo>
                      <a:pt x="636" y="174"/>
                    </a:lnTo>
                    <a:lnTo>
                      <a:pt x="630" y="174"/>
                    </a:lnTo>
                    <a:lnTo>
                      <a:pt x="630" y="168"/>
                    </a:lnTo>
                    <a:lnTo>
                      <a:pt x="624" y="168"/>
                    </a:lnTo>
                    <a:lnTo>
                      <a:pt x="624" y="162"/>
                    </a:lnTo>
                    <a:lnTo>
                      <a:pt x="624" y="156"/>
                    </a:lnTo>
                    <a:lnTo>
                      <a:pt x="630" y="156"/>
                    </a:lnTo>
                    <a:lnTo>
                      <a:pt x="636" y="156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50"/>
                    </a:lnTo>
                    <a:lnTo>
                      <a:pt x="654" y="150"/>
                    </a:lnTo>
                    <a:lnTo>
                      <a:pt x="654" y="144"/>
                    </a:lnTo>
                    <a:lnTo>
                      <a:pt x="654" y="138"/>
                    </a:lnTo>
                    <a:lnTo>
                      <a:pt x="660" y="138"/>
                    </a:lnTo>
                    <a:lnTo>
                      <a:pt x="666" y="138"/>
                    </a:lnTo>
                    <a:lnTo>
                      <a:pt x="672" y="138"/>
                    </a:lnTo>
                    <a:lnTo>
                      <a:pt x="678" y="138"/>
                    </a:lnTo>
                    <a:lnTo>
                      <a:pt x="678" y="132"/>
                    </a:lnTo>
                    <a:lnTo>
                      <a:pt x="678" y="126"/>
                    </a:lnTo>
                    <a:lnTo>
                      <a:pt x="678" y="120"/>
                    </a:lnTo>
                    <a:lnTo>
                      <a:pt x="684" y="114"/>
                    </a:lnTo>
                    <a:lnTo>
                      <a:pt x="684" y="108"/>
                    </a:lnTo>
                    <a:lnTo>
                      <a:pt x="690" y="108"/>
                    </a:lnTo>
                    <a:lnTo>
                      <a:pt x="696" y="108"/>
                    </a:lnTo>
                    <a:lnTo>
                      <a:pt x="696" y="102"/>
                    </a:lnTo>
                    <a:lnTo>
                      <a:pt x="702" y="102"/>
                    </a:lnTo>
                    <a:lnTo>
                      <a:pt x="702" y="108"/>
                    </a:lnTo>
                    <a:lnTo>
                      <a:pt x="708" y="108"/>
                    </a:lnTo>
                    <a:lnTo>
                      <a:pt x="708" y="114"/>
                    </a:lnTo>
                    <a:lnTo>
                      <a:pt x="708" y="108"/>
                    </a:lnTo>
                    <a:lnTo>
                      <a:pt x="714" y="108"/>
                    </a:lnTo>
                    <a:lnTo>
                      <a:pt x="714" y="102"/>
                    </a:lnTo>
                    <a:lnTo>
                      <a:pt x="714" y="96"/>
                    </a:lnTo>
                    <a:lnTo>
                      <a:pt x="720" y="96"/>
                    </a:lnTo>
                    <a:lnTo>
                      <a:pt x="720" y="90"/>
                    </a:lnTo>
                    <a:lnTo>
                      <a:pt x="726" y="90"/>
                    </a:lnTo>
                    <a:lnTo>
                      <a:pt x="732" y="90"/>
                    </a:lnTo>
                    <a:lnTo>
                      <a:pt x="732" y="84"/>
                    </a:lnTo>
                    <a:lnTo>
                      <a:pt x="738" y="84"/>
                    </a:lnTo>
                    <a:lnTo>
                      <a:pt x="744" y="84"/>
                    </a:lnTo>
                    <a:lnTo>
                      <a:pt x="750" y="84"/>
                    </a:lnTo>
                    <a:lnTo>
                      <a:pt x="756" y="84"/>
                    </a:lnTo>
                    <a:lnTo>
                      <a:pt x="756" y="78"/>
                    </a:lnTo>
                    <a:lnTo>
                      <a:pt x="762" y="78"/>
                    </a:lnTo>
                    <a:lnTo>
                      <a:pt x="768" y="78"/>
                    </a:lnTo>
                    <a:lnTo>
                      <a:pt x="768" y="84"/>
                    </a:lnTo>
                    <a:lnTo>
                      <a:pt x="774" y="84"/>
                    </a:lnTo>
                    <a:lnTo>
                      <a:pt x="774" y="90"/>
                    </a:lnTo>
                    <a:lnTo>
                      <a:pt x="780" y="90"/>
                    </a:lnTo>
                    <a:lnTo>
                      <a:pt x="780" y="84"/>
                    </a:lnTo>
                    <a:lnTo>
                      <a:pt x="780" y="78"/>
                    </a:lnTo>
                    <a:lnTo>
                      <a:pt x="780" y="72"/>
                    </a:lnTo>
                    <a:lnTo>
                      <a:pt x="780" y="66"/>
                    </a:lnTo>
                    <a:lnTo>
                      <a:pt x="780" y="60"/>
                    </a:lnTo>
                    <a:lnTo>
                      <a:pt x="786" y="60"/>
                    </a:lnTo>
                    <a:lnTo>
                      <a:pt x="786" y="66"/>
                    </a:lnTo>
                    <a:lnTo>
                      <a:pt x="792" y="72"/>
                    </a:lnTo>
                    <a:lnTo>
                      <a:pt x="798" y="78"/>
                    </a:lnTo>
                    <a:lnTo>
                      <a:pt x="804" y="78"/>
                    </a:lnTo>
                    <a:lnTo>
                      <a:pt x="810" y="78"/>
                    </a:lnTo>
                    <a:lnTo>
                      <a:pt x="810" y="84"/>
                    </a:lnTo>
                    <a:lnTo>
                      <a:pt x="816" y="84"/>
                    </a:lnTo>
                    <a:lnTo>
                      <a:pt x="822" y="84"/>
                    </a:lnTo>
                    <a:lnTo>
                      <a:pt x="828" y="84"/>
                    </a:lnTo>
                    <a:lnTo>
                      <a:pt x="828" y="78"/>
                    </a:lnTo>
                    <a:lnTo>
                      <a:pt x="834" y="78"/>
                    </a:lnTo>
                    <a:lnTo>
                      <a:pt x="840" y="84"/>
                    </a:lnTo>
                    <a:lnTo>
                      <a:pt x="846" y="84"/>
                    </a:lnTo>
                    <a:lnTo>
                      <a:pt x="852" y="84"/>
                    </a:lnTo>
                    <a:lnTo>
                      <a:pt x="852" y="78"/>
                    </a:lnTo>
                    <a:lnTo>
                      <a:pt x="858" y="78"/>
                    </a:lnTo>
                    <a:lnTo>
                      <a:pt x="858" y="84"/>
                    </a:lnTo>
                    <a:lnTo>
                      <a:pt x="858" y="90"/>
                    </a:lnTo>
                    <a:lnTo>
                      <a:pt x="858" y="96"/>
                    </a:lnTo>
                    <a:lnTo>
                      <a:pt x="864" y="96"/>
                    </a:lnTo>
                    <a:lnTo>
                      <a:pt x="864" y="90"/>
                    </a:lnTo>
                    <a:lnTo>
                      <a:pt x="870" y="90"/>
                    </a:lnTo>
                    <a:lnTo>
                      <a:pt x="870" y="84"/>
                    </a:lnTo>
                    <a:lnTo>
                      <a:pt x="876" y="78"/>
                    </a:lnTo>
                    <a:lnTo>
                      <a:pt x="882" y="72"/>
                    </a:lnTo>
                    <a:lnTo>
                      <a:pt x="882" y="66"/>
                    </a:lnTo>
                    <a:lnTo>
                      <a:pt x="888" y="66"/>
                    </a:lnTo>
                    <a:lnTo>
                      <a:pt x="888" y="60"/>
                    </a:lnTo>
                    <a:lnTo>
                      <a:pt x="894" y="60"/>
                    </a:lnTo>
                    <a:lnTo>
                      <a:pt x="894" y="54"/>
                    </a:lnTo>
                    <a:lnTo>
                      <a:pt x="900" y="54"/>
                    </a:lnTo>
                    <a:lnTo>
                      <a:pt x="906" y="54"/>
                    </a:lnTo>
                    <a:lnTo>
                      <a:pt x="906" y="60"/>
                    </a:lnTo>
                    <a:lnTo>
                      <a:pt x="906" y="66"/>
                    </a:lnTo>
                    <a:lnTo>
                      <a:pt x="912" y="66"/>
                    </a:lnTo>
                    <a:lnTo>
                      <a:pt x="912" y="72"/>
                    </a:lnTo>
                    <a:lnTo>
                      <a:pt x="918" y="72"/>
                    </a:lnTo>
                    <a:lnTo>
                      <a:pt x="918" y="78"/>
                    </a:lnTo>
                    <a:lnTo>
                      <a:pt x="924" y="78"/>
                    </a:lnTo>
                    <a:lnTo>
                      <a:pt x="930" y="78"/>
                    </a:lnTo>
                    <a:lnTo>
                      <a:pt x="936" y="78"/>
                    </a:lnTo>
                    <a:lnTo>
                      <a:pt x="936" y="72"/>
                    </a:lnTo>
                    <a:lnTo>
                      <a:pt x="942" y="72"/>
                    </a:lnTo>
                    <a:lnTo>
                      <a:pt x="948" y="72"/>
                    </a:lnTo>
                    <a:lnTo>
                      <a:pt x="948" y="66"/>
                    </a:lnTo>
                    <a:lnTo>
                      <a:pt x="948" y="60"/>
                    </a:lnTo>
                    <a:lnTo>
                      <a:pt x="954" y="60"/>
                    </a:lnTo>
                    <a:lnTo>
                      <a:pt x="954" y="54"/>
                    </a:lnTo>
                    <a:lnTo>
                      <a:pt x="960" y="54"/>
                    </a:lnTo>
                    <a:lnTo>
                      <a:pt x="960" y="48"/>
                    </a:lnTo>
                    <a:lnTo>
                      <a:pt x="960" y="42"/>
                    </a:lnTo>
                    <a:lnTo>
                      <a:pt x="960" y="36"/>
                    </a:lnTo>
                    <a:lnTo>
                      <a:pt x="960" y="30"/>
                    </a:lnTo>
                    <a:lnTo>
                      <a:pt x="966" y="30"/>
                    </a:lnTo>
                    <a:lnTo>
                      <a:pt x="972" y="30"/>
                    </a:lnTo>
                    <a:lnTo>
                      <a:pt x="978" y="30"/>
                    </a:lnTo>
                    <a:lnTo>
                      <a:pt x="978" y="24"/>
                    </a:lnTo>
                    <a:lnTo>
                      <a:pt x="978" y="18"/>
                    </a:lnTo>
                    <a:lnTo>
                      <a:pt x="984" y="18"/>
                    </a:lnTo>
                    <a:lnTo>
                      <a:pt x="990" y="18"/>
                    </a:lnTo>
                    <a:lnTo>
                      <a:pt x="996" y="18"/>
                    </a:lnTo>
                    <a:lnTo>
                      <a:pt x="996" y="24"/>
                    </a:lnTo>
                    <a:lnTo>
                      <a:pt x="996" y="30"/>
                    </a:lnTo>
                    <a:lnTo>
                      <a:pt x="1002" y="30"/>
                    </a:lnTo>
                    <a:lnTo>
                      <a:pt x="1008" y="30"/>
                    </a:lnTo>
                    <a:lnTo>
                      <a:pt x="1014" y="30"/>
                    </a:lnTo>
                    <a:lnTo>
                      <a:pt x="1014" y="24"/>
                    </a:lnTo>
                    <a:lnTo>
                      <a:pt x="1020" y="24"/>
                    </a:lnTo>
                    <a:lnTo>
                      <a:pt x="1020" y="30"/>
                    </a:lnTo>
                    <a:lnTo>
                      <a:pt x="1026" y="30"/>
                    </a:lnTo>
                    <a:lnTo>
                      <a:pt x="1032" y="30"/>
                    </a:lnTo>
                    <a:lnTo>
                      <a:pt x="1032" y="36"/>
                    </a:lnTo>
                    <a:lnTo>
                      <a:pt x="1038" y="36"/>
                    </a:lnTo>
                    <a:lnTo>
                      <a:pt x="1038" y="30"/>
                    </a:lnTo>
                    <a:lnTo>
                      <a:pt x="1038" y="24"/>
                    </a:lnTo>
                    <a:lnTo>
                      <a:pt x="1044" y="24"/>
                    </a:lnTo>
                    <a:lnTo>
                      <a:pt x="1050" y="24"/>
                    </a:lnTo>
                    <a:lnTo>
                      <a:pt x="1056" y="24"/>
                    </a:lnTo>
                    <a:lnTo>
                      <a:pt x="1062" y="24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74" y="18"/>
                    </a:lnTo>
                    <a:lnTo>
                      <a:pt x="1074" y="12"/>
                    </a:lnTo>
                    <a:lnTo>
                      <a:pt x="1080" y="12"/>
                    </a:lnTo>
                    <a:lnTo>
                      <a:pt x="1080" y="6"/>
                    </a:lnTo>
                    <a:lnTo>
                      <a:pt x="1086" y="6"/>
                    </a:lnTo>
                    <a:lnTo>
                      <a:pt x="1086" y="0"/>
                    </a:lnTo>
                    <a:lnTo>
                      <a:pt x="1092" y="0"/>
                    </a:lnTo>
                    <a:lnTo>
                      <a:pt x="1098" y="0"/>
                    </a:lnTo>
                    <a:lnTo>
                      <a:pt x="1104" y="0"/>
                    </a:lnTo>
                    <a:lnTo>
                      <a:pt x="1104" y="6"/>
                    </a:lnTo>
                    <a:lnTo>
                      <a:pt x="1104" y="12"/>
                    </a:lnTo>
                    <a:lnTo>
                      <a:pt x="1104" y="18"/>
                    </a:lnTo>
                    <a:lnTo>
                      <a:pt x="1104" y="2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8" name="Freeform 8"/>
              <p:cNvSpPr>
                <a:spLocks noChangeAspect="1"/>
              </p:cNvSpPr>
              <p:nvPr/>
            </p:nvSpPr>
            <p:spPr bwMode="auto">
              <a:xfrm>
                <a:off x="3184538" y="5578086"/>
                <a:ext cx="198911" cy="134423"/>
              </a:xfrm>
              <a:custGeom>
                <a:avLst/>
                <a:gdLst>
                  <a:gd name="T0" fmla="*/ 2147483647 w 1740"/>
                  <a:gd name="T1" fmla="*/ 2147483647 h 1176"/>
                  <a:gd name="T2" fmla="*/ 2147483647 w 1740"/>
                  <a:gd name="T3" fmla="*/ 2147483647 h 1176"/>
                  <a:gd name="T4" fmla="*/ 2147483647 w 1740"/>
                  <a:gd name="T5" fmla="*/ 2147483647 h 1176"/>
                  <a:gd name="T6" fmla="*/ 2147483647 w 1740"/>
                  <a:gd name="T7" fmla="*/ 2147483647 h 1176"/>
                  <a:gd name="T8" fmla="*/ 2147483647 w 1740"/>
                  <a:gd name="T9" fmla="*/ 2147483647 h 1176"/>
                  <a:gd name="T10" fmla="*/ 2147483647 w 1740"/>
                  <a:gd name="T11" fmla="*/ 2147483647 h 1176"/>
                  <a:gd name="T12" fmla="*/ 2147483647 w 1740"/>
                  <a:gd name="T13" fmla="*/ 2147483647 h 1176"/>
                  <a:gd name="T14" fmla="*/ 2147483647 w 1740"/>
                  <a:gd name="T15" fmla="*/ 2147483647 h 1176"/>
                  <a:gd name="T16" fmla="*/ 2147483647 w 1740"/>
                  <a:gd name="T17" fmla="*/ 2147483647 h 1176"/>
                  <a:gd name="T18" fmla="*/ 2147483647 w 1740"/>
                  <a:gd name="T19" fmla="*/ 2147483647 h 1176"/>
                  <a:gd name="T20" fmla="*/ 2147483647 w 1740"/>
                  <a:gd name="T21" fmla="*/ 2147483647 h 1176"/>
                  <a:gd name="T22" fmla="*/ 2147483647 w 1740"/>
                  <a:gd name="T23" fmla="*/ 2147483647 h 1176"/>
                  <a:gd name="T24" fmla="*/ 2147483647 w 1740"/>
                  <a:gd name="T25" fmla="*/ 2147483647 h 1176"/>
                  <a:gd name="T26" fmla="*/ 2147483647 w 1740"/>
                  <a:gd name="T27" fmla="*/ 2147483647 h 1176"/>
                  <a:gd name="T28" fmla="*/ 2147483647 w 1740"/>
                  <a:gd name="T29" fmla="*/ 2147483647 h 1176"/>
                  <a:gd name="T30" fmla="*/ 2147483647 w 1740"/>
                  <a:gd name="T31" fmla="*/ 2147483647 h 1176"/>
                  <a:gd name="T32" fmla="*/ 2147483647 w 1740"/>
                  <a:gd name="T33" fmla="*/ 2147483647 h 1176"/>
                  <a:gd name="T34" fmla="*/ 2147483647 w 1740"/>
                  <a:gd name="T35" fmla="*/ 2147483647 h 1176"/>
                  <a:gd name="T36" fmla="*/ 2147483647 w 1740"/>
                  <a:gd name="T37" fmla="*/ 2147483647 h 1176"/>
                  <a:gd name="T38" fmla="*/ 2147483647 w 1740"/>
                  <a:gd name="T39" fmla="*/ 2147483647 h 1176"/>
                  <a:gd name="T40" fmla="*/ 2147483647 w 1740"/>
                  <a:gd name="T41" fmla="*/ 2147483647 h 1176"/>
                  <a:gd name="T42" fmla="*/ 2147483647 w 1740"/>
                  <a:gd name="T43" fmla="*/ 2147483647 h 1176"/>
                  <a:gd name="T44" fmla="*/ 2147483647 w 1740"/>
                  <a:gd name="T45" fmla="*/ 2147483647 h 1176"/>
                  <a:gd name="T46" fmla="*/ 2147483647 w 1740"/>
                  <a:gd name="T47" fmla="*/ 2147483647 h 1176"/>
                  <a:gd name="T48" fmla="*/ 2147483647 w 1740"/>
                  <a:gd name="T49" fmla="*/ 2147483647 h 1176"/>
                  <a:gd name="T50" fmla="*/ 2147483647 w 1740"/>
                  <a:gd name="T51" fmla="*/ 2147483647 h 1176"/>
                  <a:gd name="T52" fmla="*/ 2147483647 w 1740"/>
                  <a:gd name="T53" fmla="*/ 2147483647 h 1176"/>
                  <a:gd name="T54" fmla="*/ 2147483647 w 1740"/>
                  <a:gd name="T55" fmla="*/ 2147483647 h 1176"/>
                  <a:gd name="T56" fmla="*/ 2147483647 w 1740"/>
                  <a:gd name="T57" fmla="*/ 2147483647 h 1176"/>
                  <a:gd name="T58" fmla="*/ 2147483647 w 1740"/>
                  <a:gd name="T59" fmla="*/ 2147483647 h 1176"/>
                  <a:gd name="T60" fmla="*/ 2147483647 w 1740"/>
                  <a:gd name="T61" fmla="*/ 2147483647 h 1176"/>
                  <a:gd name="T62" fmla="*/ 2147483647 w 1740"/>
                  <a:gd name="T63" fmla="*/ 2147483647 h 1176"/>
                  <a:gd name="T64" fmla="*/ 2147483647 w 1740"/>
                  <a:gd name="T65" fmla="*/ 2147483647 h 1176"/>
                  <a:gd name="T66" fmla="*/ 2147483647 w 1740"/>
                  <a:gd name="T67" fmla="*/ 2147483647 h 1176"/>
                  <a:gd name="T68" fmla="*/ 2147483647 w 1740"/>
                  <a:gd name="T69" fmla="*/ 2147483647 h 1176"/>
                  <a:gd name="T70" fmla="*/ 2147483647 w 1740"/>
                  <a:gd name="T71" fmla="*/ 2147483647 h 1176"/>
                  <a:gd name="T72" fmla="*/ 2147483647 w 1740"/>
                  <a:gd name="T73" fmla="*/ 2147483647 h 1176"/>
                  <a:gd name="T74" fmla="*/ 2147483647 w 1740"/>
                  <a:gd name="T75" fmla="*/ 2147483647 h 1176"/>
                  <a:gd name="T76" fmla="*/ 2147483647 w 1740"/>
                  <a:gd name="T77" fmla="*/ 2147483647 h 1176"/>
                  <a:gd name="T78" fmla="*/ 2147483647 w 1740"/>
                  <a:gd name="T79" fmla="*/ 2147483647 h 1176"/>
                  <a:gd name="T80" fmla="*/ 2147483647 w 1740"/>
                  <a:gd name="T81" fmla="*/ 2147483647 h 1176"/>
                  <a:gd name="T82" fmla="*/ 2147483647 w 1740"/>
                  <a:gd name="T83" fmla="*/ 2147483647 h 1176"/>
                  <a:gd name="T84" fmla="*/ 2147483647 w 1740"/>
                  <a:gd name="T85" fmla="*/ 2147483647 h 1176"/>
                  <a:gd name="T86" fmla="*/ 0 w 1740"/>
                  <a:gd name="T87" fmla="*/ 2147483647 h 1176"/>
                  <a:gd name="T88" fmla="*/ 2147483647 w 1740"/>
                  <a:gd name="T89" fmla="*/ 2147483647 h 1176"/>
                  <a:gd name="T90" fmla="*/ 2147483647 w 1740"/>
                  <a:gd name="T91" fmla="*/ 2147483647 h 1176"/>
                  <a:gd name="T92" fmla="*/ 2147483647 w 1740"/>
                  <a:gd name="T93" fmla="*/ 2147483647 h 1176"/>
                  <a:gd name="T94" fmla="*/ 2147483647 w 1740"/>
                  <a:gd name="T95" fmla="*/ 2147483647 h 1176"/>
                  <a:gd name="T96" fmla="*/ 2147483647 w 1740"/>
                  <a:gd name="T97" fmla="*/ 2147483647 h 1176"/>
                  <a:gd name="T98" fmla="*/ 2147483647 w 1740"/>
                  <a:gd name="T99" fmla="*/ 2147483647 h 1176"/>
                  <a:gd name="T100" fmla="*/ 2147483647 w 1740"/>
                  <a:gd name="T101" fmla="*/ 2147483647 h 1176"/>
                  <a:gd name="T102" fmla="*/ 2147483647 w 1740"/>
                  <a:gd name="T103" fmla="*/ 2147483647 h 1176"/>
                  <a:gd name="T104" fmla="*/ 2147483647 w 1740"/>
                  <a:gd name="T105" fmla="*/ 2147483647 h 1176"/>
                  <a:gd name="T106" fmla="*/ 2147483647 w 1740"/>
                  <a:gd name="T107" fmla="*/ 2147483647 h 1176"/>
                  <a:gd name="T108" fmla="*/ 2147483647 w 1740"/>
                  <a:gd name="T109" fmla="*/ 2147483647 h 1176"/>
                  <a:gd name="T110" fmla="*/ 2147483647 w 1740"/>
                  <a:gd name="T111" fmla="*/ 2147483647 h 1176"/>
                  <a:gd name="T112" fmla="*/ 2147483647 w 1740"/>
                  <a:gd name="T113" fmla="*/ 2147483647 h 1176"/>
                  <a:gd name="T114" fmla="*/ 2147483647 w 1740"/>
                  <a:gd name="T115" fmla="*/ 2147483647 h 1176"/>
                  <a:gd name="T116" fmla="*/ 2147483647 w 1740"/>
                  <a:gd name="T117" fmla="*/ 2147483647 h 1176"/>
                  <a:gd name="T118" fmla="*/ 2147483647 w 1740"/>
                  <a:gd name="T119" fmla="*/ 2147483647 h 1176"/>
                  <a:gd name="T120" fmla="*/ 2147483647 w 1740"/>
                  <a:gd name="T121" fmla="*/ 2147483647 h 1176"/>
                  <a:gd name="T122" fmla="*/ 2147483647 w 1740"/>
                  <a:gd name="T123" fmla="*/ 2147483647 h 1176"/>
                  <a:gd name="T124" fmla="*/ 2147483647 w 1740"/>
                  <a:gd name="T125" fmla="*/ 2147483647 h 117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740" h="1176">
                    <a:moveTo>
                      <a:pt x="1158" y="0"/>
                    </a:moveTo>
                    <a:lnTo>
                      <a:pt x="1158" y="36"/>
                    </a:lnTo>
                    <a:lnTo>
                      <a:pt x="1170" y="60"/>
                    </a:lnTo>
                    <a:lnTo>
                      <a:pt x="1176" y="60"/>
                    </a:lnTo>
                    <a:lnTo>
                      <a:pt x="1206" y="66"/>
                    </a:lnTo>
                    <a:lnTo>
                      <a:pt x="1212" y="66"/>
                    </a:lnTo>
                    <a:lnTo>
                      <a:pt x="1218" y="66"/>
                    </a:lnTo>
                    <a:lnTo>
                      <a:pt x="1224" y="66"/>
                    </a:lnTo>
                    <a:lnTo>
                      <a:pt x="1230" y="66"/>
                    </a:lnTo>
                    <a:lnTo>
                      <a:pt x="1248" y="78"/>
                    </a:lnTo>
                    <a:lnTo>
                      <a:pt x="1254" y="84"/>
                    </a:lnTo>
                    <a:lnTo>
                      <a:pt x="1254" y="78"/>
                    </a:lnTo>
                    <a:lnTo>
                      <a:pt x="1266" y="84"/>
                    </a:lnTo>
                    <a:lnTo>
                      <a:pt x="1272" y="84"/>
                    </a:lnTo>
                    <a:lnTo>
                      <a:pt x="1278" y="78"/>
                    </a:lnTo>
                    <a:lnTo>
                      <a:pt x="1278" y="72"/>
                    </a:lnTo>
                    <a:lnTo>
                      <a:pt x="1308" y="66"/>
                    </a:lnTo>
                    <a:lnTo>
                      <a:pt x="1326" y="60"/>
                    </a:lnTo>
                    <a:lnTo>
                      <a:pt x="1332" y="54"/>
                    </a:lnTo>
                    <a:lnTo>
                      <a:pt x="1332" y="48"/>
                    </a:lnTo>
                    <a:lnTo>
                      <a:pt x="1338" y="54"/>
                    </a:lnTo>
                    <a:lnTo>
                      <a:pt x="1344" y="36"/>
                    </a:lnTo>
                    <a:lnTo>
                      <a:pt x="1350" y="36"/>
                    </a:lnTo>
                    <a:lnTo>
                      <a:pt x="1356" y="36"/>
                    </a:lnTo>
                    <a:lnTo>
                      <a:pt x="1356" y="54"/>
                    </a:lnTo>
                    <a:lnTo>
                      <a:pt x="1356" y="72"/>
                    </a:lnTo>
                    <a:lnTo>
                      <a:pt x="1362" y="78"/>
                    </a:lnTo>
                    <a:lnTo>
                      <a:pt x="1362" y="90"/>
                    </a:lnTo>
                    <a:lnTo>
                      <a:pt x="1368" y="96"/>
                    </a:lnTo>
                    <a:lnTo>
                      <a:pt x="1380" y="96"/>
                    </a:lnTo>
                    <a:lnTo>
                      <a:pt x="1386" y="102"/>
                    </a:lnTo>
                    <a:lnTo>
                      <a:pt x="1386" y="108"/>
                    </a:lnTo>
                    <a:lnTo>
                      <a:pt x="1392" y="114"/>
                    </a:lnTo>
                    <a:lnTo>
                      <a:pt x="1392" y="120"/>
                    </a:lnTo>
                    <a:lnTo>
                      <a:pt x="1392" y="126"/>
                    </a:lnTo>
                    <a:lnTo>
                      <a:pt x="1434" y="132"/>
                    </a:lnTo>
                    <a:lnTo>
                      <a:pt x="1440" y="132"/>
                    </a:lnTo>
                    <a:lnTo>
                      <a:pt x="1446" y="150"/>
                    </a:lnTo>
                    <a:lnTo>
                      <a:pt x="1452" y="156"/>
                    </a:lnTo>
                    <a:lnTo>
                      <a:pt x="1458" y="156"/>
                    </a:lnTo>
                    <a:lnTo>
                      <a:pt x="1470" y="150"/>
                    </a:lnTo>
                    <a:lnTo>
                      <a:pt x="1476" y="150"/>
                    </a:lnTo>
                    <a:lnTo>
                      <a:pt x="1494" y="150"/>
                    </a:lnTo>
                    <a:lnTo>
                      <a:pt x="1494" y="156"/>
                    </a:lnTo>
                    <a:lnTo>
                      <a:pt x="1494" y="162"/>
                    </a:lnTo>
                    <a:lnTo>
                      <a:pt x="1500" y="162"/>
                    </a:lnTo>
                    <a:lnTo>
                      <a:pt x="1500" y="168"/>
                    </a:lnTo>
                    <a:lnTo>
                      <a:pt x="1506" y="168"/>
                    </a:lnTo>
                    <a:lnTo>
                      <a:pt x="1518" y="156"/>
                    </a:lnTo>
                    <a:lnTo>
                      <a:pt x="1512" y="156"/>
                    </a:lnTo>
                    <a:lnTo>
                      <a:pt x="1518" y="150"/>
                    </a:lnTo>
                    <a:lnTo>
                      <a:pt x="1524" y="150"/>
                    </a:lnTo>
                    <a:lnTo>
                      <a:pt x="1524" y="144"/>
                    </a:lnTo>
                    <a:lnTo>
                      <a:pt x="1524" y="138"/>
                    </a:lnTo>
                    <a:lnTo>
                      <a:pt x="1524" y="132"/>
                    </a:lnTo>
                    <a:lnTo>
                      <a:pt x="1524" y="126"/>
                    </a:lnTo>
                    <a:lnTo>
                      <a:pt x="1530" y="120"/>
                    </a:lnTo>
                    <a:lnTo>
                      <a:pt x="1542" y="126"/>
                    </a:lnTo>
                    <a:lnTo>
                      <a:pt x="1548" y="120"/>
                    </a:lnTo>
                    <a:lnTo>
                      <a:pt x="1554" y="126"/>
                    </a:lnTo>
                    <a:lnTo>
                      <a:pt x="1560" y="132"/>
                    </a:lnTo>
                    <a:lnTo>
                      <a:pt x="1566" y="126"/>
                    </a:lnTo>
                    <a:lnTo>
                      <a:pt x="1572" y="126"/>
                    </a:lnTo>
                    <a:lnTo>
                      <a:pt x="1584" y="126"/>
                    </a:lnTo>
                    <a:lnTo>
                      <a:pt x="1590" y="126"/>
                    </a:lnTo>
                    <a:lnTo>
                      <a:pt x="1596" y="132"/>
                    </a:lnTo>
                    <a:lnTo>
                      <a:pt x="1596" y="108"/>
                    </a:lnTo>
                    <a:lnTo>
                      <a:pt x="1602" y="114"/>
                    </a:lnTo>
                    <a:lnTo>
                      <a:pt x="1608" y="114"/>
                    </a:lnTo>
                    <a:lnTo>
                      <a:pt x="1614" y="114"/>
                    </a:lnTo>
                    <a:lnTo>
                      <a:pt x="1620" y="114"/>
                    </a:lnTo>
                    <a:lnTo>
                      <a:pt x="1620" y="126"/>
                    </a:lnTo>
                    <a:lnTo>
                      <a:pt x="1614" y="126"/>
                    </a:lnTo>
                    <a:lnTo>
                      <a:pt x="1614" y="132"/>
                    </a:lnTo>
                    <a:lnTo>
                      <a:pt x="1620" y="138"/>
                    </a:lnTo>
                    <a:lnTo>
                      <a:pt x="1626" y="138"/>
                    </a:lnTo>
                    <a:lnTo>
                      <a:pt x="1626" y="132"/>
                    </a:lnTo>
                    <a:lnTo>
                      <a:pt x="1632" y="126"/>
                    </a:lnTo>
                    <a:lnTo>
                      <a:pt x="1638" y="126"/>
                    </a:lnTo>
                    <a:lnTo>
                      <a:pt x="1644" y="132"/>
                    </a:lnTo>
                    <a:lnTo>
                      <a:pt x="1650" y="132"/>
                    </a:lnTo>
                    <a:lnTo>
                      <a:pt x="1674" y="138"/>
                    </a:lnTo>
                    <a:lnTo>
                      <a:pt x="1680" y="138"/>
                    </a:lnTo>
                    <a:lnTo>
                      <a:pt x="1692" y="144"/>
                    </a:lnTo>
                    <a:lnTo>
                      <a:pt x="1704" y="150"/>
                    </a:lnTo>
                    <a:lnTo>
                      <a:pt x="1710" y="150"/>
                    </a:lnTo>
                    <a:lnTo>
                      <a:pt x="1716" y="156"/>
                    </a:lnTo>
                    <a:lnTo>
                      <a:pt x="1722" y="156"/>
                    </a:lnTo>
                    <a:lnTo>
                      <a:pt x="1722" y="162"/>
                    </a:lnTo>
                    <a:lnTo>
                      <a:pt x="1716" y="174"/>
                    </a:lnTo>
                    <a:lnTo>
                      <a:pt x="1716" y="180"/>
                    </a:lnTo>
                    <a:lnTo>
                      <a:pt x="1710" y="180"/>
                    </a:lnTo>
                    <a:lnTo>
                      <a:pt x="1698" y="180"/>
                    </a:lnTo>
                    <a:lnTo>
                      <a:pt x="1692" y="174"/>
                    </a:lnTo>
                    <a:lnTo>
                      <a:pt x="1686" y="168"/>
                    </a:lnTo>
                    <a:lnTo>
                      <a:pt x="1674" y="174"/>
                    </a:lnTo>
                    <a:lnTo>
                      <a:pt x="1668" y="180"/>
                    </a:lnTo>
                    <a:lnTo>
                      <a:pt x="1668" y="186"/>
                    </a:lnTo>
                    <a:lnTo>
                      <a:pt x="1686" y="192"/>
                    </a:lnTo>
                    <a:lnTo>
                      <a:pt x="1686" y="204"/>
                    </a:lnTo>
                    <a:lnTo>
                      <a:pt x="1686" y="210"/>
                    </a:lnTo>
                    <a:lnTo>
                      <a:pt x="1692" y="210"/>
                    </a:lnTo>
                    <a:lnTo>
                      <a:pt x="1710" y="204"/>
                    </a:lnTo>
                    <a:lnTo>
                      <a:pt x="1716" y="204"/>
                    </a:lnTo>
                    <a:lnTo>
                      <a:pt x="1722" y="216"/>
                    </a:lnTo>
                    <a:lnTo>
                      <a:pt x="1728" y="222"/>
                    </a:lnTo>
                    <a:lnTo>
                      <a:pt x="1728" y="228"/>
                    </a:lnTo>
                    <a:lnTo>
                      <a:pt x="1728" y="234"/>
                    </a:lnTo>
                    <a:lnTo>
                      <a:pt x="1734" y="234"/>
                    </a:lnTo>
                    <a:lnTo>
                      <a:pt x="1740" y="246"/>
                    </a:lnTo>
                    <a:lnTo>
                      <a:pt x="1740" y="276"/>
                    </a:lnTo>
                    <a:lnTo>
                      <a:pt x="1734" y="276"/>
                    </a:lnTo>
                    <a:lnTo>
                      <a:pt x="1722" y="282"/>
                    </a:lnTo>
                    <a:lnTo>
                      <a:pt x="1710" y="282"/>
                    </a:lnTo>
                    <a:lnTo>
                      <a:pt x="1704" y="282"/>
                    </a:lnTo>
                    <a:lnTo>
                      <a:pt x="1698" y="282"/>
                    </a:lnTo>
                    <a:lnTo>
                      <a:pt x="1692" y="282"/>
                    </a:lnTo>
                    <a:lnTo>
                      <a:pt x="1692" y="288"/>
                    </a:lnTo>
                    <a:lnTo>
                      <a:pt x="1686" y="288"/>
                    </a:lnTo>
                    <a:lnTo>
                      <a:pt x="1680" y="288"/>
                    </a:lnTo>
                    <a:lnTo>
                      <a:pt x="1680" y="276"/>
                    </a:lnTo>
                    <a:lnTo>
                      <a:pt x="1686" y="276"/>
                    </a:lnTo>
                    <a:lnTo>
                      <a:pt x="1686" y="270"/>
                    </a:lnTo>
                    <a:lnTo>
                      <a:pt x="1680" y="270"/>
                    </a:lnTo>
                    <a:lnTo>
                      <a:pt x="1668" y="276"/>
                    </a:lnTo>
                    <a:lnTo>
                      <a:pt x="1662" y="276"/>
                    </a:lnTo>
                    <a:lnTo>
                      <a:pt x="1662" y="282"/>
                    </a:lnTo>
                    <a:lnTo>
                      <a:pt x="1668" y="282"/>
                    </a:lnTo>
                    <a:lnTo>
                      <a:pt x="1668" y="288"/>
                    </a:lnTo>
                    <a:lnTo>
                      <a:pt x="1668" y="294"/>
                    </a:lnTo>
                    <a:lnTo>
                      <a:pt x="1668" y="306"/>
                    </a:lnTo>
                    <a:lnTo>
                      <a:pt x="1674" y="312"/>
                    </a:lnTo>
                    <a:lnTo>
                      <a:pt x="1674" y="318"/>
                    </a:lnTo>
                    <a:lnTo>
                      <a:pt x="1674" y="324"/>
                    </a:lnTo>
                    <a:lnTo>
                      <a:pt x="1662" y="330"/>
                    </a:lnTo>
                    <a:lnTo>
                      <a:pt x="1656" y="336"/>
                    </a:lnTo>
                    <a:lnTo>
                      <a:pt x="1656" y="342"/>
                    </a:lnTo>
                    <a:lnTo>
                      <a:pt x="1650" y="348"/>
                    </a:lnTo>
                    <a:lnTo>
                      <a:pt x="1644" y="348"/>
                    </a:lnTo>
                    <a:lnTo>
                      <a:pt x="1632" y="348"/>
                    </a:lnTo>
                    <a:lnTo>
                      <a:pt x="1620" y="354"/>
                    </a:lnTo>
                    <a:lnTo>
                      <a:pt x="1626" y="360"/>
                    </a:lnTo>
                    <a:lnTo>
                      <a:pt x="1632" y="372"/>
                    </a:lnTo>
                    <a:lnTo>
                      <a:pt x="1632" y="384"/>
                    </a:lnTo>
                    <a:lnTo>
                      <a:pt x="1626" y="390"/>
                    </a:lnTo>
                    <a:lnTo>
                      <a:pt x="1632" y="408"/>
                    </a:lnTo>
                    <a:lnTo>
                      <a:pt x="1620" y="414"/>
                    </a:lnTo>
                    <a:lnTo>
                      <a:pt x="1620" y="420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590" y="426"/>
                    </a:lnTo>
                    <a:lnTo>
                      <a:pt x="1584" y="426"/>
                    </a:lnTo>
                    <a:lnTo>
                      <a:pt x="1554" y="432"/>
                    </a:lnTo>
                    <a:lnTo>
                      <a:pt x="1554" y="420"/>
                    </a:lnTo>
                    <a:lnTo>
                      <a:pt x="1542" y="432"/>
                    </a:lnTo>
                    <a:lnTo>
                      <a:pt x="1530" y="414"/>
                    </a:lnTo>
                    <a:lnTo>
                      <a:pt x="1524" y="402"/>
                    </a:lnTo>
                    <a:lnTo>
                      <a:pt x="1500" y="420"/>
                    </a:lnTo>
                    <a:lnTo>
                      <a:pt x="1494" y="420"/>
                    </a:lnTo>
                    <a:lnTo>
                      <a:pt x="1476" y="426"/>
                    </a:lnTo>
                    <a:lnTo>
                      <a:pt x="1476" y="450"/>
                    </a:lnTo>
                    <a:lnTo>
                      <a:pt x="1470" y="468"/>
                    </a:lnTo>
                    <a:lnTo>
                      <a:pt x="1464" y="504"/>
                    </a:lnTo>
                    <a:lnTo>
                      <a:pt x="1458" y="504"/>
                    </a:lnTo>
                    <a:lnTo>
                      <a:pt x="1458" y="510"/>
                    </a:lnTo>
                    <a:lnTo>
                      <a:pt x="1440" y="516"/>
                    </a:lnTo>
                    <a:lnTo>
                      <a:pt x="1440" y="528"/>
                    </a:lnTo>
                    <a:lnTo>
                      <a:pt x="1416" y="528"/>
                    </a:lnTo>
                    <a:lnTo>
                      <a:pt x="1428" y="570"/>
                    </a:lnTo>
                    <a:lnTo>
                      <a:pt x="1404" y="588"/>
                    </a:lnTo>
                    <a:lnTo>
                      <a:pt x="1386" y="606"/>
                    </a:lnTo>
                    <a:lnTo>
                      <a:pt x="1392" y="618"/>
                    </a:lnTo>
                    <a:lnTo>
                      <a:pt x="1398" y="630"/>
                    </a:lnTo>
                    <a:lnTo>
                      <a:pt x="1398" y="636"/>
                    </a:lnTo>
                    <a:lnTo>
                      <a:pt x="1398" y="648"/>
                    </a:lnTo>
                    <a:lnTo>
                      <a:pt x="1440" y="630"/>
                    </a:lnTo>
                    <a:lnTo>
                      <a:pt x="1434" y="624"/>
                    </a:lnTo>
                    <a:lnTo>
                      <a:pt x="1476" y="612"/>
                    </a:lnTo>
                    <a:lnTo>
                      <a:pt x="1482" y="612"/>
                    </a:lnTo>
                    <a:lnTo>
                      <a:pt x="1482" y="618"/>
                    </a:lnTo>
                    <a:lnTo>
                      <a:pt x="1488" y="624"/>
                    </a:lnTo>
                    <a:lnTo>
                      <a:pt x="1488" y="630"/>
                    </a:lnTo>
                    <a:lnTo>
                      <a:pt x="1518" y="630"/>
                    </a:lnTo>
                    <a:lnTo>
                      <a:pt x="1512" y="642"/>
                    </a:lnTo>
                    <a:lnTo>
                      <a:pt x="1506" y="642"/>
                    </a:lnTo>
                    <a:lnTo>
                      <a:pt x="1506" y="648"/>
                    </a:lnTo>
                    <a:lnTo>
                      <a:pt x="1500" y="672"/>
                    </a:lnTo>
                    <a:lnTo>
                      <a:pt x="1494" y="672"/>
                    </a:lnTo>
                    <a:lnTo>
                      <a:pt x="1506" y="684"/>
                    </a:lnTo>
                    <a:lnTo>
                      <a:pt x="1494" y="732"/>
                    </a:lnTo>
                    <a:lnTo>
                      <a:pt x="1488" y="732"/>
                    </a:lnTo>
                    <a:lnTo>
                      <a:pt x="1488" y="738"/>
                    </a:lnTo>
                    <a:lnTo>
                      <a:pt x="1488" y="744"/>
                    </a:lnTo>
                    <a:lnTo>
                      <a:pt x="1488" y="750"/>
                    </a:lnTo>
                    <a:lnTo>
                      <a:pt x="1488" y="756"/>
                    </a:lnTo>
                    <a:lnTo>
                      <a:pt x="1482" y="756"/>
                    </a:lnTo>
                    <a:lnTo>
                      <a:pt x="1482" y="762"/>
                    </a:lnTo>
                    <a:lnTo>
                      <a:pt x="1476" y="762"/>
                    </a:lnTo>
                    <a:lnTo>
                      <a:pt x="1476" y="768"/>
                    </a:lnTo>
                    <a:lnTo>
                      <a:pt x="1476" y="774"/>
                    </a:lnTo>
                    <a:lnTo>
                      <a:pt x="1470" y="774"/>
                    </a:lnTo>
                    <a:lnTo>
                      <a:pt x="1464" y="774"/>
                    </a:lnTo>
                    <a:lnTo>
                      <a:pt x="1464" y="780"/>
                    </a:lnTo>
                    <a:lnTo>
                      <a:pt x="1458" y="780"/>
                    </a:lnTo>
                    <a:lnTo>
                      <a:pt x="1452" y="780"/>
                    </a:lnTo>
                    <a:lnTo>
                      <a:pt x="1446" y="780"/>
                    </a:lnTo>
                    <a:lnTo>
                      <a:pt x="1446" y="774"/>
                    </a:lnTo>
                    <a:lnTo>
                      <a:pt x="1440" y="774"/>
                    </a:lnTo>
                    <a:lnTo>
                      <a:pt x="1440" y="768"/>
                    </a:lnTo>
                    <a:lnTo>
                      <a:pt x="1434" y="768"/>
                    </a:lnTo>
                    <a:lnTo>
                      <a:pt x="1434" y="762"/>
                    </a:lnTo>
                    <a:lnTo>
                      <a:pt x="1434" y="756"/>
                    </a:lnTo>
                    <a:lnTo>
                      <a:pt x="1428" y="756"/>
                    </a:lnTo>
                    <a:lnTo>
                      <a:pt x="1422" y="756"/>
                    </a:lnTo>
                    <a:lnTo>
                      <a:pt x="1422" y="762"/>
                    </a:lnTo>
                    <a:lnTo>
                      <a:pt x="1416" y="762"/>
                    </a:lnTo>
                    <a:lnTo>
                      <a:pt x="1416" y="768"/>
                    </a:lnTo>
                    <a:lnTo>
                      <a:pt x="1410" y="768"/>
                    </a:lnTo>
                    <a:lnTo>
                      <a:pt x="1410" y="774"/>
                    </a:lnTo>
                    <a:lnTo>
                      <a:pt x="1404" y="780"/>
                    </a:lnTo>
                    <a:lnTo>
                      <a:pt x="1398" y="786"/>
                    </a:lnTo>
                    <a:lnTo>
                      <a:pt x="1398" y="792"/>
                    </a:lnTo>
                    <a:lnTo>
                      <a:pt x="1392" y="792"/>
                    </a:lnTo>
                    <a:lnTo>
                      <a:pt x="1392" y="798"/>
                    </a:lnTo>
                    <a:lnTo>
                      <a:pt x="1386" y="798"/>
                    </a:lnTo>
                    <a:lnTo>
                      <a:pt x="1386" y="792"/>
                    </a:lnTo>
                    <a:lnTo>
                      <a:pt x="1386" y="786"/>
                    </a:lnTo>
                    <a:lnTo>
                      <a:pt x="1386" y="780"/>
                    </a:lnTo>
                    <a:lnTo>
                      <a:pt x="1380" y="780"/>
                    </a:lnTo>
                    <a:lnTo>
                      <a:pt x="1380" y="786"/>
                    </a:lnTo>
                    <a:lnTo>
                      <a:pt x="1374" y="786"/>
                    </a:lnTo>
                    <a:lnTo>
                      <a:pt x="1368" y="786"/>
                    </a:lnTo>
                    <a:lnTo>
                      <a:pt x="1362" y="780"/>
                    </a:lnTo>
                    <a:lnTo>
                      <a:pt x="1356" y="780"/>
                    </a:lnTo>
                    <a:lnTo>
                      <a:pt x="1356" y="786"/>
                    </a:lnTo>
                    <a:lnTo>
                      <a:pt x="1350" y="786"/>
                    </a:lnTo>
                    <a:lnTo>
                      <a:pt x="1344" y="786"/>
                    </a:lnTo>
                    <a:lnTo>
                      <a:pt x="1338" y="786"/>
                    </a:lnTo>
                    <a:lnTo>
                      <a:pt x="1338" y="780"/>
                    </a:lnTo>
                    <a:lnTo>
                      <a:pt x="1332" y="780"/>
                    </a:lnTo>
                    <a:lnTo>
                      <a:pt x="1326" y="780"/>
                    </a:lnTo>
                    <a:lnTo>
                      <a:pt x="1320" y="774"/>
                    </a:lnTo>
                    <a:lnTo>
                      <a:pt x="1314" y="768"/>
                    </a:lnTo>
                    <a:lnTo>
                      <a:pt x="1314" y="762"/>
                    </a:lnTo>
                    <a:lnTo>
                      <a:pt x="1308" y="762"/>
                    </a:lnTo>
                    <a:lnTo>
                      <a:pt x="1308" y="768"/>
                    </a:lnTo>
                    <a:lnTo>
                      <a:pt x="1308" y="774"/>
                    </a:lnTo>
                    <a:lnTo>
                      <a:pt x="1308" y="780"/>
                    </a:lnTo>
                    <a:lnTo>
                      <a:pt x="1308" y="786"/>
                    </a:lnTo>
                    <a:lnTo>
                      <a:pt x="1308" y="792"/>
                    </a:lnTo>
                    <a:lnTo>
                      <a:pt x="1302" y="792"/>
                    </a:lnTo>
                    <a:lnTo>
                      <a:pt x="1302" y="786"/>
                    </a:lnTo>
                    <a:lnTo>
                      <a:pt x="1296" y="786"/>
                    </a:lnTo>
                    <a:lnTo>
                      <a:pt x="1296" y="780"/>
                    </a:lnTo>
                    <a:lnTo>
                      <a:pt x="1290" y="780"/>
                    </a:lnTo>
                    <a:lnTo>
                      <a:pt x="1284" y="780"/>
                    </a:lnTo>
                    <a:lnTo>
                      <a:pt x="1284" y="786"/>
                    </a:lnTo>
                    <a:lnTo>
                      <a:pt x="1278" y="786"/>
                    </a:lnTo>
                    <a:lnTo>
                      <a:pt x="1272" y="786"/>
                    </a:lnTo>
                    <a:lnTo>
                      <a:pt x="1266" y="786"/>
                    </a:lnTo>
                    <a:lnTo>
                      <a:pt x="1260" y="786"/>
                    </a:lnTo>
                    <a:lnTo>
                      <a:pt x="1260" y="792"/>
                    </a:lnTo>
                    <a:lnTo>
                      <a:pt x="1254" y="792"/>
                    </a:lnTo>
                    <a:lnTo>
                      <a:pt x="1248" y="792"/>
                    </a:lnTo>
                    <a:lnTo>
                      <a:pt x="1248" y="798"/>
                    </a:lnTo>
                    <a:lnTo>
                      <a:pt x="1242" y="798"/>
                    </a:lnTo>
                    <a:lnTo>
                      <a:pt x="1242" y="804"/>
                    </a:lnTo>
                    <a:lnTo>
                      <a:pt x="1242" y="810"/>
                    </a:lnTo>
                    <a:lnTo>
                      <a:pt x="1236" y="810"/>
                    </a:lnTo>
                    <a:lnTo>
                      <a:pt x="1236" y="816"/>
                    </a:lnTo>
                    <a:lnTo>
                      <a:pt x="1236" y="810"/>
                    </a:lnTo>
                    <a:lnTo>
                      <a:pt x="1230" y="810"/>
                    </a:lnTo>
                    <a:lnTo>
                      <a:pt x="1230" y="804"/>
                    </a:lnTo>
                    <a:lnTo>
                      <a:pt x="1224" y="804"/>
                    </a:lnTo>
                    <a:lnTo>
                      <a:pt x="1224" y="810"/>
                    </a:lnTo>
                    <a:lnTo>
                      <a:pt x="1218" y="810"/>
                    </a:lnTo>
                    <a:lnTo>
                      <a:pt x="1212" y="810"/>
                    </a:lnTo>
                    <a:lnTo>
                      <a:pt x="1212" y="816"/>
                    </a:lnTo>
                    <a:lnTo>
                      <a:pt x="1206" y="822"/>
                    </a:lnTo>
                    <a:lnTo>
                      <a:pt x="1206" y="828"/>
                    </a:lnTo>
                    <a:lnTo>
                      <a:pt x="1206" y="834"/>
                    </a:lnTo>
                    <a:lnTo>
                      <a:pt x="1206" y="840"/>
                    </a:lnTo>
                    <a:lnTo>
                      <a:pt x="1200" y="840"/>
                    </a:lnTo>
                    <a:lnTo>
                      <a:pt x="1194" y="840"/>
                    </a:lnTo>
                    <a:lnTo>
                      <a:pt x="1188" y="840"/>
                    </a:lnTo>
                    <a:lnTo>
                      <a:pt x="1182" y="840"/>
                    </a:lnTo>
                    <a:lnTo>
                      <a:pt x="1182" y="846"/>
                    </a:lnTo>
                    <a:lnTo>
                      <a:pt x="1182" y="852"/>
                    </a:lnTo>
                    <a:lnTo>
                      <a:pt x="1176" y="852"/>
                    </a:lnTo>
                    <a:lnTo>
                      <a:pt x="1170" y="852"/>
                    </a:lnTo>
                    <a:lnTo>
                      <a:pt x="1170" y="858"/>
                    </a:lnTo>
                    <a:lnTo>
                      <a:pt x="1164" y="858"/>
                    </a:lnTo>
                    <a:lnTo>
                      <a:pt x="1158" y="858"/>
                    </a:lnTo>
                    <a:lnTo>
                      <a:pt x="1152" y="858"/>
                    </a:lnTo>
                    <a:lnTo>
                      <a:pt x="1152" y="864"/>
                    </a:lnTo>
                    <a:lnTo>
                      <a:pt x="1152" y="870"/>
                    </a:lnTo>
                    <a:lnTo>
                      <a:pt x="1158" y="870"/>
                    </a:lnTo>
                    <a:lnTo>
                      <a:pt x="1158" y="876"/>
                    </a:lnTo>
                    <a:lnTo>
                      <a:pt x="1164" y="876"/>
                    </a:lnTo>
                    <a:lnTo>
                      <a:pt x="1164" y="882"/>
                    </a:lnTo>
                    <a:lnTo>
                      <a:pt x="1170" y="882"/>
                    </a:lnTo>
                    <a:lnTo>
                      <a:pt x="1170" y="888"/>
                    </a:lnTo>
                    <a:lnTo>
                      <a:pt x="1176" y="894"/>
                    </a:lnTo>
                    <a:lnTo>
                      <a:pt x="1176" y="900"/>
                    </a:lnTo>
                    <a:lnTo>
                      <a:pt x="1176" y="906"/>
                    </a:lnTo>
                    <a:lnTo>
                      <a:pt x="1176" y="912"/>
                    </a:lnTo>
                    <a:lnTo>
                      <a:pt x="1170" y="912"/>
                    </a:lnTo>
                    <a:lnTo>
                      <a:pt x="1164" y="918"/>
                    </a:lnTo>
                    <a:lnTo>
                      <a:pt x="1164" y="924"/>
                    </a:lnTo>
                    <a:lnTo>
                      <a:pt x="1164" y="930"/>
                    </a:lnTo>
                    <a:lnTo>
                      <a:pt x="1170" y="930"/>
                    </a:lnTo>
                    <a:lnTo>
                      <a:pt x="1170" y="936"/>
                    </a:lnTo>
                    <a:lnTo>
                      <a:pt x="1176" y="936"/>
                    </a:lnTo>
                    <a:lnTo>
                      <a:pt x="1182" y="936"/>
                    </a:lnTo>
                    <a:lnTo>
                      <a:pt x="1182" y="942"/>
                    </a:lnTo>
                    <a:lnTo>
                      <a:pt x="1176" y="942"/>
                    </a:lnTo>
                    <a:lnTo>
                      <a:pt x="1170" y="942"/>
                    </a:lnTo>
                    <a:lnTo>
                      <a:pt x="1170" y="936"/>
                    </a:lnTo>
                    <a:lnTo>
                      <a:pt x="1164" y="936"/>
                    </a:lnTo>
                    <a:lnTo>
                      <a:pt x="1158" y="936"/>
                    </a:lnTo>
                    <a:lnTo>
                      <a:pt x="1158" y="942"/>
                    </a:lnTo>
                    <a:lnTo>
                      <a:pt x="1152" y="942"/>
                    </a:lnTo>
                    <a:lnTo>
                      <a:pt x="1146" y="942"/>
                    </a:lnTo>
                    <a:lnTo>
                      <a:pt x="1146" y="936"/>
                    </a:lnTo>
                    <a:lnTo>
                      <a:pt x="1140" y="936"/>
                    </a:lnTo>
                    <a:lnTo>
                      <a:pt x="1134" y="936"/>
                    </a:lnTo>
                    <a:lnTo>
                      <a:pt x="1128" y="936"/>
                    </a:lnTo>
                    <a:lnTo>
                      <a:pt x="1128" y="942"/>
                    </a:lnTo>
                    <a:lnTo>
                      <a:pt x="1128" y="948"/>
                    </a:lnTo>
                    <a:lnTo>
                      <a:pt x="1122" y="948"/>
                    </a:lnTo>
                    <a:lnTo>
                      <a:pt x="1122" y="942"/>
                    </a:lnTo>
                    <a:lnTo>
                      <a:pt x="1116" y="942"/>
                    </a:lnTo>
                    <a:lnTo>
                      <a:pt x="1110" y="942"/>
                    </a:lnTo>
                    <a:lnTo>
                      <a:pt x="1110" y="948"/>
                    </a:lnTo>
                    <a:lnTo>
                      <a:pt x="1104" y="948"/>
                    </a:lnTo>
                    <a:lnTo>
                      <a:pt x="1104" y="954"/>
                    </a:lnTo>
                    <a:lnTo>
                      <a:pt x="1098" y="954"/>
                    </a:lnTo>
                    <a:lnTo>
                      <a:pt x="1098" y="960"/>
                    </a:lnTo>
                    <a:lnTo>
                      <a:pt x="1092" y="966"/>
                    </a:lnTo>
                    <a:lnTo>
                      <a:pt x="1098" y="966"/>
                    </a:lnTo>
                    <a:lnTo>
                      <a:pt x="1098" y="972"/>
                    </a:lnTo>
                    <a:lnTo>
                      <a:pt x="1092" y="978"/>
                    </a:lnTo>
                    <a:lnTo>
                      <a:pt x="1086" y="978"/>
                    </a:lnTo>
                    <a:lnTo>
                      <a:pt x="1080" y="978"/>
                    </a:lnTo>
                    <a:lnTo>
                      <a:pt x="1080" y="984"/>
                    </a:lnTo>
                    <a:lnTo>
                      <a:pt x="1074" y="990"/>
                    </a:lnTo>
                    <a:lnTo>
                      <a:pt x="1068" y="990"/>
                    </a:lnTo>
                    <a:lnTo>
                      <a:pt x="1068" y="996"/>
                    </a:lnTo>
                    <a:lnTo>
                      <a:pt x="1062" y="996"/>
                    </a:lnTo>
                    <a:lnTo>
                      <a:pt x="1062" y="1002"/>
                    </a:lnTo>
                    <a:lnTo>
                      <a:pt x="1056" y="1002"/>
                    </a:lnTo>
                    <a:lnTo>
                      <a:pt x="1056" y="1008"/>
                    </a:lnTo>
                    <a:lnTo>
                      <a:pt x="1050" y="1008"/>
                    </a:lnTo>
                    <a:lnTo>
                      <a:pt x="1050" y="1014"/>
                    </a:lnTo>
                    <a:lnTo>
                      <a:pt x="1050" y="1020"/>
                    </a:lnTo>
                    <a:lnTo>
                      <a:pt x="1044" y="1020"/>
                    </a:lnTo>
                    <a:lnTo>
                      <a:pt x="1044" y="1026"/>
                    </a:lnTo>
                    <a:lnTo>
                      <a:pt x="1044" y="1032"/>
                    </a:lnTo>
                    <a:lnTo>
                      <a:pt x="1044" y="1038"/>
                    </a:lnTo>
                    <a:lnTo>
                      <a:pt x="1050" y="1038"/>
                    </a:lnTo>
                    <a:lnTo>
                      <a:pt x="1050" y="1044"/>
                    </a:lnTo>
                    <a:lnTo>
                      <a:pt x="1044" y="1044"/>
                    </a:lnTo>
                    <a:lnTo>
                      <a:pt x="1044" y="1050"/>
                    </a:lnTo>
                    <a:lnTo>
                      <a:pt x="1038" y="1050"/>
                    </a:lnTo>
                    <a:lnTo>
                      <a:pt x="1032" y="1050"/>
                    </a:lnTo>
                    <a:lnTo>
                      <a:pt x="1032" y="1044"/>
                    </a:lnTo>
                    <a:lnTo>
                      <a:pt x="1032" y="1038"/>
                    </a:lnTo>
                    <a:lnTo>
                      <a:pt x="1026" y="1032"/>
                    </a:lnTo>
                    <a:lnTo>
                      <a:pt x="1026" y="1026"/>
                    </a:lnTo>
                    <a:lnTo>
                      <a:pt x="1026" y="1020"/>
                    </a:lnTo>
                    <a:lnTo>
                      <a:pt x="1020" y="1020"/>
                    </a:lnTo>
                    <a:lnTo>
                      <a:pt x="1014" y="1020"/>
                    </a:lnTo>
                    <a:lnTo>
                      <a:pt x="1008" y="1014"/>
                    </a:lnTo>
                    <a:lnTo>
                      <a:pt x="1002" y="1014"/>
                    </a:lnTo>
                    <a:lnTo>
                      <a:pt x="996" y="1014"/>
                    </a:lnTo>
                    <a:lnTo>
                      <a:pt x="990" y="1014"/>
                    </a:lnTo>
                    <a:lnTo>
                      <a:pt x="984" y="1014"/>
                    </a:lnTo>
                    <a:lnTo>
                      <a:pt x="978" y="1014"/>
                    </a:lnTo>
                    <a:lnTo>
                      <a:pt x="978" y="1008"/>
                    </a:lnTo>
                    <a:lnTo>
                      <a:pt x="978" y="1002"/>
                    </a:lnTo>
                    <a:lnTo>
                      <a:pt x="972" y="1002"/>
                    </a:lnTo>
                    <a:lnTo>
                      <a:pt x="966" y="1002"/>
                    </a:lnTo>
                    <a:lnTo>
                      <a:pt x="960" y="1002"/>
                    </a:lnTo>
                    <a:lnTo>
                      <a:pt x="954" y="1008"/>
                    </a:lnTo>
                    <a:lnTo>
                      <a:pt x="948" y="1008"/>
                    </a:lnTo>
                    <a:lnTo>
                      <a:pt x="948" y="1014"/>
                    </a:lnTo>
                    <a:lnTo>
                      <a:pt x="942" y="1014"/>
                    </a:lnTo>
                    <a:lnTo>
                      <a:pt x="936" y="1014"/>
                    </a:lnTo>
                    <a:lnTo>
                      <a:pt x="936" y="1020"/>
                    </a:lnTo>
                    <a:lnTo>
                      <a:pt x="930" y="1020"/>
                    </a:lnTo>
                    <a:lnTo>
                      <a:pt x="924" y="1026"/>
                    </a:lnTo>
                    <a:lnTo>
                      <a:pt x="924" y="1032"/>
                    </a:lnTo>
                    <a:lnTo>
                      <a:pt x="918" y="1032"/>
                    </a:lnTo>
                    <a:lnTo>
                      <a:pt x="912" y="1032"/>
                    </a:lnTo>
                    <a:lnTo>
                      <a:pt x="906" y="1032"/>
                    </a:lnTo>
                    <a:lnTo>
                      <a:pt x="906" y="1026"/>
                    </a:lnTo>
                    <a:lnTo>
                      <a:pt x="900" y="1026"/>
                    </a:lnTo>
                    <a:lnTo>
                      <a:pt x="894" y="1032"/>
                    </a:lnTo>
                    <a:lnTo>
                      <a:pt x="888" y="1038"/>
                    </a:lnTo>
                    <a:lnTo>
                      <a:pt x="882" y="1038"/>
                    </a:lnTo>
                    <a:lnTo>
                      <a:pt x="876" y="1038"/>
                    </a:lnTo>
                    <a:lnTo>
                      <a:pt x="870" y="1038"/>
                    </a:lnTo>
                    <a:lnTo>
                      <a:pt x="870" y="1044"/>
                    </a:lnTo>
                    <a:lnTo>
                      <a:pt x="864" y="1044"/>
                    </a:lnTo>
                    <a:lnTo>
                      <a:pt x="858" y="1044"/>
                    </a:lnTo>
                    <a:lnTo>
                      <a:pt x="852" y="1044"/>
                    </a:lnTo>
                    <a:lnTo>
                      <a:pt x="846" y="1050"/>
                    </a:lnTo>
                    <a:lnTo>
                      <a:pt x="840" y="1050"/>
                    </a:lnTo>
                    <a:lnTo>
                      <a:pt x="840" y="1056"/>
                    </a:lnTo>
                    <a:lnTo>
                      <a:pt x="834" y="1056"/>
                    </a:lnTo>
                    <a:lnTo>
                      <a:pt x="834" y="1062"/>
                    </a:lnTo>
                    <a:lnTo>
                      <a:pt x="828" y="1062"/>
                    </a:lnTo>
                    <a:lnTo>
                      <a:pt x="828" y="1068"/>
                    </a:lnTo>
                    <a:lnTo>
                      <a:pt x="822" y="1068"/>
                    </a:lnTo>
                    <a:lnTo>
                      <a:pt x="816" y="1068"/>
                    </a:lnTo>
                    <a:lnTo>
                      <a:pt x="810" y="1068"/>
                    </a:lnTo>
                    <a:lnTo>
                      <a:pt x="810" y="1074"/>
                    </a:lnTo>
                    <a:lnTo>
                      <a:pt x="804" y="1074"/>
                    </a:lnTo>
                    <a:lnTo>
                      <a:pt x="804" y="1080"/>
                    </a:lnTo>
                    <a:lnTo>
                      <a:pt x="798" y="1080"/>
                    </a:lnTo>
                    <a:lnTo>
                      <a:pt x="798" y="1086"/>
                    </a:lnTo>
                    <a:lnTo>
                      <a:pt x="798" y="1092"/>
                    </a:lnTo>
                    <a:lnTo>
                      <a:pt x="798" y="1098"/>
                    </a:lnTo>
                    <a:lnTo>
                      <a:pt x="792" y="1098"/>
                    </a:lnTo>
                    <a:lnTo>
                      <a:pt x="792" y="1104"/>
                    </a:lnTo>
                    <a:lnTo>
                      <a:pt x="786" y="1104"/>
                    </a:lnTo>
                    <a:lnTo>
                      <a:pt x="786" y="1110"/>
                    </a:lnTo>
                    <a:lnTo>
                      <a:pt x="780" y="1110"/>
                    </a:lnTo>
                    <a:lnTo>
                      <a:pt x="780" y="1116"/>
                    </a:lnTo>
                    <a:lnTo>
                      <a:pt x="774" y="1116"/>
                    </a:lnTo>
                    <a:lnTo>
                      <a:pt x="768" y="1116"/>
                    </a:lnTo>
                    <a:lnTo>
                      <a:pt x="762" y="1116"/>
                    </a:lnTo>
                    <a:lnTo>
                      <a:pt x="762" y="1122"/>
                    </a:lnTo>
                    <a:lnTo>
                      <a:pt x="762" y="1128"/>
                    </a:lnTo>
                    <a:lnTo>
                      <a:pt x="756" y="1128"/>
                    </a:lnTo>
                    <a:lnTo>
                      <a:pt x="756" y="1134"/>
                    </a:lnTo>
                    <a:lnTo>
                      <a:pt x="750" y="1134"/>
                    </a:lnTo>
                    <a:lnTo>
                      <a:pt x="756" y="1140"/>
                    </a:lnTo>
                    <a:lnTo>
                      <a:pt x="756" y="1146"/>
                    </a:lnTo>
                    <a:lnTo>
                      <a:pt x="750" y="1146"/>
                    </a:lnTo>
                    <a:lnTo>
                      <a:pt x="750" y="1152"/>
                    </a:lnTo>
                    <a:lnTo>
                      <a:pt x="744" y="1158"/>
                    </a:lnTo>
                    <a:lnTo>
                      <a:pt x="744" y="1164"/>
                    </a:lnTo>
                    <a:lnTo>
                      <a:pt x="738" y="1164"/>
                    </a:lnTo>
                    <a:lnTo>
                      <a:pt x="732" y="1164"/>
                    </a:lnTo>
                    <a:lnTo>
                      <a:pt x="726" y="1164"/>
                    </a:lnTo>
                    <a:lnTo>
                      <a:pt x="726" y="1170"/>
                    </a:lnTo>
                    <a:lnTo>
                      <a:pt x="720" y="1170"/>
                    </a:lnTo>
                    <a:lnTo>
                      <a:pt x="714" y="1170"/>
                    </a:lnTo>
                    <a:lnTo>
                      <a:pt x="714" y="1176"/>
                    </a:lnTo>
                    <a:lnTo>
                      <a:pt x="708" y="1176"/>
                    </a:lnTo>
                    <a:lnTo>
                      <a:pt x="702" y="1170"/>
                    </a:lnTo>
                    <a:lnTo>
                      <a:pt x="696" y="1164"/>
                    </a:lnTo>
                    <a:lnTo>
                      <a:pt x="696" y="1158"/>
                    </a:lnTo>
                    <a:lnTo>
                      <a:pt x="696" y="1152"/>
                    </a:lnTo>
                    <a:lnTo>
                      <a:pt x="690" y="1152"/>
                    </a:lnTo>
                    <a:lnTo>
                      <a:pt x="690" y="1146"/>
                    </a:lnTo>
                    <a:lnTo>
                      <a:pt x="684" y="1140"/>
                    </a:lnTo>
                    <a:lnTo>
                      <a:pt x="684" y="1134"/>
                    </a:lnTo>
                    <a:lnTo>
                      <a:pt x="684" y="1128"/>
                    </a:lnTo>
                    <a:lnTo>
                      <a:pt x="678" y="1128"/>
                    </a:lnTo>
                    <a:lnTo>
                      <a:pt x="678" y="1122"/>
                    </a:lnTo>
                    <a:lnTo>
                      <a:pt x="672" y="1116"/>
                    </a:lnTo>
                    <a:lnTo>
                      <a:pt x="672" y="1110"/>
                    </a:lnTo>
                    <a:lnTo>
                      <a:pt x="678" y="1110"/>
                    </a:lnTo>
                    <a:lnTo>
                      <a:pt x="684" y="1104"/>
                    </a:lnTo>
                    <a:lnTo>
                      <a:pt x="684" y="1098"/>
                    </a:lnTo>
                    <a:lnTo>
                      <a:pt x="690" y="1098"/>
                    </a:lnTo>
                    <a:lnTo>
                      <a:pt x="696" y="1092"/>
                    </a:lnTo>
                    <a:lnTo>
                      <a:pt x="696" y="1086"/>
                    </a:lnTo>
                    <a:lnTo>
                      <a:pt x="702" y="1080"/>
                    </a:lnTo>
                    <a:lnTo>
                      <a:pt x="708" y="1074"/>
                    </a:lnTo>
                    <a:lnTo>
                      <a:pt x="714" y="1068"/>
                    </a:lnTo>
                    <a:lnTo>
                      <a:pt x="720" y="1062"/>
                    </a:lnTo>
                    <a:lnTo>
                      <a:pt x="720" y="1056"/>
                    </a:lnTo>
                    <a:lnTo>
                      <a:pt x="726" y="1050"/>
                    </a:lnTo>
                    <a:lnTo>
                      <a:pt x="732" y="1044"/>
                    </a:lnTo>
                    <a:lnTo>
                      <a:pt x="732" y="1038"/>
                    </a:lnTo>
                    <a:lnTo>
                      <a:pt x="720" y="1038"/>
                    </a:lnTo>
                    <a:lnTo>
                      <a:pt x="696" y="1038"/>
                    </a:lnTo>
                    <a:lnTo>
                      <a:pt x="678" y="1038"/>
                    </a:lnTo>
                    <a:lnTo>
                      <a:pt x="666" y="1038"/>
                    </a:lnTo>
                    <a:lnTo>
                      <a:pt x="660" y="1038"/>
                    </a:lnTo>
                    <a:lnTo>
                      <a:pt x="660" y="1032"/>
                    </a:lnTo>
                    <a:lnTo>
                      <a:pt x="660" y="1026"/>
                    </a:lnTo>
                    <a:lnTo>
                      <a:pt x="654" y="1020"/>
                    </a:lnTo>
                    <a:lnTo>
                      <a:pt x="654" y="1014"/>
                    </a:lnTo>
                    <a:lnTo>
                      <a:pt x="654" y="1008"/>
                    </a:lnTo>
                    <a:lnTo>
                      <a:pt x="648" y="1014"/>
                    </a:lnTo>
                    <a:lnTo>
                      <a:pt x="648" y="1020"/>
                    </a:lnTo>
                    <a:lnTo>
                      <a:pt x="636" y="1020"/>
                    </a:lnTo>
                    <a:lnTo>
                      <a:pt x="630" y="1020"/>
                    </a:lnTo>
                    <a:lnTo>
                      <a:pt x="630" y="1026"/>
                    </a:lnTo>
                    <a:lnTo>
                      <a:pt x="624" y="1032"/>
                    </a:lnTo>
                    <a:lnTo>
                      <a:pt x="624" y="1038"/>
                    </a:lnTo>
                    <a:lnTo>
                      <a:pt x="630" y="1044"/>
                    </a:lnTo>
                    <a:lnTo>
                      <a:pt x="630" y="1050"/>
                    </a:lnTo>
                    <a:lnTo>
                      <a:pt x="636" y="1050"/>
                    </a:lnTo>
                    <a:lnTo>
                      <a:pt x="636" y="1056"/>
                    </a:lnTo>
                    <a:lnTo>
                      <a:pt x="636" y="1062"/>
                    </a:lnTo>
                    <a:lnTo>
                      <a:pt x="636" y="1068"/>
                    </a:lnTo>
                    <a:lnTo>
                      <a:pt x="630" y="1068"/>
                    </a:lnTo>
                    <a:lnTo>
                      <a:pt x="630" y="1074"/>
                    </a:lnTo>
                    <a:lnTo>
                      <a:pt x="636" y="1080"/>
                    </a:lnTo>
                    <a:lnTo>
                      <a:pt x="630" y="1086"/>
                    </a:lnTo>
                    <a:lnTo>
                      <a:pt x="630" y="1092"/>
                    </a:lnTo>
                    <a:lnTo>
                      <a:pt x="624" y="1092"/>
                    </a:lnTo>
                    <a:lnTo>
                      <a:pt x="618" y="1092"/>
                    </a:lnTo>
                    <a:lnTo>
                      <a:pt x="618" y="1098"/>
                    </a:lnTo>
                    <a:lnTo>
                      <a:pt x="618" y="1104"/>
                    </a:lnTo>
                    <a:lnTo>
                      <a:pt x="612" y="1104"/>
                    </a:lnTo>
                    <a:lnTo>
                      <a:pt x="612" y="1110"/>
                    </a:lnTo>
                    <a:lnTo>
                      <a:pt x="606" y="1116"/>
                    </a:lnTo>
                    <a:lnTo>
                      <a:pt x="612" y="1122"/>
                    </a:lnTo>
                    <a:lnTo>
                      <a:pt x="612" y="1128"/>
                    </a:lnTo>
                    <a:lnTo>
                      <a:pt x="612" y="1134"/>
                    </a:lnTo>
                    <a:lnTo>
                      <a:pt x="612" y="1140"/>
                    </a:lnTo>
                    <a:lnTo>
                      <a:pt x="606" y="1140"/>
                    </a:lnTo>
                    <a:lnTo>
                      <a:pt x="606" y="1146"/>
                    </a:lnTo>
                    <a:lnTo>
                      <a:pt x="606" y="1152"/>
                    </a:lnTo>
                    <a:lnTo>
                      <a:pt x="600" y="1152"/>
                    </a:lnTo>
                    <a:lnTo>
                      <a:pt x="594" y="1152"/>
                    </a:lnTo>
                    <a:lnTo>
                      <a:pt x="594" y="1158"/>
                    </a:lnTo>
                    <a:lnTo>
                      <a:pt x="594" y="1164"/>
                    </a:lnTo>
                    <a:lnTo>
                      <a:pt x="588" y="1164"/>
                    </a:lnTo>
                    <a:lnTo>
                      <a:pt x="588" y="1170"/>
                    </a:lnTo>
                    <a:lnTo>
                      <a:pt x="582" y="1176"/>
                    </a:lnTo>
                    <a:lnTo>
                      <a:pt x="576" y="1176"/>
                    </a:lnTo>
                    <a:lnTo>
                      <a:pt x="570" y="1170"/>
                    </a:lnTo>
                    <a:lnTo>
                      <a:pt x="558" y="1158"/>
                    </a:lnTo>
                    <a:lnTo>
                      <a:pt x="552" y="1158"/>
                    </a:lnTo>
                    <a:lnTo>
                      <a:pt x="552" y="1152"/>
                    </a:lnTo>
                    <a:lnTo>
                      <a:pt x="558" y="1140"/>
                    </a:lnTo>
                    <a:lnTo>
                      <a:pt x="564" y="1140"/>
                    </a:lnTo>
                    <a:lnTo>
                      <a:pt x="564" y="1134"/>
                    </a:lnTo>
                    <a:lnTo>
                      <a:pt x="552" y="1128"/>
                    </a:lnTo>
                    <a:lnTo>
                      <a:pt x="552" y="1122"/>
                    </a:lnTo>
                    <a:lnTo>
                      <a:pt x="546" y="1122"/>
                    </a:lnTo>
                    <a:lnTo>
                      <a:pt x="540" y="1122"/>
                    </a:lnTo>
                    <a:lnTo>
                      <a:pt x="534" y="1116"/>
                    </a:lnTo>
                    <a:lnTo>
                      <a:pt x="528" y="1110"/>
                    </a:lnTo>
                    <a:lnTo>
                      <a:pt x="540" y="1098"/>
                    </a:lnTo>
                    <a:lnTo>
                      <a:pt x="540" y="1092"/>
                    </a:lnTo>
                    <a:lnTo>
                      <a:pt x="552" y="1086"/>
                    </a:lnTo>
                    <a:lnTo>
                      <a:pt x="552" y="1080"/>
                    </a:lnTo>
                    <a:lnTo>
                      <a:pt x="552" y="1074"/>
                    </a:lnTo>
                    <a:lnTo>
                      <a:pt x="552" y="1068"/>
                    </a:lnTo>
                    <a:lnTo>
                      <a:pt x="552" y="1056"/>
                    </a:lnTo>
                    <a:lnTo>
                      <a:pt x="552" y="1050"/>
                    </a:lnTo>
                    <a:lnTo>
                      <a:pt x="552" y="1044"/>
                    </a:lnTo>
                    <a:lnTo>
                      <a:pt x="546" y="1038"/>
                    </a:lnTo>
                    <a:lnTo>
                      <a:pt x="498" y="1044"/>
                    </a:lnTo>
                    <a:lnTo>
                      <a:pt x="456" y="1056"/>
                    </a:lnTo>
                    <a:lnTo>
                      <a:pt x="444" y="1050"/>
                    </a:lnTo>
                    <a:lnTo>
                      <a:pt x="450" y="1014"/>
                    </a:lnTo>
                    <a:lnTo>
                      <a:pt x="432" y="1008"/>
                    </a:lnTo>
                    <a:lnTo>
                      <a:pt x="432" y="948"/>
                    </a:lnTo>
                    <a:lnTo>
                      <a:pt x="444" y="924"/>
                    </a:lnTo>
                    <a:lnTo>
                      <a:pt x="420" y="912"/>
                    </a:lnTo>
                    <a:lnTo>
                      <a:pt x="420" y="918"/>
                    </a:lnTo>
                    <a:lnTo>
                      <a:pt x="414" y="924"/>
                    </a:lnTo>
                    <a:lnTo>
                      <a:pt x="414" y="930"/>
                    </a:lnTo>
                    <a:lnTo>
                      <a:pt x="414" y="936"/>
                    </a:lnTo>
                    <a:lnTo>
                      <a:pt x="414" y="942"/>
                    </a:lnTo>
                    <a:lnTo>
                      <a:pt x="420" y="942"/>
                    </a:lnTo>
                    <a:lnTo>
                      <a:pt x="420" y="948"/>
                    </a:lnTo>
                    <a:lnTo>
                      <a:pt x="414" y="948"/>
                    </a:lnTo>
                    <a:lnTo>
                      <a:pt x="408" y="948"/>
                    </a:lnTo>
                    <a:lnTo>
                      <a:pt x="390" y="942"/>
                    </a:lnTo>
                    <a:lnTo>
                      <a:pt x="384" y="948"/>
                    </a:lnTo>
                    <a:lnTo>
                      <a:pt x="384" y="954"/>
                    </a:lnTo>
                    <a:lnTo>
                      <a:pt x="384" y="960"/>
                    </a:lnTo>
                    <a:lnTo>
                      <a:pt x="396" y="960"/>
                    </a:lnTo>
                    <a:lnTo>
                      <a:pt x="396" y="966"/>
                    </a:lnTo>
                    <a:lnTo>
                      <a:pt x="390" y="966"/>
                    </a:lnTo>
                    <a:lnTo>
                      <a:pt x="390" y="972"/>
                    </a:lnTo>
                    <a:lnTo>
                      <a:pt x="384" y="972"/>
                    </a:lnTo>
                    <a:lnTo>
                      <a:pt x="366" y="966"/>
                    </a:lnTo>
                    <a:lnTo>
                      <a:pt x="360" y="966"/>
                    </a:lnTo>
                    <a:lnTo>
                      <a:pt x="348" y="990"/>
                    </a:lnTo>
                    <a:lnTo>
                      <a:pt x="342" y="990"/>
                    </a:lnTo>
                    <a:lnTo>
                      <a:pt x="330" y="984"/>
                    </a:lnTo>
                    <a:lnTo>
                      <a:pt x="312" y="978"/>
                    </a:lnTo>
                    <a:lnTo>
                      <a:pt x="300" y="966"/>
                    </a:lnTo>
                    <a:lnTo>
                      <a:pt x="294" y="966"/>
                    </a:lnTo>
                    <a:lnTo>
                      <a:pt x="282" y="966"/>
                    </a:lnTo>
                    <a:lnTo>
                      <a:pt x="264" y="966"/>
                    </a:lnTo>
                    <a:lnTo>
                      <a:pt x="264" y="960"/>
                    </a:lnTo>
                    <a:lnTo>
                      <a:pt x="264" y="954"/>
                    </a:lnTo>
                    <a:lnTo>
                      <a:pt x="264" y="948"/>
                    </a:lnTo>
                    <a:lnTo>
                      <a:pt x="258" y="942"/>
                    </a:lnTo>
                    <a:lnTo>
                      <a:pt x="252" y="942"/>
                    </a:lnTo>
                    <a:lnTo>
                      <a:pt x="246" y="948"/>
                    </a:lnTo>
                    <a:lnTo>
                      <a:pt x="240" y="942"/>
                    </a:lnTo>
                    <a:lnTo>
                      <a:pt x="228" y="936"/>
                    </a:lnTo>
                    <a:lnTo>
                      <a:pt x="222" y="930"/>
                    </a:lnTo>
                    <a:lnTo>
                      <a:pt x="210" y="924"/>
                    </a:lnTo>
                    <a:lnTo>
                      <a:pt x="198" y="924"/>
                    </a:lnTo>
                    <a:lnTo>
                      <a:pt x="192" y="924"/>
                    </a:lnTo>
                    <a:lnTo>
                      <a:pt x="186" y="924"/>
                    </a:lnTo>
                    <a:lnTo>
                      <a:pt x="180" y="912"/>
                    </a:lnTo>
                    <a:lnTo>
                      <a:pt x="168" y="900"/>
                    </a:lnTo>
                    <a:lnTo>
                      <a:pt x="162" y="894"/>
                    </a:lnTo>
                    <a:lnTo>
                      <a:pt x="156" y="888"/>
                    </a:lnTo>
                    <a:lnTo>
                      <a:pt x="150" y="888"/>
                    </a:lnTo>
                    <a:lnTo>
                      <a:pt x="150" y="876"/>
                    </a:lnTo>
                    <a:lnTo>
                      <a:pt x="144" y="876"/>
                    </a:lnTo>
                    <a:lnTo>
                      <a:pt x="138" y="876"/>
                    </a:lnTo>
                    <a:lnTo>
                      <a:pt x="126" y="882"/>
                    </a:lnTo>
                    <a:lnTo>
                      <a:pt x="126" y="876"/>
                    </a:lnTo>
                    <a:lnTo>
                      <a:pt x="120" y="870"/>
                    </a:lnTo>
                    <a:lnTo>
                      <a:pt x="120" y="864"/>
                    </a:lnTo>
                    <a:lnTo>
                      <a:pt x="114" y="846"/>
                    </a:lnTo>
                    <a:lnTo>
                      <a:pt x="114" y="834"/>
                    </a:lnTo>
                    <a:lnTo>
                      <a:pt x="114" y="822"/>
                    </a:lnTo>
                    <a:lnTo>
                      <a:pt x="120" y="816"/>
                    </a:lnTo>
                    <a:lnTo>
                      <a:pt x="132" y="816"/>
                    </a:lnTo>
                    <a:lnTo>
                      <a:pt x="138" y="810"/>
                    </a:lnTo>
                    <a:lnTo>
                      <a:pt x="138" y="804"/>
                    </a:lnTo>
                    <a:lnTo>
                      <a:pt x="126" y="792"/>
                    </a:lnTo>
                    <a:lnTo>
                      <a:pt x="126" y="780"/>
                    </a:lnTo>
                    <a:lnTo>
                      <a:pt x="126" y="774"/>
                    </a:lnTo>
                    <a:lnTo>
                      <a:pt x="120" y="762"/>
                    </a:lnTo>
                    <a:lnTo>
                      <a:pt x="120" y="744"/>
                    </a:lnTo>
                    <a:lnTo>
                      <a:pt x="132" y="738"/>
                    </a:lnTo>
                    <a:lnTo>
                      <a:pt x="126" y="732"/>
                    </a:lnTo>
                    <a:lnTo>
                      <a:pt x="120" y="726"/>
                    </a:lnTo>
                    <a:lnTo>
                      <a:pt x="126" y="714"/>
                    </a:lnTo>
                    <a:lnTo>
                      <a:pt x="132" y="702"/>
                    </a:lnTo>
                    <a:lnTo>
                      <a:pt x="132" y="696"/>
                    </a:lnTo>
                    <a:lnTo>
                      <a:pt x="126" y="696"/>
                    </a:lnTo>
                    <a:lnTo>
                      <a:pt x="120" y="696"/>
                    </a:lnTo>
                    <a:lnTo>
                      <a:pt x="114" y="690"/>
                    </a:lnTo>
                    <a:lnTo>
                      <a:pt x="108" y="678"/>
                    </a:lnTo>
                    <a:lnTo>
                      <a:pt x="102" y="678"/>
                    </a:lnTo>
                    <a:lnTo>
                      <a:pt x="102" y="684"/>
                    </a:lnTo>
                    <a:lnTo>
                      <a:pt x="96" y="684"/>
                    </a:lnTo>
                    <a:lnTo>
                      <a:pt x="96" y="672"/>
                    </a:lnTo>
                    <a:lnTo>
                      <a:pt x="90" y="672"/>
                    </a:lnTo>
                    <a:lnTo>
                      <a:pt x="84" y="672"/>
                    </a:lnTo>
                    <a:lnTo>
                      <a:pt x="78" y="672"/>
                    </a:lnTo>
                    <a:lnTo>
                      <a:pt x="72" y="672"/>
                    </a:lnTo>
                    <a:lnTo>
                      <a:pt x="72" y="666"/>
                    </a:lnTo>
                    <a:lnTo>
                      <a:pt x="66" y="660"/>
                    </a:lnTo>
                    <a:lnTo>
                      <a:pt x="54" y="666"/>
                    </a:lnTo>
                    <a:lnTo>
                      <a:pt x="54" y="660"/>
                    </a:lnTo>
                    <a:lnTo>
                      <a:pt x="48" y="660"/>
                    </a:lnTo>
                    <a:lnTo>
                      <a:pt x="42" y="660"/>
                    </a:lnTo>
                    <a:lnTo>
                      <a:pt x="42" y="666"/>
                    </a:lnTo>
                    <a:lnTo>
                      <a:pt x="36" y="666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24" y="660"/>
                    </a:lnTo>
                    <a:lnTo>
                      <a:pt x="24" y="642"/>
                    </a:lnTo>
                    <a:lnTo>
                      <a:pt x="18" y="636"/>
                    </a:lnTo>
                    <a:lnTo>
                      <a:pt x="18" y="618"/>
                    </a:lnTo>
                    <a:lnTo>
                      <a:pt x="24" y="612"/>
                    </a:lnTo>
                    <a:lnTo>
                      <a:pt x="18" y="510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6" y="504"/>
                    </a:lnTo>
                    <a:lnTo>
                      <a:pt x="6" y="498"/>
                    </a:lnTo>
                    <a:lnTo>
                      <a:pt x="12" y="498"/>
                    </a:lnTo>
                    <a:lnTo>
                      <a:pt x="12" y="492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8" y="474"/>
                    </a:lnTo>
                    <a:lnTo>
                      <a:pt x="18" y="480"/>
                    </a:lnTo>
                    <a:lnTo>
                      <a:pt x="30" y="474"/>
                    </a:lnTo>
                    <a:lnTo>
                      <a:pt x="30" y="468"/>
                    </a:lnTo>
                    <a:lnTo>
                      <a:pt x="30" y="462"/>
                    </a:lnTo>
                    <a:lnTo>
                      <a:pt x="30" y="456"/>
                    </a:lnTo>
                    <a:lnTo>
                      <a:pt x="30" y="450"/>
                    </a:lnTo>
                    <a:lnTo>
                      <a:pt x="36" y="444"/>
                    </a:lnTo>
                    <a:lnTo>
                      <a:pt x="36" y="438"/>
                    </a:lnTo>
                    <a:lnTo>
                      <a:pt x="30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6" y="426"/>
                    </a:lnTo>
                    <a:lnTo>
                      <a:pt x="36" y="420"/>
                    </a:lnTo>
                    <a:lnTo>
                      <a:pt x="42" y="414"/>
                    </a:lnTo>
                    <a:lnTo>
                      <a:pt x="48" y="414"/>
                    </a:lnTo>
                    <a:lnTo>
                      <a:pt x="48" y="408"/>
                    </a:lnTo>
                    <a:lnTo>
                      <a:pt x="42" y="408"/>
                    </a:lnTo>
                    <a:lnTo>
                      <a:pt x="36" y="402"/>
                    </a:lnTo>
                    <a:lnTo>
                      <a:pt x="36" y="396"/>
                    </a:lnTo>
                    <a:lnTo>
                      <a:pt x="42" y="396"/>
                    </a:lnTo>
                    <a:lnTo>
                      <a:pt x="42" y="390"/>
                    </a:lnTo>
                    <a:lnTo>
                      <a:pt x="42" y="378"/>
                    </a:lnTo>
                    <a:lnTo>
                      <a:pt x="48" y="378"/>
                    </a:lnTo>
                    <a:lnTo>
                      <a:pt x="54" y="372"/>
                    </a:lnTo>
                    <a:lnTo>
                      <a:pt x="60" y="366"/>
                    </a:lnTo>
                    <a:lnTo>
                      <a:pt x="60" y="360"/>
                    </a:lnTo>
                    <a:lnTo>
                      <a:pt x="60" y="354"/>
                    </a:lnTo>
                    <a:lnTo>
                      <a:pt x="54" y="354"/>
                    </a:lnTo>
                    <a:lnTo>
                      <a:pt x="54" y="348"/>
                    </a:lnTo>
                    <a:lnTo>
                      <a:pt x="54" y="342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54" y="330"/>
                    </a:lnTo>
                    <a:lnTo>
                      <a:pt x="54" y="324"/>
                    </a:lnTo>
                    <a:lnTo>
                      <a:pt x="60" y="324"/>
                    </a:lnTo>
                    <a:lnTo>
                      <a:pt x="60" y="318"/>
                    </a:lnTo>
                    <a:lnTo>
                      <a:pt x="60" y="312"/>
                    </a:lnTo>
                    <a:lnTo>
                      <a:pt x="66" y="306"/>
                    </a:lnTo>
                    <a:lnTo>
                      <a:pt x="66" y="300"/>
                    </a:lnTo>
                    <a:lnTo>
                      <a:pt x="66" y="294"/>
                    </a:lnTo>
                    <a:lnTo>
                      <a:pt x="72" y="294"/>
                    </a:lnTo>
                    <a:lnTo>
                      <a:pt x="72" y="288"/>
                    </a:lnTo>
                    <a:lnTo>
                      <a:pt x="78" y="294"/>
                    </a:lnTo>
                    <a:lnTo>
                      <a:pt x="78" y="288"/>
                    </a:lnTo>
                    <a:lnTo>
                      <a:pt x="84" y="276"/>
                    </a:lnTo>
                    <a:lnTo>
                      <a:pt x="84" y="270"/>
                    </a:lnTo>
                    <a:lnTo>
                      <a:pt x="90" y="264"/>
                    </a:lnTo>
                    <a:lnTo>
                      <a:pt x="96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102" y="240"/>
                    </a:lnTo>
                    <a:lnTo>
                      <a:pt x="108" y="240"/>
                    </a:lnTo>
                    <a:lnTo>
                      <a:pt x="114" y="240"/>
                    </a:lnTo>
                    <a:lnTo>
                      <a:pt x="114" y="234"/>
                    </a:lnTo>
                    <a:lnTo>
                      <a:pt x="114" y="228"/>
                    </a:lnTo>
                    <a:lnTo>
                      <a:pt x="120" y="234"/>
                    </a:lnTo>
                    <a:lnTo>
                      <a:pt x="126" y="228"/>
                    </a:lnTo>
                    <a:lnTo>
                      <a:pt x="132" y="228"/>
                    </a:lnTo>
                    <a:lnTo>
                      <a:pt x="126" y="234"/>
                    </a:lnTo>
                    <a:lnTo>
                      <a:pt x="132" y="240"/>
                    </a:lnTo>
                    <a:lnTo>
                      <a:pt x="138" y="240"/>
                    </a:lnTo>
                    <a:lnTo>
                      <a:pt x="138" y="234"/>
                    </a:lnTo>
                    <a:lnTo>
                      <a:pt x="144" y="228"/>
                    </a:lnTo>
                    <a:lnTo>
                      <a:pt x="150" y="228"/>
                    </a:lnTo>
                    <a:lnTo>
                      <a:pt x="150" y="234"/>
                    </a:lnTo>
                    <a:lnTo>
                      <a:pt x="156" y="228"/>
                    </a:lnTo>
                    <a:lnTo>
                      <a:pt x="162" y="228"/>
                    </a:lnTo>
                    <a:lnTo>
                      <a:pt x="162" y="222"/>
                    </a:lnTo>
                    <a:lnTo>
                      <a:pt x="168" y="222"/>
                    </a:lnTo>
                    <a:lnTo>
                      <a:pt x="174" y="222"/>
                    </a:lnTo>
                    <a:lnTo>
                      <a:pt x="180" y="222"/>
                    </a:lnTo>
                    <a:lnTo>
                      <a:pt x="186" y="222"/>
                    </a:lnTo>
                    <a:lnTo>
                      <a:pt x="192" y="222"/>
                    </a:lnTo>
                    <a:lnTo>
                      <a:pt x="192" y="216"/>
                    </a:lnTo>
                    <a:lnTo>
                      <a:pt x="198" y="216"/>
                    </a:lnTo>
                    <a:lnTo>
                      <a:pt x="198" y="222"/>
                    </a:lnTo>
                    <a:lnTo>
                      <a:pt x="204" y="222"/>
                    </a:lnTo>
                    <a:lnTo>
                      <a:pt x="210" y="222"/>
                    </a:lnTo>
                    <a:lnTo>
                      <a:pt x="222" y="222"/>
                    </a:lnTo>
                    <a:lnTo>
                      <a:pt x="222" y="228"/>
                    </a:lnTo>
                    <a:lnTo>
                      <a:pt x="228" y="228"/>
                    </a:lnTo>
                    <a:lnTo>
                      <a:pt x="234" y="228"/>
                    </a:lnTo>
                    <a:lnTo>
                      <a:pt x="240" y="228"/>
                    </a:lnTo>
                    <a:lnTo>
                      <a:pt x="246" y="222"/>
                    </a:lnTo>
                    <a:lnTo>
                      <a:pt x="246" y="216"/>
                    </a:lnTo>
                    <a:lnTo>
                      <a:pt x="252" y="216"/>
                    </a:lnTo>
                    <a:lnTo>
                      <a:pt x="252" y="222"/>
                    </a:lnTo>
                    <a:lnTo>
                      <a:pt x="252" y="228"/>
                    </a:lnTo>
                    <a:lnTo>
                      <a:pt x="258" y="228"/>
                    </a:lnTo>
                    <a:lnTo>
                      <a:pt x="264" y="234"/>
                    </a:lnTo>
                    <a:lnTo>
                      <a:pt x="264" y="240"/>
                    </a:lnTo>
                    <a:lnTo>
                      <a:pt x="264" y="246"/>
                    </a:lnTo>
                    <a:lnTo>
                      <a:pt x="270" y="240"/>
                    </a:lnTo>
                    <a:lnTo>
                      <a:pt x="276" y="246"/>
                    </a:lnTo>
                    <a:lnTo>
                      <a:pt x="282" y="246"/>
                    </a:lnTo>
                    <a:lnTo>
                      <a:pt x="282" y="252"/>
                    </a:lnTo>
                    <a:lnTo>
                      <a:pt x="288" y="252"/>
                    </a:lnTo>
                    <a:lnTo>
                      <a:pt x="294" y="258"/>
                    </a:lnTo>
                    <a:lnTo>
                      <a:pt x="300" y="252"/>
                    </a:lnTo>
                    <a:lnTo>
                      <a:pt x="300" y="258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6" y="270"/>
                    </a:lnTo>
                    <a:lnTo>
                      <a:pt x="312" y="270"/>
                    </a:lnTo>
                    <a:lnTo>
                      <a:pt x="312" y="264"/>
                    </a:lnTo>
                    <a:lnTo>
                      <a:pt x="318" y="270"/>
                    </a:lnTo>
                    <a:lnTo>
                      <a:pt x="318" y="276"/>
                    </a:lnTo>
                    <a:lnTo>
                      <a:pt x="324" y="276"/>
                    </a:lnTo>
                    <a:lnTo>
                      <a:pt x="330" y="282"/>
                    </a:lnTo>
                    <a:lnTo>
                      <a:pt x="330" y="276"/>
                    </a:lnTo>
                    <a:lnTo>
                      <a:pt x="336" y="282"/>
                    </a:lnTo>
                    <a:lnTo>
                      <a:pt x="342" y="282"/>
                    </a:lnTo>
                    <a:lnTo>
                      <a:pt x="342" y="288"/>
                    </a:lnTo>
                    <a:lnTo>
                      <a:pt x="342" y="294"/>
                    </a:lnTo>
                    <a:lnTo>
                      <a:pt x="348" y="294"/>
                    </a:lnTo>
                    <a:lnTo>
                      <a:pt x="354" y="300"/>
                    </a:lnTo>
                    <a:lnTo>
                      <a:pt x="360" y="300"/>
                    </a:lnTo>
                    <a:lnTo>
                      <a:pt x="366" y="300"/>
                    </a:lnTo>
                    <a:lnTo>
                      <a:pt x="360" y="300"/>
                    </a:lnTo>
                    <a:lnTo>
                      <a:pt x="360" y="306"/>
                    </a:lnTo>
                    <a:lnTo>
                      <a:pt x="360" y="312"/>
                    </a:lnTo>
                    <a:lnTo>
                      <a:pt x="366" y="312"/>
                    </a:lnTo>
                    <a:lnTo>
                      <a:pt x="372" y="312"/>
                    </a:lnTo>
                    <a:lnTo>
                      <a:pt x="366" y="318"/>
                    </a:lnTo>
                    <a:lnTo>
                      <a:pt x="372" y="318"/>
                    </a:lnTo>
                    <a:lnTo>
                      <a:pt x="378" y="318"/>
                    </a:lnTo>
                    <a:lnTo>
                      <a:pt x="384" y="324"/>
                    </a:lnTo>
                    <a:lnTo>
                      <a:pt x="384" y="330"/>
                    </a:lnTo>
                    <a:lnTo>
                      <a:pt x="390" y="330"/>
                    </a:lnTo>
                    <a:lnTo>
                      <a:pt x="390" y="336"/>
                    </a:lnTo>
                    <a:lnTo>
                      <a:pt x="396" y="342"/>
                    </a:lnTo>
                    <a:lnTo>
                      <a:pt x="402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14" y="336"/>
                    </a:lnTo>
                    <a:lnTo>
                      <a:pt x="420" y="336"/>
                    </a:lnTo>
                    <a:lnTo>
                      <a:pt x="420" y="342"/>
                    </a:lnTo>
                    <a:lnTo>
                      <a:pt x="420" y="348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8" y="348"/>
                    </a:lnTo>
                    <a:lnTo>
                      <a:pt x="438" y="342"/>
                    </a:lnTo>
                    <a:lnTo>
                      <a:pt x="438" y="336"/>
                    </a:lnTo>
                    <a:lnTo>
                      <a:pt x="444" y="336"/>
                    </a:lnTo>
                    <a:lnTo>
                      <a:pt x="444" y="342"/>
                    </a:lnTo>
                    <a:lnTo>
                      <a:pt x="450" y="342"/>
                    </a:lnTo>
                    <a:lnTo>
                      <a:pt x="456" y="336"/>
                    </a:lnTo>
                    <a:lnTo>
                      <a:pt x="462" y="336"/>
                    </a:lnTo>
                    <a:lnTo>
                      <a:pt x="462" y="330"/>
                    </a:lnTo>
                    <a:lnTo>
                      <a:pt x="468" y="330"/>
                    </a:lnTo>
                    <a:lnTo>
                      <a:pt x="468" y="336"/>
                    </a:lnTo>
                    <a:lnTo>
                      <a:pt x="474" y="336"/>
                    </a:lnTo>
                    <a:lnTo>
                      <a:pt x="480" y="336"/>
                    </a:lnTo>
                    <a:lnTo>
                      <a:pt x="480" y="342"/>
                    </a:lnTo>
                    <a:lnTo>
                      <a:pt x="486" y="342"/>
                    </a:lnTo>
                    <a:lnTo>
                      <a:pt x="486" y="348"/>
                    </a:lnTo>
                    <a:lnTo>
                      <a:pt x="492" y="348"/>
                    </a:lnTo>
                    <a:lnTo>
                      <a:pt x="492" y="354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504" y="366"/>
                    </a:lnTo>
                    <a:lnTo>
                      <a:pt x="504" y="360"/>
                    </a:lnTo>
                    <a:lnTo>
                      <a:pt x="510" y="366"/>
                    </a:lnTo>
                    <a:lnTo>
                      <a:pt x="504" y="366"/>
                    </a:lnTo>
                    <a:lnTo>
                      <a:pt x="504" y="372"/>
                    </a:lnTo>
                    <a:lnTo>
                      <a:pt x="510" y="372"/>
                    </a:lnTo>
                    <a:lnTo>
                      <a:pt x="510" y="366"/>
                    </a:lnTo>
                    <a:lnTo>
                      <a:pt x="516" y="366"/>
                    </a:lnTo>
                    <a:lnTo>
                      <a:pt x="516" y="372"/>
                    </a:lnTo>
                    <a:lnTo>
                      <a:pt x="528" y="378"/>
                    </a:lnTo>
                    <a:lnTo>
                      <a:pt x="534" y="384"/>
                    </a:lnTo>
                    <a:lnTo>
                      <a:pt x="540" y="378"/>
                    </a:lnTo>
                    <a:lnTo>
                      <a:pt x="540" y="384"/>
                    </a:lnTo>
                    <a:lnTo>
                      <a:pt x="540" y="378"/>
                    </a:lnTo>
                    <a:lnTo>
                      <a:pt x="546" y="378"/>
                    </a:lnTo>
                    <a:lnTo>
                      <a:pt x="552" y="378"/>
                    </a:lnTo>
                    <a:lnTo>
                      <a:pt x="552" y="372"/>
                    </a:lnTo>
                    <a:lnTo>
                      <a:pt x="552" y="378"/>
                    </a:lnTo>
                    <a:lnTo>
                      <a:pt x="558" y="372"/>
                    </a:lnTo>
                    <a:lnTo>
                      <a:pt x="558" y="378"/>
                    </a:lnTo>
                    <a:lnTo>
                      <a:pt x="564" y="378"/>
                    </a:lnTo>
                    <a:lnTo>
                      <a:pt x="570" y="378"/>
                    </a:lnTo>
                    <a:lnTo>
                      <a:pt x="588" y="384"/>
                    </a:lnTo>
                    <a:lnTo>
                      <a:pt x="594" y="384"/>
                    </a:lnTo>
                    <a:lnTo>
                      <a:pt x="594" y="390"/>
                    </a:lnTo>
                    <a:lnTo>
                      <a:pt x="606" y="396"/>
                    </a:lnTo>
                    <a:lnTo>
                      <a:pt x="612" y="396"/>
                    </a:lnTo>
                    <a:lnTo>
                      <a:pt x="618" y="402"/>
                    </a:lnTo>
                    <a:lnTo>
                      <a:pt x="624" y="402"/>
                    </a:lnTo>
                    <a:lnTo>
                      <a:pt x="630" y="402"/>
                    </a:lnTo>
                    <a:lnTo>
                      <a:pt x="636" y="396"/>
                    </a:lnTo>
                    <a:lnTo>
                      <a:pt x="642" y="396"/>
                    </a:lnTo>
                    <a:lnTo>
                      <a:pt x="648" y="396"/>
                    </a:lnTo>
                    <a:lnTo>
                      <a:pt x="648" y="402"/>
                    </a:lnTo>
                    <a:lnTo>
                      <a:pt x="654" y="402"/>
                    </a:lnTo>
                    <a:lnTo>
                      <a:pt x="666" y="402"/>
                    </a:lnTo>
                    <a:lnTo>
                      <a:pt x="672" y="402"/>
                    </a:lnTo>
                    <a:lnTo>
                      <a:pt x="684" y="396"/>
                    </a:lnTo>
                    <a:lnTo>
                      <a:pt x="690" y="396"/>
                    </a:lnTo>
                    <a:lnTo>
                      <a:pt x="696" y="402"/>
                    </a:lnTo>
                    <a:lnTo>
                      <a:pt x="696" y="396"/>
                    </a:lnTo>
                    <a:lnTo>
                      <a:pt x="702" y="390"/>
                    </a:lnTo>
                    <a:lnTo>
                      <a:pt x="708" y="384"/>
                    </a:lnTo>
                    <a:lnTo>
                      <a:pt x="714" y="384"/>
                    </a:lnTo>
                    <a:lnTo>
                      <a:pt x="720" y="384"/>
                    </a:lnTo>
                    <a:lnTo>
                      <a:pt x="720" y="378"/>
                    </a:lnTo>
                    <a:lnTo>
                      <a:pt x="726" y="378"/>
                    </a:lnTo>
                    <a:lnTo>
                      <a:pt x="726" y="372"/>
                    </a:lnTo>
                    <a:lnTo>
                      <a:pt x="732" y="372"/>
                    </a:lnTo>
                    <a:lnTo>
                      <a:pt x="738" y="366"/>
                    </a:lnTo>
                    <a:lnTo>
                      <a:pt x="744" y="366"/>
                    </a:lnTo>
                    <a:lnTo>
                      <a:pt x="750" y="372"/>
                    </a:lnTo>
                    <a:lnTo>
                      <a:pt x="756" y="378"/>
                    </a:lnTo>
                    <a:lnTo>
                      <a:pt x="762" y="378"/>
                    </a:lnTo>
                    <a:lnTo>
                      <a:pt x="768" y="378"/>
                    </a:lnTo>
                    <a:lnTo>
                      <a:pt x="774" y="378"/>
                    </a:lnTo>
                    <a:lnTo>
                      <a:pt x="774" y="384"/>
                    </a:lnTo>
                    <a:lnTo>
                      <a:pt x="780" y="384"/>
                    </a:lnTo>
                    <a:lnTo>
                      <a:pt x="786" y="384"/>
                    </a:lnTo>
                    <a:lnTo>
                      <a:pt x="792" y="384"/>
                    </a:lnTo>
                    <a:lnTo>
                      <a:pt x="798" y="384"/>
                    </a:lnTo>
                    <a:lnTo>
                      <a:pt x="810" y="384"/>
                    </a:lnTo>
                    <a:lnTo>
                      <a:pt x="816" y="384"/>
                    </a:lnTo>
                    <a:lnTo>
                      <a:pt x="822" y="384"/>
                    </a:lnTo>
                    <a:lnTo>
                      <a:pt x="828" y="384"/>
                    </a:lnTo>
                    <a:lnTo>
                      <a:pt x="846" y="372"/>
                    </a:lnTo>
                    <a:lnTo>
                      <a:pt x="852" y="372"/>
                    </a:lnTo>
                    <a:lnTo>
                      <a:pt x="858" y="372"/>
                    </a:lnTo>
                    <a:lnTo>
                      <a:pt x="864" y="366"/>
                    </a:lnTo>
                    <a:lnTo>
                      <a:pt x="870" y="360"/>
                    </a:lnTo>
                    <a:lnTo>
                      <a:pt x="888" y="348"/>
                    </a:lnTo>
                    <a:lnTo>
                      <a:pt x="900" y="342"/>
                    </a:lnTo>
                    <a:lnTo>
                      <a:pt x="906" y="336"/>
                    </a:lnTo>
                    <a:lnTo>
                      <a:pt x="912" y="324"/>
                    </a:lnTo>
                    <a:lnTo>
                      <a:pt x="924" y="300"/>
                    </a:lnTo>
                    <a:lnTo>
                      <a:pt x="924" y="294"/>
                    </a:lnTo>
                    <a:lnTo>
                      <a:pt x="924" y="282"/>
                    </a:lnTo>
                    <a:lnTo>
                      <a:pt x="924" y="276"/>
                    </a:lnTo>
                    <a:lnTo>
                      <a:pt x="930" y="270"/>
                    </a:lnTo>
                    <a:lnTo>
                      <a:pt x="936" y="258"/>
                    </a:lnTo>
                    <a:lnTo>
                      <a:pt x="936" y="252"/>
                    </a:lnTo>
                    <a:lnTo>
                      <a:pt x="936" y="246"/>
                    </a:lnTo>
                    <a:lnTo>
                      <a:pt x="942" y="216"/>
                    </a:lnTo>
                    <a:lnTo>
                      <a:pt x="948" y="210"/>
                    </a:lnTo>
                    <a:lnTo>
                      <a:pt x="954" y="210"/>
                    </a:lnTo>
                    <a:lnTo>
                      <a:pt x="954" y="198"/>
                    </a:lnTo>
                    <a:lnTo>
                      <a:pt x="960" y="180"/>
                    </a:lnTo>
                    <a:lnTo>
                      <a:pt x="966" y="174"/>
                    </a:lnTo>
                    <a:lnTo>
                      <a:pt x="972" y="162"/>
                    </a:lnTo>
                    <a:lnTo>
                      <a:pt x="972" y="150"/>
                    </a:lnTo>
                    <a:lnTo>
                      <a:pt x="978" y="144"/>
                    </a:lnTo>
                    <a:lnTo>
                      <a:pt x="978" y="138"/>
                    </a:lnTo>
                    <a:lnTo>
                      <a:pt x="984" y="126"/>
                    </a:lnTo>
                    <a:lnTo>
                      <a:pt x="990" y="108"/>
                    </a:lnTo>
                    <a:lnTo>
                      <a:pt x="990" y="102"/>
                    </a:lnTo>
                    <a:lnTo>
                      <a:pt x="996" y="96"/>
                    </a:lnTo>
                    <a:lnTo>
                      <a:pt x="1002" y="84"/>
                    </a:lnTo>
                    <a:lnTo>
                      <a:pt x="1002" y="72"/>
                    </a:lnTo>
                    <a:lnTo>
                      <a:pt x="996" y="72"/>
                    </a:lnTo>
                    <a:lnTo>
                      <a:pt x="996" y="66"/>
                    </a:lnTo>
                    <a:lnTo>
                      <a:pt x="996" y="60"/>
                    </a:lnTo>
                    <a:lnTo>
                      <a:pt x="990" y="60"/>
                    </a:lnTo>
                    <a:lnTo>
                      <a:pt x="990" y="48"/>
                    </a:lnTo>
                    <a:lnTo>
                      <a:pt x="990" y="42"/>
                    </a:lnTo>
                    <a:lnTo>
                      <a:pt x="996" y="42"/>
                    </a:lnTo>
                    <a:lnTo>
                      <a:pt x="1002" y="42"/>
                    </a:lnTo>
                    <a:lnTo>
                      <a:pt x="1008" y="36"/>
                    </a:lnTo>
                    <a:lnTo>
                      <a:pt x="1014" y="30"/>
                    </a:lnTo>
                    <a:lnTo>
                      <a:pt x="1020" y="30"/>
                    </a:lnTo>
                    <a:lnTo>
                      <a:pt x="1032" y="30"/>
                    </a:lnTo>
                    <a:lnTo>
                      <a:pt x="1038" y="30"/>
                    </a:lnTo>
                    <a:lnTo>
                      <a:pt x="1044" y="30"/>
                    </a:lnTo>
                    <a:lnTo>
                      <a:pt x="1050" y="24"/>
                    </a:lnTo>
                    <a:lnTo>
                      <a:pt x="1068" y="24"/>
                    </a:lnTo>
                    <a:lnTo>
                      <a:pt x="1074" y="18"/>
                    </a:lnTo>
                    <a:lnTo>
                      <a:pt x="1086" y="18"/>
                    </a:lnTo>
                    <a:lnTo>
                      <a:pt x="1092" y="18"/>
                    </a:lnTo>
                    <a:lnTo>
                      <a:pt x="1104" y="12"/>
                    </a:lnTo>
                    <a:lnTo>
                      <a:pt x="1110" y="12"/>
                    </a:lnTo>
                    <a:lnTo>
                      <a:pt x="1116" y="12"/>
                    </a:lnTo>
                    <a:lnTo>
                      <a:pt x="1140" y="6"/>
                    </a:lnTo>
                    <a:lnTo>
                      <a:pt x="1146" y="6"/>
                    </a:lnTo>
                    <a:lnTo>
                      <a:pt x="1152" y="0"/>
                    </a:lnTo>
                    <a:lnTo>
                      <a:pt x="115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9" name="Freeform 9"/>
              <p:cNvSpPr>
                <a:spLocks noChangeAspect="1"/>
              </p:cNvSpPr>
              <p:nvPr/>
            </p:nvSpPr>
            <p:spPr bwMode="auto">
              <a:xfrm>
                <a:off x="3342981" y="5600033"/>
                <a:ext cx="66532" cy="67897"/>
              </a:xfrm>
              <a:custGeom>
                <a:avLst/>
                <a:gdLst>
                  <a:gd name="T0" fmla="*/ 2147483647 w 582"/>
                  <a:gd name="T1" fmla="*/ 2147483647 h 594"/>
                  <a:gd name="T2" fmla="*/ 2147483647 w 582"/>
                  <a:gd name="T3" fmla="*/ 2147483647 h 594"/>
                  <a:gd name="T4" fmla="*/ 2147483647 w 582"/>
                  <a:gd name="T5" fmla="*/ 2147483647 h 594"/>
                  <a:gd name="T6" fmla="*/ 2147483647 w 582"/>
                  <a:gd name="T7" fmla="*/ 2147483647 h 594"/>
                  <a:gd name="T8" fmla="*/ 2147483647 w 582"/>
                  <a:gd name="T9" fmla="*/ 2147483647 h 594"/>
                  <a:gd name="T10" fmla="*/ 2147483647 w 582"/>
                  <a:gd name="T11" fmla="*/ 2147483647 h 594"/>
                  <a:gd name="T12" fmla="*/ 2147483647 w 582"/>
                  <a:gd name="T13" fmla="*/ 2147483647 h 594"/>
                  <a:gd name="T14" fmla="*/ 2147483647 w 582"/>
                  <a:gd name="T15" fmla="*/ 2147483647 h 594"/>
                  <a:gd name="T16" fmla="*/ 2147483647 w 582"/>
                  <a:gd name="T17" fmla="*/ 2147483647 h 594"/>
                  <a:gd name="T18" fmla="*/ 2147483647 w 582"/>
                  <a:gd name="T19" fmla="*/ 2147483647 h 594"/>
                  <a:gd name="T20" fmla="*/ 2147483647 w 582"/>
                  <a:gd name="T21" fmla="*/ 2147483647 h 594"/>
                  <a:gd name="T22" fmla="*/ 2147483647 w 582"/>
                  <a:gd name="T23" fmla="*/ 2147483647 h 594"/>
                  <a:gd name="T24" fmla="*/ 2147483647 w 582"/>
                  <a:gd name="T25" fmla="*/ 2147483647 h 594"/>
                  <a:gd name="T26" fmla="*/ 2147483647 w 582"/>
                  <a:gd name="T27" fmla="*/ 2147483647 h 594"/>
                  <a:gd name="T28" fmla="*/ 2147483647 w 582"/>
                  <a:gd name="T29" fmla="*/ 2147483647 h 594"/>
                  <a:gd name="T30" fmla="*/ 2147483647 w 582"/>
                  <a:gd name="T31" fmla="*/ 2147483647 h 594"/>
                  <a:gd name="T32" fmla="*/ 2147483647 w 582"/>
                  <a:gd name="T33" fmla="*/ 2147483647 h 594"/>
                  <a:gd name="T34" fmla="*/ 2147483647 w 582"/>
                  <a:gd name="T35" fmla="*/ 2147483647 h 594"/>
                  <a:gd name="T36" fmla="*/ 2147483647 w 582"/>
                  <a:gd name="T37" fmla="*/ 2147483647 h 594"/>
                  <a:gd name="T38" fmla="*/ 2147483647 w 582"/>
                  <a:gd name="T39" fmla="*/ 2147483647 h 594"/>
                  <a:gd name="T40" fmla="*/ 2147483647 w 582"/>
                  <a:gd name="T41" fmla="*/ 2147483647 h 594"/>
                  <a:gd name="T42" fmla="*/ 2147483647 w 582"/>
                  <a:gd name="T43" fmla="*/ 2147483647 h 594"/>
                  <a:gd name="T44" fmla="*/ 2147483647 w 582"/>
                  <a:gd name="T45" fmla="*/ 2147483647 h 594"/>
                  <a:gd name="T46" fmla="*/ 2147483647 w 582"/>
                  <a:gd name="T47" fmla="*/ 2147483647 h 594"/>
                  <a:gd name="T48" fmla="*/ 2147483647 w 582"/>
                  <a:gd name="T49" fmla="*/ 2147483647 h 594"/>
                  <a:gd name="T50" fmla="*/ 2147483647 w 582"/>
                  <a:gd name="T51" fmla="*/ 2147483647 h 594"/>
                  <a:gd name="T52" fmla="*/ 2147483647 w 582"/>
                  <a:gd name="T53" fmla="*/ 2147483647 h 594"/>
                  <a:gd name="T54" fmla="*/ 2147483647 w 582"/>
                  <a:gd name="T55" fmla="*/ 2147483647 h 594"/>
                  <a:gd name="T56" fmla="*/ 2147483647 w 582"/>
                  <a:gd name="T57" fmla="*/ 2147483647 h 594"/>
                  <a:gd name="T58" fmla="*/ 2147483647 w 582"/>
                  <a:gd name="T59" fmla="*/ 2147483647 h 594"/>
                  <a:gd name="T60" fmla="*/ 2147483647 w 582"/>
                  <a:gd name="T61" fmla="*/ 2147483647 h 594"/>
                  <a:gd name="T62" fmla="*/ 2147483647 w 582"/>
                  <a:gd name="T63" fmla="*/ 2147483647 h 594"/>
                  <a:gd name="T64" fmla="*/ 2147483647 w 582"/>
                  <a:gd name="T65" fmla="*/ 2147483647 h 594"/>
                  <a:gd name="T66" fmla="*/ 2147483647 w 582"/>
                  <a:gd name="T67" fmla="*/ 2147483647 h 594"/>
                  <a:gd name="T68" fmla="*/ 2147483647 w 582"/>
                  <a:gd name="T69" fmla="*/ 2147483647 h 594"/>
                  <a:gd name="T70" fmla="*/ 2147483647 w 582"/>
                  <a:gd name="T71" fmla="*/ 2147483647 h 594"/>
                  <a:gd name="T72" fmla="*/ 2147483647 w 582"/>
                  <a:gd name="T73" fmla="*/ 2147483647 h 594"/>
                  <a:gd name="T74" fmla="*/ 2147483647 w 582"/>
                  <a:gd name="T75" fmla="*/ 2147483647 h 594"/>
                  <a:gd name="T76" fmla="*/ 2147483647 w 582"/>
                  <a:gd name="T77" fmla="*/ 2147483647 h 594"/>
                  <a:gd name="T78" fmla="*/ 2147483647 w 582"/>
                  <a:gd name="T79" fmla="*/ 2147483647 h 594"/>
                  <a:gd name="T80" fmla="*/ 2147483647 w 582"/>
                  <a:gd name="T81" fmla="*/ 2147483647 h 594"/>
                  <a:gd name="T82" fmla="*/ 2147483647 w 582"/>
                  <a:gd name="T83" fmla="*/ 2147483647 h 594"/>
                  <a:gd name="T84" fmla="*/ 2147483647 w 582"/>
                  <a:gd name="T85" fmla="*/ 2147483647 h 594"/>
                  <a:gd name="T86" fmla="*/ 2147483647 w 582"/>
                  <a:gd name="T87" fmla="*/ 2147483647 h 594"/>
                  <a:gd name="T88" fmla="*/ 2147483647 w 582"/>
                  <a:gd name="T89" fmla="*/ 2147483647 h 594"/>
                  <a:gd name="T90" fmla="*/ 2147483647 w 582"/>
                  <a:gd name="T91" fmla="*/ 2147483647 h 594"/>
                  <a:gd name="T92" fmla="*/ 2147483647 w 582"/>
                  <a:gd name="T93" fmla="*/ 2147483647 h 594"/>
                  <a:gd name="T94" fmla="*/ 2147483647 w 582"/>
                  <a:gd name="T95" fmla="*/ 2147483647 h 594"/>
                  <a:gd name="T96" fmla="*/ 2147483647 w 582"/>
                  <a:gd name="T97" fmla="*/ 2147483647 h 594"/>
                  <a:gd name="T98" fmla="*/ 2147483647 w 582"/>
                  <a:gd name="T99" fmla="*/ 2147483647 h 594"/>
                  <a:gd name="T100" fmla="*/ 2147483647 w 582"/>
                  <a:gd name="T101" fmla="*/ 2147483647 h 594"/>
                  <a:gd name="T102" fmla="*/ 2147483647 w 582"/>
                  <a:gd name="T103" fmla="*/ 2147483647 h 594"/>
                  <a:gd name="T104" fmla="*/ 2147483647 w 582"/>
                  <a:gd name="T105" fmla="*/ 2147483647 h 594"/>
                  <a:gd name="T106" fmla="*/ 2147483647 w 582"/>
                  <a:gd name="T107" fmla="*/ 2147483647 h 594"/>
                  <a:gd name="T108" fmla="*/ 2147483647 w 582"/>
                  <a:gd name="T109" fmla="*/ 2147483647 h 594"/>
                  <a:gd name="T110" fmla="*/ 2147483647 w 582"/>
                  <a:gd name="T111" fmla="*/ 0 h 59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82" h="594">
                    <a:moveTo>
                      <a:pt x="492" y="0"/>
                    </a:moveTo>
                    <a:lnTo>
                      <a:pt x="498" y="12"/>
                    </a:lnTo>
                    <a:lnTo>
                      <a:pt x="498" y="18"/>
                    </a:lnTo>
                    <a:lnTo>
                      <a:pt x="498" y="24"/>
                    </a:lnTo>
                    <a:lnTo>
                      <a:pt x="492" y="30"/>
                    </a:lnTo>
                    <a:lnTo>
                      <a:pt x="480" y="36"/>
                    </a:lnTo>
                    <a:lnTo>
                      <a:pt x="462" y="36"/>
                    </a:lnTo>
                    <a:lnTo>
                      <a:pt x="462" y="54"/>
                    </a:lnTo>
                    <a:lnTo>
                      <a:pt x="456" y="60"/>
                    </a:lnTo>
                    <a:lnTo>
                      <a:pt x="456" y="66"/>
                    </a:lnTo>
                    <a:lnTo>
                      <a:pt x="456" y="72"/>
                    </a:lnTo>
                    <a:lnTo>
                      <a:pt x="456" y="84"/>
                    </a:lnTo>
                    <a:lnTo>
                      <a:pt x="456" y="90"/>
                    </a:lnTo>
                    <a:lnTo>
                      <a:pt x="450" y="96"/>
                    </a:lnTo>
                    <a:lnTo>
                      <a:pt x="450" y="102"/>
                    </a:lnTo>
                    <a:lnTo>
                      <a:pt x="450" y="108"/>
                    </a:lnTo>
                    <a:lnTo>
                      <a:pt x="456" y="108"/>
                    </a:lnTo>
                    <a:lnTo>
                      <a:pt x="456" y="114"/>
                    </a:lnTo>
                    <a:lnTo>
                      <a:pt x="450" y="120"/>
                    </a:lnTo>
                    <a:lnTo>
                      <a:pt x="450" y="132"/>
                    </a:lnTo>
                    <a:lnTo>
                      <a:pt x="450" y="138"/>
                    </a:lnTo>
                    <a:lnTo>
                      <a:pt x="456" y="144"/>
                    </a:lnTo>
                    <a:lnTo>
                      <a:pt x="456" y="150"/>
                    </a:lnTo>
                    <a:lnTo>
                      <a:pt x="456" y="168"/>
                    </a:lnTo>
                    <a:lnTo>
                      <a:pt x="462" y="174"/>
                    </a:lnTo>
                    <a:lnTo>
                      <a:pt x="462" y="180"/>
                    </a:lnTo>
                    <a:lnTo>
                      <a:pt x="504" y="186"/>
                    </a:lnTo>
                    <a:lnTo>
                      <a:pt x="510" y="186"/>
                    </a:lnTo>
                    <a:lnTo>
                      <a:pt x="516" y="180"/>
                    </a:lnTo>
                    <a:lnTo>
                      <a:pt x="522" y="174"/>
                    </a:lnTo>
                    <a:lnTo>
                      <a:pt x="522" y="168"/>
                    </a:lnTo>
                    <a:lnTo>
                      <a:pt x="528" y="162"/>
                    </a:lnTo>
                    <a:lnTo>
                      <a:pt x="540" y="150"/>
                    </a:lnTo>
                    <a:lnTo>
                      <a:pt x="546" y="150"/>
                    </a:lnTo>
                    <a:lnTo>
                      <a:pt x="564" y="144"/>
                    </a:lnTo>
                    <a:lnTo>
                      <a:pt x="576" y="138"/>
                    </a:lnTo>
                    <a:lnTo>
                      <a:pt x="576" y="156"/>
                    </a:lnTo>
                    <a:lnTo>
                      <a:pt x="582" y="168"/>
                    </a:lnTo>
                    <a:lnTo>
                      <a:pt x="552" y="180"/>
                    </a:lnTo>
                    <a:lnTo>
                      <a:pt x="546" y="192"/>
                    </a:lnTo>
                    <a:lnTo>
                      <a:pt x="558" y="198"/>
                    </a:lnTo>
                    <a:lnTo>
                      <a:pt x="540" y="228"/>
                    </a:lnTo>
                    <a:lnTo>
                      <a:pt x="546" y="228"/>
                    </a:lnTo>
                    <a:lnTo>
                      <a:pt x="540" y="246"/>
                    </a:lnTo>
                    <a:lnTo>
                      <a:pt x="522" y="240"/>
                    </a:lnTo>
                    <a:lnTo>
                      <a:pt x="510" y="300"/>
                    </a:lnTo>
                    <a:lnTo>
                      <a:pt x="504" y="294"/>
                    </a:lnTo>
                    <a:lnTo>
                      <a:pt x="492" y="294"/>
                    </a:lnTo>
                    <a:lnTo>
                      <a:pt x="492" y="300"/>
                    </a:lnTo>
                    <a:lnTo>
                      <a:pt x="486" y="300"/>
                    </a:lnTo>
                    <a:lnTo>
                      <a:pt x="486" y="294"/>
                    </a:lnTo>
                    <a:lnTo>
                      <a:pt x="486" y="288"/>
                    </a:lnTo>
                    <a:lnTo>
                      <a:pt x="480" y="288"/>
                    </a:lnTo>
                    <a:lnTo>
                      <a:pt x="480" y="294"/>
                    </a:lnTo>
                    <a:lnTo>
                      <a:pt x="468" y="288"/>
                    </a:lnTo>
                    <a:lnTo>
                      <a:pt x="462" y="288"/>
                    </a:lnTo>
                    <a:lnTo>
                      <a:pt x="456" y="288"/>
                    </a:lnTo>
                    <a:lnTo>
                      <a:pt x="450" y="282"/>
                    </a:lnTo>
                    <a:lnTo>
                      <a:pt x="444" y="282"/>
                    </a:lnTo>
                    <a:lnTo>
                      <a:pt x="438" y="288"/>
                    </a:lnTo>
                    <a:lnTo>
                      <a:pt x="432" y="294"/>
                    </a:lnTo>
                    <a:lnTo>
                      <a:pt x="432" y="300"/>
                    </a:lnTo>
                    <a:lnTo>
                      <a:pt x="426" y="306"/>
                    </a:lnTo>
                    <a:lnTo>
                      <a:pt x="426" y="312"/>
                    </a:lnTo>
                    <a:lnTo>
                      <a:pt x="420" y="312"/>
                    </a:lnTo>
                    <a:lnTo>
                      <a:pt x="420" y="306"/>
                    </a:lnTo>
                    <a:lnTo>
                      <a:pt x="414" y="306"/>
                    </a:lnTo>
                    <a:lnTo>
                      <a:pt x="414" y="312"/>
                    </a:lnTo>
                    <a:lnTo>
                      <a:pt x="408" y="312"/>
                    </a:lnTo>
                    <a:lnTo>
                      <a:pt x="402" y="312"/>
                    </a:lnTo>
                    <a:lnTo>
                      <a:pt x="396" y="312"/>
                    </a:lnTo>
                    <a:lnTo>
                      <a:pt x="396" y="318"/>
                    </a:lnTo>
                    <a:lnTo>
                      <a:pt x="396" y="324"/>
                    </a:lnTo>
                    <a:lnTo>
                      <a:pt x="396" y="330"/>
                    </a:lnTo>
                    <a:lnTo>
                      <a:pt x="402" y="330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42"/>
                    </a:lnTo>
                    <a:lnTo>
                      <a:pt x="408" y="348"/>
                    </a:lnTo>
                    <a:lnTo>
                      <a:pt x="408" y="354"/>
                    </a:lnTo>
                    <a:lnTo>
                      <a:pt x="414" y="354"/>
                    </a:lnTo>
                    <a:lnTo>
                      <a:pt x="414" y="360"/>
                    </a:lnTo>
                    <a:lnTo>
                      <a:pt x="414" y="366"/>
                    </a:lnTo>
                    <a:lnTo>
                      <a:pt x="438" y="378"/>
                    </a:lnTo>
                    <a:lnTo>
                      <a:pt x="438" y="396"/>
                    </a:lnTo>
                    <a:lnTo>
                      <a:pt x="450" y="402"/>
                    </a:lnTo>
                    <a:lnTo>
                      <a:pt x="450" y="408"/>
                    </a:lnTo>
                    <a:lnTo>
                      <a:pt x="462" y="414"/>
                    </a:lnTo>
                    <a:lnTo>
                      <a:pt x="480" y="402"/>
                    </a:lnTo>
                    <a:lnTo>
                      <a:pt x="486" y="402"/>
                    </a:lnTo>
                    <a:lnTo>
                      <a:pt x="492" y="402"/>
                    </a:lnTo>
                    <a:lnTo>
                      <a:pt x="498" y="408"/>
                    </a:lnTo>
                    <a:lnTo>
                      <a:pt x="504" y="402"/>
                    </a:lnTo>
                    <a:lnTo>
                      <a:pt x="504" y="408"/>
                    </a:lnTo>
                    <a:lnTo>
                      <a:pt x="516" y="432"/>
                    </a:lnTo>
                    <a:lnTo>
                      <a:pt x="480" y="444"/>
                    </a:lnTo>
                    <a:lnTo>
                      <a:pt x="480" y="468"/>
                    </a:lnTo>
                    <a:lnTo>
                      <a:pt x="444" y="468"/>
                    </a:lnTo>
                    <a:lnTo>
                      <a:pt x="438" y="480"/>
                    </a:lnTo>
                    <a:lnTo>
                      <a:pt x="426" y="474"/>
                    </a:lnTo>
                    <a:lnTo>
                      <a:pt x="420" y="474"/>
                    </a:lnTo>
                    <a:lnTo>
                      <a:pt x="408" y="486"/>
                    </a:lnTo>
                    <a:lnTo>
                      <a:pt x="408" y="498"/>
                    </a:lnTo>
                    <a:lnTo>
                      <a:pt x="396" y="498"/>
                    </a:lnTo>
                    <a:lnTo>
                      <a:pt x="390" y="510"/>
                    </a:lnTo>
                    <a:lnTo>
                      <a:pt x="378" y="510"/>
                    </a:lnTo>
                    <a:lnTo>
                      <a:pt x="378" y="516"/>
                    </a:lnTo>
                    <a:lnTo>
                      <a:pt x="366" y="516"/>
                    </a:lnTo>
                    <a:lnTo>
                      <a:pt x="354" y="540"/>
                    </a:lnTo>
                    <a:lnTo>
                      <a:pt x="360" y="540"/>
                    </a:lnTo>
                    <a:lnTo>
                      <a:pt x="366" y="552"/>
                    </a:lnTo>
                    <a:lnTo>
                      <a:pt x="348" y="558"/>
                    </a:lnTo>
                    <a:lnTo>
                      <a:pt x="348" y="564"/>
                    </a:lnTo>
                    <a:lnTo>
                      <a:pt x="336" y="564"/>
                    </a:lnTo>
                    <a:lnTo>
                      <a:pt x="336" y="576"/>
                    </a:lnTo>
                    <a:lnTo>
                      <a:pt x="342" y="582"/>
                    </a:lnTo>
                    <a:lnTo>
                      <a:pt x="336" y="588"/>
                    </a:lnTo>
                    <a:lnTo>
                      <a:pt x="336" y="594"/>
                    </a:lnTo>
                    <a:lnTo>
                      <a:pt x="330" y="594"/>
                    </a:lnTo>
                    <a:lnTo>
                      <a:pt x="330" y="588"/>
                    </a:lnTo>
                    <a:lnTo>
                      <a:pt x="324" y="588"/>
                    </a:lnTo>
                    <a:lnTo>
                      <a:pt x="318" y="588"/>
                    </a:lnTo>
                    <a:lnTo>
                      <a:pt x="312" y="594"/>
                    </a:lnTo>
                    <a:lnTo>
                      <a:pt x="306" y="588"/>
                    </a:lnTo>
                    <a:lnTo>
                      <a:pt x="300" y="588"/>
                    </a:lnTo>
                    <a:lnTo>
                      <a:pt x="300" y="582"/>
                    </a:lnTo>
                    <a:lnTo>
                      <a:pt x="300" y="576"/>
                    </a:lnTo>
                    <a:lnTo>
                      <a:pt x="288" y="588"/>
                    </a:lnTo>
                    <a:lnTo>
                      <a:pt x="288" y="576"/>
                    </a:lnTo>
                    <a:lnTo>
                      <a:pt x="282" y="576"/>
                    </a:lnTo>
                    <a:lnTo>
                      <a:pt x="282" y="570"/>
                    </a:lnTo>
                    <a:lnTo>
                      <a:pt x="276" y="570"/>
                    </a:lnTo>
                    <a:lnTo>
                      <a:pt x="270" y="570"/>
                    </a:lnTo>
                    <a:lnTo>
                      <a:pt x="270" y="564"/>
                    </a:lnTo>
                    <a:lnTo>
                      <a:pt x="264" y="564"/>
                    </a:lnTo>
                    <a:lnTo>
                      <a:pt x="264" y="558"/>
                    </a:lnTo>
                    <a:lnTo>
                      <a:pt x="258" y="558"/>
                    </a:lnTo>
                    <a:lnTo>
                      <a:pt x="258" y="552"/>
                    </a:lnTo>
                    <a:lnTo>
                      <a:pt x="252" y="552"/>
                    </a:lnTo>
                    <a:lnTo>
                      <a:pt x="252" y="546"/>
                    </a:lnTo>
                    <a:lnTo>
                      <a:pt x="252" y="540"/>
                    </a:lnTo>
                    <a:lnTo>
                      <a:pt x="246" y="540"/>
                    </a:lnTo>
                    <a:lnTo>
                      <a:pt x="246" y="534"/>
                    </a:lnTo>
                    <a:lnTo>
                      <a:pt x="246" y="528"/>
                    </a:lnTo>
                    <a:lnTo>
                      <a:pt x="246" y="522"/>
                    </a:lnTo>
                    <a:lnTo>
                      <a:pt x="246" y="516"/>
                    </a:lnTo>
                    <a:lnTo>
                      <a:pt x="246" y="510"/>
                    </a:lnTo>
                    <a:lnTo>
                      <a:pt x="240" y="510"/>
                    </a:lnTo>
                    <a:lnTo>
                      <a:pt x="234" y="510"/>
                    </a:lnTo>
                    <a:lnTo>
                      <a:pt x="228" y="510"/>
                    </a:lnTo>
                    <a:lnTo>
                      <a:pt x="228" y="516"/>
                    </a:lnTo>
                    <a:lnTo>
                      <a:pt x="222" y="516"/>
                    </a:lnTo>
                    <a:lnTo>
                      <a:pt x="222" y="522"/>
                    </a:lnTo>
                    <a:lnTo>
                      <a:pt x="216" y="522"/>
                    </a:lnTo>
                    <a:lnTo>
                      <a:pt x="216" y="528"/>
                    </a:lnTo>
                    <a:lnTo>
                      <a:pt x="210" y="528"/>
                    </a:lnTo>
                    <a:lnTo>
                      <a:pt x="204" y="528"/>
                    </a:lnTo>
                    <a:lnTo>
                      <a:pt x="204" y="534"/>
                    </a:lnTo>
                    <a:lnTo>
                      <a:pt x="198" y="534"/>
                    </a:lnTo>
                    <a:lnTo>
                      <a:pt x="192" y="534"/>
                    </a:lnTo>
                    <a:lnTo>
                      <a:pt x="186" y="534"/>
                    </a:lnTo>
                    <a:lnTo>
                      <a:pt x="180" y="534"/>
                    </a:lnTo>
                    <a:lnTo>
                      <a:pt x="180" y="540"/>
                    </a:lnTo>
                    <a:lnTo>
                      <a:pt x="180" y="546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68" y="540"/>
                    </a:lnTo>
                    <a:lnTo>
                      <a:pt x="162" y="540"/>
                    </a:lnTo>
                    <a:lnTo>
                      <a:pt x="162" y="534"/>
                    </a:lnTo>
                    <a:lnTo>
                      <a:pt x="156" y="534"/>
                    </a:lnTo>
                    <a:lnTo>
                      <a:pt x="156" y="540"/>
                    </a:lnTo>
                    <a:lnTo>
                      <a:pt x="150" y="540"/>
                    </a:lnTo>
                    <a:lnTo>
                      <a:pt x="144" y="540"/>
                    </a:lnTo>
                    <a:lnTo>
                      <a:pt x="138" y="540"/>
                    </a:lnTo>
                    <a:lnTo>
                      <a:pt x="138" y="534"/>
                    </a:lnTo>
                    <a:lnTo>
                      <a:pt x="138" y="528"/>
                    </a:lnTo>
                    <a:lnTo>
                      <a:pt x="132" y="528"/>
                    </a:lnTo>
                    <a:lnTo>
                      <a:pt x="126" y="528"/>
                    </a:lnTo>
                    <a:lnTo>
                      <a:pt x="120" y="528"/>
                    </a:lnTo>
                    <a:lnTo>
                      <a:pt x="120" y="534"/>
                    </a:lnTo>
                    <a:lnTo>
                      <a:pt x="120" y="540"/>
                    </a:lnTo>
                    <a:lnTo>
                      <a:pt x="114" y="540"/>
                    </a:lnTo>
                    <a:lnTo>
                      <a:pt x="108" y="540"/>
                    </a:lnTo>
                    <a:lnTo>
                      <a:pt x="120" y="492"/>
                    </a:lnTo>
                    <a:lnTo>
                      <a:pt x="108" y="480"/>
                    </a:lnTo>
                    <a:lnTo>
                      <a:pt x="114" y="480"/>
                    </a:lnTo>
                    <a:lnTo>
                      <a:pt x="120" y="456"/>
                    </a:lnTo>
                    <a:lnTo>
                      <a:pt x="120" y="450"/>
                    </a:lnTo>
                    <a:lnTo>
                      <a:pt x="126" y="450"/>
                    </a:lnTo>
                    <a:lnTo>
                      <a:pt x="132" y="438"/>
                    </a:lnTo>
                    <a:lnTo>
                      <a:pt x="102" y="438"/>
                    </a:lnTo>
                    <a:lnTo>
                      <a:pt x="102" y="432"/>
                    </a:lnTo>
                    <a:lnTo>
                      <a:pt x="96" y="426"/>
                    </a:lnTo>
                    <a:lnTo>
                      <a:pt x="96" y="420"/>
                    </a:lnTo>
                    <a:lnTo>
                      <a:pt x="90" y="420"/>
                    </a:lnTo>
                    <a:lnTo>
                      <a:pt x="48" y="432"/>
                    </a:lnTo>
                    <a:lnTo>
                      <a:pt x="54" y="438"/>
                    </a:lnTo>
                    <a:lnTo>
                      <a:pt x="12" y="456"/>
                    </a:lnTo>
                    <a:lnTo>
                      <a:pt x="12" y="444"/>
                    </a:lnTo>
                    <a:lnTo>
                      <a:pt x="12" y="438"/>
                    </a:lnTo>
                    <a:lnTo>
                      <a:pt x="6" y="426"/>
                    </a:lnTo>
                    <a:lnTo>
                      <a:pt x="0" y="414"/>
                    </a:lnTo>
                    <a:lnTo>
                      <a:pt x="18" y="396"/>
                    </a:lnTo>
                    <a:lnTo>
                      <a:pt x="42" y="378"/>
                    </a:lnTo>
                    <a:lnTo>
                      <a:pt x="30" y="336"/>
                    </a:lnTo>
                    <a:lnTo>
                      <a:pt x="54" y="336"/>
                    </a:lnTo>
                    <a:lnTo>
                      <a:pt x="54" y="324"/>
                    </a:lnTo>
                    <a:lnTo>
                      <a:pt x="72" y="318"/>
                    </a:lnTo>
                    <a:lnTo>
                      <a:pt x="72" y="312"/>
                    </a:lnTo>
                    <a:lnTo>
                      <a:pt x="78" y="312"/>
                    </a:lnTo>
                    <a:lnTo>
                      <a:pt x="84" y="276"/>
                    </a:lnTo>
                    <a:lnTo>
                      <a:pt x="90" y="258"/>
                    </a:lnTo>
                    <a:lnTo>
                      <a:pt x="90" y="234"/>
                    </a:lnTo>
                    <a:lnTo>
                      <a:pt x="108" y="228"/>
                    </a:lnTo>
                    <a:lnTo>
                      <a:pt x="114" y="228"/>
                    </a:lnTo>
                    <a:lnTo>
                      <a:pt x="138" y="210"/>
                    </a:lnTo>
                    <a:lnTo>
                      <a:pt x="144" y="222"/>
                    </a:lnTo>
                    <a:lnTo>
                      <a:pt x="156" y="240"/>
                    </a:lnTo>
                    <a:lnTo>
                      <a:pt x="168" y="228"/>
                    </a:lnTo>
                    <a:lnTo>
                      <a:pt x="168" y="240"/>
                    </a:lnTo>
                    <a:lnTo>
                      <a:pt x="198" y="234"/>
                    </a:lnTo>
                    <a:lnTo>
                      <a:pt x="204" y="234"/>
                    </a:lnTo>
                    <a:lnTo>
                      <a:pt x="222" y="234"/>
                    </a:lnTo>
                    <a:lnTo>
                      <a:pt x="222" y="228"/>
                    </a:lnTo>
                    <a:lnTo>
                      <a:pt x="234" y="228"/>
                    </a:lnTo>
                    <a:lnTo>
                      <a:pt x="234" y="222"/>
                    </a:lnTo>
                    <a:lnTo>
                      <a:pt x="246" y="216"/>
                    </a:lnTo>
                    <a:lnTo>
                      <a:pt x="240" y="198"/>
                    </a:lnTo>
                    <a:lnTo>
                      <a:pt x="246" y="192"/>
                    </a:lnTo>
                    <a:lnTo>
                      <a:pt x="246" y="180"/>
                    </a:lnTo>
                    <a:lnTo>
                      <a:pt x="240" y="168"/>
                    </a:lnTo>
                    <a:lnTo>
                      <a:pt x="234" y="162"/>
                    </a:lnTo>
                    <a:lnTo>
                      <a:pt x="246" y="156"/>
                    </a:lnTo>
                    <a:lnTo>
                      <a:pt x="258" y="156"/>
                    </a:lnTo>
                    <a:lnTo>
                      <a:pt x="264" y="156"/>
                    </a:lnTo>
                    <a:lnTo>
                      <a:pt x="270" y="150"/>
                    </a:lnTo>
                    <a:lnTo>
                      <a:pt x="270" y="144"/>
                    </a:lnTo>
                    <a:lnTo>
                      <a:pt x="276" y="138"/>
                    </a:lnTo>
                    <a:lnTo>
                      <a:pt x="288" y="132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82" y="114"/>
                    </a:lnTo>
                    <a:lnTo>
                      <a:pt x="282" y="102"/>
                    </a:lnTo>
                    <a:lnTo>
                      <a:pt x="282" y="96"/>
                    </a:lnTo>
                    <a:lnTo>
                      <a:pt x="282" y="90"/>
                    </a:lnTo>
                    <a:lnTo>
                      <a:pt x="276" y="90"/>
                    </a:lnTo>
                    <a:lnTo>
                      <a:pt x="276" y="84"/>
                    </a:lnTo>
                    <a:lnTo>
                      <a:pt x="282" y="84"/>
                    </a:lnTo>
                    <a:lnTo>
                      <a:pt x="294" y="78"/>
                    </a:lnTo>
                    <a:lnTo>
                      <a:pt x="300" y="78"/>
                    </a:lnTo>
                    <a:lnTo>
                      <a:pt x="300" y="84"/>
                    </a:lnTo>
                    <a:lnTo>
                      <a:pt x="294" y="84"/>
                    </a:lnTo>
                    <a:lnTo>
                      <a:pt x="294" y="96"/>
                    </a:lnTo>
                    <a:lnTo>
                      <a:pt x="300" y="96"/>
                    </a:lnTo>
                    <a:lnTo>
                      <a:pt x="306" y="96"/>
                    </a:lnTo>
                    <a:lnTo>
                      <a:pt x="306" y="90"/>
                    </a:lnTo>
                    <a:lnTo>
                      <a:pt x="312" y="90"/>
                    </a:lnTo>
                    <a:lnTo>
                      <a:pt x="318" y="90"/>
                    </a:lnTo>
                    <a:lnTo>
                      <a:pt x="324" y="90"/>
                    </a:lnTo>
                    <a:lnTo>
                      <a:pt x="336" y="90"/>
                    </a:lnTo>
                    <a:lnTo>
                      <a:pt x="348" y="84"/>
                    </a:lnTo>
                    <a:lnTo>
                      <a:pt x="354" y="84"/>
                    </a:lnTo>
                    <a:lnTo>
                      <a:pt x="354" y="54"/>
                    </a:lnTo>
                    <a:lnTo>
                      <a:pt x="372" y="48"/>
                    </a:lnTo>
                    <a:lnTo>
                      <a:pt x="378" y="60"/>
                    </a:lnTo>
                    <a:lnTo>
                      <a:pt x="384" y="54"/>
                    </a:lnTo>
                    <a:lnTo>
                      <a:pt x="390" y="54"/>
                    </a:lnTo>
                    <a:lnTo>
                      <a:pt x="396" y="54"/>
                    </a:lnTo>
                    <a:lnTo>
                      <a:pt x="408" y="54"/>
                    </a:lnTo>
                    <a:lnTo>
                      <a:pt x="414" y="54"/>
                    </a:lnTo>
                    <a:lnTo>
                      <a:pt x="414" y="42"/>
                    </a:lnTo>
                    <a:lnTo>
                      <a:pt x="414" y="36"/>
                    </a:lnTo>
                    <a:lnTo>
                      <a:pt x="444" y="36"/>
                    </a:lnTo>
                    <a:lnTo>
                      <a:pt x="450" y="42"/>
                    </a:lnTo>
                    <a:lnTo>
                      <a:pt x="462" y="36"/>
                    </a:lnTo>
                    <a:lnTo>
                      <a:pt x="468" y="24"/>
                    </a:lnTo>
                    <a:lnTo>
                      <a:pt x="456" y="24"/>
                    </a:lnTo>
                    <a:lnTo>
                      <a:pt x="450" y="12"/>
                    </a:lnTo>
                    <a:lnTo>
                      <a:pt x="450" y="0"/>
                    </a:lnTo>
                    <a:lnTo>
                      <a:pt x="456" y="0"/>
                    </a:lnTo>
                    <a:lnTo>
                      <a:pt x="468" y="0"/>
                    </a:lnTo>
                    <a:lnTo>
                      <a:pt x="49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00" name="Freeform 10"/>
              <p:cNvSpPr>
                <a:spLocks noChangeAspect="1"/>
              </p:cNvSpPr>
              <p:nvPr/>
            </p:nvSpPr>
            <p:spPr bwMode="auto">
              <a:xfrm>
                <a:off x="3381392" y="5558197"/>
                <a:ext cx="133751" cy="134423"/>
              </a:xfrm>
              <a:custGeom>
                <a:avLst/>
                <a:gdLst>
                  <a:gd name="T0" fmla="*/ 2147483647 w 1170"/>
                  <a:gd name="T1" fmla="*/ 2147483647 h 1176"/>
                  <a:gd name="T2" fmla="*/ 2147483647 w 1170"/>
                  <a:gd name="T3" fmla="*/ 2147483647 h 1176"/>
                  <a:gd name="T4" fmla="*/ 2147483647 w 1170"/>
                  <a:gd name="T5" fmla="*/ 2147483647 h 1176"/>
                  <a:gd name="T6" fmla="*/ 2147483647 w 1170"/>
                  <a:gd name="T7" fmla="*/ 2147483647 h 1176"/>
                  <a:gd name="T8" fmla="*/ 2147483647 w 1170"/>
                  <a:gd name="T9" fmla="*/ 2147483647 h 1176"/>
                  <a:gd name="T10" fmla="*/ 2147483647 w 1170"/>
                  <a:gd name="T11" fmla="*/ 2147483647 h 1176"/>
                  <a:gd name="T12" fmla="*/ 2147483647 w 1170"/>
                  <a:gd name="T13" fmla="*/ 2147483647 h 1176"/>
                  <a:gd name="T14" fmla="*/ 2147483647 w 1170"/>
                  <a:gd name="T15" fmla="*/ 2147483647 h 1176"/>
                  <a:gd name="T16" fmla="*/ 2147483647 w 1170"/>
                  <a:gd name="T17" fmla="*/ 2147483647 h 1176"/>
                  <a:gd name="T18" fmla="*/ 2147483647 w 1170"/>
                  <a:gd name="T19" fmla="*/ 2147483647 h 1176"/>
                  <a:gd name="T20" fmla="*/ 2147483647 w 1170"/>
                  <a:gd name="T21" fmla="*/ 2147483647 h 1176"/>
                  <a:gd name="T22" fmla="*/ 2147483647 w 1170"/>
                  <a:gd name="T23" fmla="*/ 2147483647 h 1176"/>
                  <a:gd name="T24" fmla="*/ 2147483647 w 1170"/>
                  <a:gd name="T25" fmla="*/ 2147483647 h 1176"/>
                  <a:gd name="T26" fmla="*/ 2147483647 w 1170"/>
                  <a:gd name="T27" fmla="*/ 2147483647 h 1176"/>
                  <a:gd name="T28" fmla="*/ 2147483647 w 1170"/>
                  <a:gd name="T29" fmla="*/ 2147483647 h 1176"/>
                  <a:gd name="T30" fmla="*/ 2147483647 w 1170"/>
                  <a:gd name="T31" fmla="*/ 2147483647 h 1176"/>
                  <a:gd name="T32" fmla="*/ 2147483647 w 1170"/>
                  <a:gd name="T33" fmla="*/ 2147483647 h 1176"/>
                  <a:gd name="T34" fmla="*/ 2147483647 w 1170"/>
                  <a:gd name="T35" fmla="*/ 2147483647 h 1176"/>
                  <a:gd name="T36" fmla="*/ 2147483647 w 1170"/>
                  <a:gd name="T37" fmla="*/ 2147483647 h 1176"/>
                  <a:gd name="T38" fmla="*/ 2147483647 w 1170"/>
                  <a:gd name="T39" fmla="*/ 2147483647 h 1176"/>
                  <a:gd name="T40" fmla="*/ 2147483647 w 1170"/>
                  <a:gd name="T41" fmla="*/ 2147483647 h 1176"/>
                  <a:gd name="T42" fmla="*/ 2147483647 w 1170"/>
                  <a:gd name="T43" fmla="*/ 2147483647 h 1176"/>
                  <a:gd name="T44" fmla="*/ 2147483647 w 1170"/>
                  <a:gd name="T45" fmla="*/ 2147483647 h 1176"/>
                  <a:gd name="T46" fmla="*/ 2147483647 w 1170"/>
                  <a:gd name="T47" fmla="*/ 2147483647 h 1176"/>
                  <a:gd name="T48" fmla="*/ 2147483647 w 1170"/>
                  <a:gd name="T49" fmla="*/ 2147483647 h 1176"/>
                  <a:gd name="T50" fmla="*/ 2147483647 w 1170"/>
                  <a:gd name="T51" fmla="*/ 2147483647 h 1176"/>
                  <a:gd name="T52" fmla="*/ 2147483647 w 1170"/>
                  <a:gd name="T53" fmla="*/ 2147483647 h 1176"/>
                  <a:gd name="T54" fmla="*/ 2147483647 w 1170"/>
                  <a:gd name="T55" fmla="*/ 2147483647 h 1176"/>
                  <a:gd name="T56" fmla="*/ 2147483647 w 1170"/>
                  <a:gd name="T57" fmla="*/ 2147483647 h 1176"/>
                  <a:gd name="T58" fmla="*/ 2147483647 w 1170"/>
                  <a:gd name="T59" fmla="*/ 2147483647 h 1176"/>
                  <a:gd name="T60" fmla="*/ 2147483647 w 1170"/>
                  <a:gd name="T61" fmla="*/ 2147483647 h 1176"/>
                  <a:gd name="T62" fmla="*/ 2147483647 w 1170"/>
                  <a:gd name="T63" fmla="*/ 2147483647 h 1176"/>
                  <a:gd name="T64" fmla="*/ 0 w 1170"/>
                  <a:gd name="T65" fmla="*/ 2147483647 h 1176"/>
                  <a:gd name="T66" fmla="*/ 2147483647 w 1170"/>
                  <a:gd name="T67" fmla="*/ 2147483647 h 1176"/>
                  <a:gd name="T68" fmla="*/ 2147483647 w 1170"/>
                  <a:gd name="T69" fmla="*/ 2147483647 h 1176"/>
                  <a:gd name="T70" fmla="*/ 2147483647 w 1170"/>
                  <a:gd name="T71" fmla="*/ 2147483647 h 1176"/>
                  <a:gd name="T72" fmla="*/ 2147483647 w 1170"/>
                  <a:gd name="T73" fmla="*/ 2147483647 h 1176"/>
                  <a:gd name="T74" fmla="*/ 2147483647 w 1170"/>
                  <a:gd name="T75" fmla="*/ 2147483647 h 1176"/>
                  <a:gd name="T76" fmla="*/ 2147483647 w 1170"/>
                  <a:gd name="T77" fmla="*/ 2147483647 h 1176"/>
                  <a:gd name="T78" fmla="*/ 2147483647 w 1170"/>
                  <a:gd name="T79" fmla="*/ 2147483647 h 1176"/>
                  <a:gd name="T80" fmla="*/ 2147483647 w 1170"/>
                  <a:gd name="T81" fmla="*/ 2147483647 h 1176"/>
                  <a:gd name="T82" fmla="*/ 2147483647 w 1170"/>
                  <a:gd name="T83" fmla="*/ 2147483647 h 1176"/>
                  <a:gd name="T84" fmla="*/ 2147483647 w 1170"/>
                  <a:gd name="T85" fmla="*/ 2147483647 h 1176"/>
                  <a:gd name="T86" fmla="*/ 2147483647 w 1170"/>
                  <a:gd name="T87" fmla="*/ 2147483647 h 1176"/>
                  <a:gd name="T88" fmla="*/ 2147483647 w 1170"/>
                  <a:gd name="T89" fmla="*/ 2147483647 h 1176"/>
                  <a:gd name="T90" fmla="*/ 2147483647 w 1170"/>
                  <a:gd name="T91" fmla="*/ 2147483647 h 1176"/>
                  <a:gd name="T92" fmla="*/ 2147483647 w 1170"/>
                  <a:gd name="T93" fmla="*/ 2147483647 h 1176"/>
                  <a:gd name="T94" fmla="*/ 2147483647 w 1170"/>
                  <a:gd name="T95" fmla="*/ 2147483647 h 1176"/>
                  <a:gd name="T96" fmla="*/ 2147483647 w 1170"/>
                  <a:gd name="T97" fmla="*/ 2147483647 h 1176"/>
                  <a:gd name="T98" fmla="*/ 2147483647 w 1170"/>
                  <a:gd name="T99" fmla="*/ 2147483647 h 1176"/>
                  <a:gd name="T100" fmla="*/ 2147483647 w 1170"/>
                  <a:gd name="T101" fmla="*/ 2147483647 h 1176"/>
                  <a:gd name="T102" fmla="*/ 2147483647 w 1170"/>
                  <a:gd name="T103" fmla="*/ 2147483647 h 1176"/>
                  <a:gd name="T104" fmla="*/ 2147483647 w 1170"/>
                  <a:gd name="T105" fmla="*/ 2147483647 h 1176"/>
                  <a:gd name="T106" fmla="*/ 2147483647 w 1170"/>
                  <a:gd name="T107" fmla="*/ 2147483647 h 1176"/>
                  <a:gd name="T108" fmla="*/ 2147483647 w 1170"/>
                  <a:gd name="T109" fmla="*/ 2147483647 h 1176"/>
                  <a:gd name="T110" fmla="*/ 2147483647 w 1170"/>
                  <a:gd name="T111" fmla="*/ 2147483647 h 1176"/>
                  <a:gd name="T112" fmla="*/ 2147483647 w 1170"/>
                  <a:gd name="T113" fmla="*/ 2147483647 h 1176"/>
                  <a:gd name="T114" fmla="*/ 2147483647 w 1170"/>
                  <a:gd name="T115" fmla="*/ 2147483647 h 1176"/>
                  <a:gd name="T116" fmla="*/ 2147483647 w 1170"/>
                  <a:gd name="T117" fmla="*/ 2147483647 h 117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170" h="1176">
                    <a:moveTo>
                      <a:pt x="1134" y="6"/>
                    </a:moveTo>
                    <a:lnTo>
                      <a:pt x="1134" y="12"/>
                    </a:lnTo>
                    <a:lnTo>
                      <a:pt x="1140" y="12"/>
                    </a:lnTo>
                    <a:lnTo>
                      <a:pt x="1140" y="18"/>
                    </a:lnTo>
                    <a:lnTo>
                      <a:pt x="1140" y="24"/>
                    </a:lnTo>
                    <a:lnTo>
                      <a:pt x="1140" y="30"/>
                    </a:lnTo>
                    <a:lnTo>
                      <a:pt x="1140" y="36"/>
                    </a:lnTo>
                    <a:lnTo>
                      <a:pt x="1140" y="42"/>
                    </a:lnTo>
                    <a:lnTo>
                      <a:pt x="1140" y="48"/>
                    </a:lnTo>
                    <a:lnTo>
                      <a:pt x="1140" y="54"/>
                    </a:lnTo>
                    <a:lnTo>
                      <a:pt x="1140" y="60"/>
                    </a:lnTo>
                    <a:lnTo>
                      <a:pt x="1140" y="66"/>
                    </a:lnTo>
                    <a:lnTo>
                      <a:pt x="1140" y="72"/>
                    </a:lnTo>
                    <a:lnTo>
                      <a:pt x="1140" y="78"/>
                    </a:lnTo>
                    <a:lnTo>
                      <a:pt x="1140" y="84"/>
                    </a:lnTo>
                    <a:lnTo>
                      <a:pt x="1146" y="84"/>
                    </a:lnTo>
                    <a:lnTo>
                      <a:pt x="1146" y="90"/>
                    </a:lnTo>
                    <a:lnTo>
                      <a:pt x="1146" y="96"/>
                    </a:lnTo>
                    <a:lnTo>
                      <a:pt x="1152" y="96"/>
                    </a:lnTo>
                    <a:lnTo>
                      <a:pt x="1152" y="102"/>
                    </a:lnTo>
                    <a:lnTo>
                      <a:pt x="1152" y="108"/>
                    </a:lnTo>
                    <a:lnTo>
                      <a:pt x="1158" y="108"/>
                    </a:lnTo>
                    <a:lnTo>
                      <a:pt x="1158" y="114"/>
                    </a:lnTo>
                    <a:lnTo>
                      <a:pt x="1158" y="120"/>
                    </a:lnTo>
                    <a:lnTo>
                      <a:pt x="1164" y="120"/>
                    </a:lnTo>
                    <a:lnTo>
                      <a:pt x="1164" y="126"/>
                    </a:lnTo>
                    <a:lnTo>
                      <a:pt x="1164" y="132"/>
                    </a:lnTo>
                    <a:lnTo>
                      <a:pt x="1164" y="138"/>
                    </a:lnTo>
                    <a:lnTo>
                      <a:pt x="1164" y="144"/>
                    </a:lnTo>
                    <a:lnTo>
                      <a:pt x="1164" y="150"/>
                    </a:lnTo>
                    <a:lnTo>
                      <a:pt x="1164" y="156"/>
                    </a:lnTo>
                    <a:lnTo>
                      <a:pt x="1170" y="156"/>
                    </a:lnTo>
                    <a:lnTo>
                      <a:pt x="1170" y="162"/>
                    </a:lnTo>
                    <a:lnTo>
                      <a:pt x="1170" y="168"/>
                    </a:lnTo>
                    <a:lnTo>
                      <a:pt x="1170" y="174"/>
                    </a:lnTo>
                    <a:lnTo>
                      <a:pt x="1170" y="180"/>
                    </a:lnTo>
                    <a:lnTo>
                      <a:pt x="1170" y="186"/>
                    </a:lnTo>
                    <a:lnTo>
                      <a:pt x="1170" y="192"/>
                    </a:lnTo>
                    <a:lnTo>
                      <a:pt x="1170" y="198"/>
                    </a:lnTo>
                    <a:lnTo>
                      <a:pt x="1164" y="198"/>
                    </a:lnTo>
                    <a:lnTo>
                      <a:pt x="1164" y="204"/>
                    </a:lnTo>
                    <a:lnTo>
                      <a:pt x="1164" y="210"/>
                    </a:lnTo>
                    <a:lnTo>
                      <a:pt x="1164" y="216"/>
                    </a:lnTo>
                    <a:lnTo>
                      <a:pt x="1164" y="222"/>
                    </a:lnTo>
                    <a:lnTo>
                      <a:pt x="1164" y="228"/>
                    </a:lnTo>
                    <a:lnTo>
                      <a:pt x="1164" y="234"/>
                    </a:lnTo>
                    <a:lnTo>
                      <a:pt x="1164" y="240"/>
                    </a:lnTo>
                    <a:lnTo>
                      <a:pt x="1164" y="246"/>
                    </a:lnTo>
                    <a:lnTo>
                      <a:pt x="1164" y="252"/>
                    </a:lnTo>
                    <a:lnTo>
                      <a:pt x="1164" y="258"/>
                    </a:lnTo>
                    <a:lnTo>
                      <a:pt x="1164" y="264"/>
                    </a:lnTo>
                    <a:lnTo>
                      <a:pt x="1164" y="270"/>
                    </a:lnTo>
                    <a:lnTo>
                      <a:pt x="1164" y="276"/>
                    </a:lnTo>
                    <a:lnTo>
                      <a:pt x="1164" y="282"/>
                    </a:lnTo>
                    <a:lnTo>
                      <a:pt x="1164" y="288"/>
                    </a:lnTo>
                    <a:lnTo>
                      <a:pt x="1164" y="294"/>
                    </a:lnTo>
                    <a:lnTo>
                      <a:pt x="1164" y="300"/>
                    </a:lnTo>
                    <a:lnTo>
                      <a:pt x="1164" y="306"/>
                    </a:lnTo>
                    <a:lnTo>
                      <a:pt x="1164" y="312"/>
                    </a:lnTo>
                    <a:lnTo>
                      <a:pt x="1164" y="318"/>
                    </a:lnTo>
                    <a:lnTo>
                      <a:pt x="1164" y="324"/>
                    </a:lnTo>
                    <a:lnTo>
                      <a:pt x="1164" y="330"/>
                    </a:lnTo>
                    <a:lnTo>
                      <a:pt x="1164" y="336"/>
                    </a:lnTo>
                    <a:lnTo>
                      <a:pt x="1164" y="342"/>
                    </a:lnTo>
                    <a:lnTo>
                      <a:pt x="1164" y="348"/>
                    </a:lnTo>
                    <a:lnTo>
                      <a:pt x="1164" y="354"/>
                    </a:lnTo>
                    <a:lnTo>
                      <a:pt x="1164" y="360"/>
                    </a:lnTo>
                    <a:lnTo>
                      <a:pt x="1164" y="366"/>
                    </a:lnTo>
                    <a:lnTo>
                      <a:pt x="1164" y="372"/>
                    </a:lnTo>
                    <a:lnTo>
                      <a:pt x="1164" y="378"/>
                    </a:lnTo>
                    <a:lnTo>
                      <a:pt x="1164" y="384"/>
                    </a:lnTo>
                    <a:lnTo>
                      <a:pt x="1164" y="390"/>
                    </a:lnTo>
                    <a:lnTo>
                      <a:pt x="1164" y="396"/>
                    </a:lnTo>
                    <a:lnTo>
                      <a:pt x="1170" y="402"/>
                    </a:lnTo>
                    <a:lnTo>
                      <a:pt x="1164" y="402"/>
                    </a:lnTo>
                    <a:lnTo>
                      <a:pt x="1164" y="408"/>
                    </a:lnTo>
                    <a:lnTo>
                      <a:pt x="1164" y="414"/>
                    </a:lnTo>
                    <a:lnTo>
                      <a:pt x="1164" y="420"/>
                    </a:lnTo>
                    <a:lnTo>
                      <a:pt x="1164" y="426"/>
                    </a:lnTo>
                    <a:lnTo>
                      <a:pt x="1164" y="432"/>
                    </a:lnTo>
                    <a:lnTo>
                      <a:pt x="1164" y="438"/>
                    </a:lnTo>
                    <a:lnTo>
                      <a:pt x="1164" y="444"/>
                    </a:lnTo>
                    <a:lnTo>
                      <a:pt x="1164" y="450"/>
                    </a:lnTo>
                    <a:lnTo>
                      <a:pt x="1164" y="456"/>
                    </a:lnTo>
                    <a:lnTo>
                      <a:pt x="1158" y="456"/>
                    </a:lnTo>
                    <a:lnTo>
                      <a:pt x="1158" y="462"/>
                    </a:lnTo>
                    <a:lnTo>
                      <a:pt x="1158" y="468"/>
                    </a:lnTo>
                    <a:lnTo>
                      <a:pt x="1158" y="474"/>
                    </a:lnTo>
                    <a:lnTo>
                      <a:pt x="1158" y="480"/>
                    </a:lnTo>
                    <a:lnTo>
                      <a:pt x="1158" y="486"/>
                    </a:lnTo>
                    <a:lnTo>
                      <a:pt x="1158" y="492"/>
                    </a:lnTo>
                    <a:lnTo>
                      <a:pt x="1152" y="492"/>
                    </a:lnTo>
                    <a:lnTo>
                      <a:pt x="1152" y="498"/>
                    </a:lnTo>
                    <a:lnTo>
                      <a:pt x="1152" y="504"/>
                    </a:lnTo>
                    <a:lnTo>
                      <a:pt x="1146" y="504"/>
                    </a:lnTo>
                    <a:lnTo>
                      <a:pt x="1146" y="510"/>
                    </a:lnTo>
                    <a:lnTo>
                      <a:pt x="1146" y="516"/>
                    </a:lnTo>
                    <a:lnTo>
                      <a:pt x="1140" y="516"/>
                    </a:lnTo>
                    <a:lnTo>
                      <a:pt x="1140" y="522"/>
                    </a:lnTo>
                    <a:lnTo>
                      <a:pt x="1140" y="528"/>
                    </a:lnTo>
                    <a:lnTo>
                      <a:pt x="1140" y="534"/>
                    </a:lnTo>
                    <a:lnTo>
                      <a:pt x="1146" y="534"/>
                    </a:lnTo>
                    <a:lnTo>
                      <a:pt x="1146" y="540"/>
                    </a:lnTo>
                    <a:lnTo>
                      <a:pt x="1146" y="546"/>
                    </a:lnTo>
                    <a:lnTo>
                      <a:pt x="1146" y="552"/>
                    </a:lnTo>
                    <a:lnTo>
                      <a:pt x="1146" y="558"/>
                    </a:lnTo>
                    <a:lnTo>
                      <a:pt x="1146" y="564"/>
                    </a:lnTo>
                    <a:lnTo>
                      <a:pt x="1146" y="570"/>
                    </a:lnTo>
                    <a:lnTo>
                      <a:pt x="1152" y="570"/>
                    </a:lnTo>
                    <a:lnTo>
                      <a:pt x="1146" y="570"/>
                    </a:lnTo>
                    <a:lnTo>
                      <a:pt x="1146" y="576"/>
                    </a:lnTo>
                    <a:lnTo>
                      <a:pt x="1146" y="582"/>
                    </a:lnTo>
                    <a:lnTo>
                      <a:pt x="1146" y="588"/>
                    </a:lnTo>
                    <a:lnTo>
                      <a:pt x="1140" y="588"/>
                    </a:lnTo>
                    <a:lnTo>
                      <a:pt x="1140" y="594"/>
                    </a:lnTo>
                    <a:lnTo>
                      <a:pt x="1140" y="600"/>
                    </a:lnTo>
                    <a:lnTo>
                      <a:pt x="1134" y="600"/>
                    </a:lnTo>
                    <a:lnTo>
                      <a:pt x="1134" y="606"/>
                    </a:lnTo>
                    <a:lnTo>
                      <a:pt x="1134" y="612"/>
                    </a:lnTo>
                    <a:lnTo>
                      <a:pt x="1134" y="618"/>
                    </a:lnTo>
                    <a:lnTo>
                      <a:pt x="1128" y="618"/>
                    </a:lnTo>
                    <a:lnTo>
                      <a:pt x="1128" y="624"/>
                    </a:lnTo>
                    <a:lnTo>
                      <a:pt x="1128" y="630"/>
                    </a:lnTo>
                    <a:lnTo>
                      <a:pt x="1122" y="636"/>
                    </a:lnTo>
                    <a:lnTo>
                      <a:pt x="1122" y="642"/>
                    </a:lnTo>
                    <a:lnTo>
                      <a:pt x="1122" y="648"/>
                    </a:lnTo>
                    <a:lnTo>
                      <a:pt x="1122" y="654"/>
                    </a:lnTo>
                    <a:lnTo>
                      <a:pt x="1128" y="654"/>
                    </a:lnTo>
                    <a:lnTo>
                      <a:pt x="1128" y="660"/>
                    </a:lnTo>
                    <a:lnTo>
                      <a:pt x="1128" y="666"/>
                    </a:lnTo>
                    <a:lnTo>
                      <a:pt x="1128" y="672"/>
                    </a:lnTo>
                    <a:lnTo>
                      <a:pt x="1134" y="672"/>
                    </a:lnTo>
                    <a:lnTo>
                      <a:pt x="1134" y="678"/>
                    </a:lnTo>
                    <a:lnTo>
                      <a:pt x="1134" y="684"/>
                    </a:lnTo>
                    <a:lnTo>
                      <a:pt x="1128" y="684"/>
                    </a:lnTo>
                    <a:lnTo>
                      <a:pt x="1116" y="690"/>
                    </a:lnTo>
                    <a:lnTo>
                      <a:pt x="1110" y="690"/>
                    </a:lnTo>
                    <a:lnTo>
                      <a:pt x="1104" y="690"/>
                    </a:lnTo>
                    <a:lnTo>
                      <a:pt x="1104" y="696"/>
                    </a:lnTo>
                    <a:lnTo>
                      <a:pt x="1098" y="696"/>
                    </a:lnTo>
                    <a:lnTo>
                      <a:pt x="1086" y="690"/>
                    </a:lnTo>
                    <a:lnTo>
                      <a:pt x="1086" y="684"/>
                    </a:lnTo>
                    <a:lnTo>
                      <a:pt x="1080" y="684"/>
                    </a:lnTo>
                    <a:lnTo>
                      <a:pt x="1074" y="678"/>
                    </a:lnTo>
                    <a:lnTo>
                      <a:pt x="1068" y="672"/>
                    </a:lnTo>
                    <a:lnTo>
                      <a:pt x="1062" y="672"/>
                    </a:lnTo>
                    <a:lnTo>
                      <a:pt x="1056" y="660"/>
                    </a:lnTo>
                    <a:lnTo>
                      <a:pt x="1038" y="648"/>
                    </a:lnTo>
                    <a:lnTo>
                      <a:pt x="1026" y="642"/>
                    </a:lnTo>
                    <a:lnTo>
                      <a:pt x="1026" y="636"/>
                    </a:lnTo>
                    <a:lnTo>
                      <a:pt x="1020" y="636"/>
                    </a:lnTo>
                    <a:lnTo>
                      <a:pt x="1008" y="624"/>
                    </a:lnTo>
                    <a:lnTo>
                      <a:pt x="1002" y="624"/>
                    </a:lnTo>
                    <a:lnTo>
                      <a:pt x="1002" y="618"/>
                    </a:lnTo>
                    <a:lnTo>
                      <a:pt x="996" y="618"/>
                    </a:lnTo>
                    <a:lnTo>
                      <a:pt x="996" y="612"/>
                    </a:lnTo>
                    <a:lnTo>
                      <a:pt x="984" y="606"/>
                    </a:lnTo>
                    <a:lnTo>
                      <a:pt x="972" y="594"/>
                    </a:lnTo>
                    <a:lnTo>
                      <a:pt x="966" y="594"/>
                    </a:lnTo>
                    <a:lnTo>
                      <a:pt x="960" y="594"/>
                    </a:lnTo>
                    <a:lnTo>
                      <a:pt x="954" y="594"/>
                    </a:lnTo>
                    <a:lnTo>
                      <a:pt x="948" y="600"/>
                    </a:lnTo>
                    <a:lnTo>
                      <a:pt x="942" y="600"/>
                    </a:lnTo>
                    <a:lnTo>
                      <a:pt x="936" y="600"/>
                    </a:lnTo>
                    <a:lnTo>
                      <a:pt x="930" y="606"/>
                    </a:lnTo>
                    <a:lnTo>
                      <a:pt x="924" y="612"/>
                    </a:lnTo>
                    <a:lnTo>
                      <a:pt x="918" y="624"/>
                    </a:lnTo>
                    <a:lnTo>
                      <a:pt x="912" y="630"/>
                    </a:lnTo>
                    <a:lnTo>
                      <a:pt x="888" y="648"/>
                    </a:lnTo>
                    <a:lnTo>
                      <a:pt x="882" y="648"/>
                    </a:lnTo>
                    <a:lnTo>
                      <a:pt x="882" y="654"/>
                    </a:lnTo>
                    <a:lnTo>
                      <a:pt x="876" y="654"/>
                    </a:lnTo>
                    <a:lnTo>
                      <a:pt x="876" y="660"/>
                    </a:lnTo>
                    <a:lnTo>
                      <a:pt x="876" y="666"/>
                    </a:lnTo>
                    <a:lnTo>
                      <a:pt x="870" y="672"/>
                    </a:lnTo>
                    <a:lnTo>
                      <a:pt x="870" y="678"/>
                    </a:lnTo>
                    <a:lnTo>
                      <a:pt x="864" y="690"/>
                    </a:lnTo>
                    <a:lnTo>
                      <a:pt x="858" y="696"/>
                    </a:lnTo>
                    <a:lnTo>
                      <a:pt x="858" y="702"/>
                    </a:lnTo>
                    <a:lnTo>
                      <a:pt x="858" y="708"/>
                    </a:lnTo>
                    <a:lnTo>
                      <a:pt x="852" y="714"/>
                    </a:lnTo>
                    <a:lnTo>
                      <a:pt x="846" y="726"/>
                    </a:lnTo>
                    <a:lnTo>
                      <a:pt x="840" y="732"/>
                    </a:lnTo>
                    <a:lnTo>
                      <a:pt x="840" y="738"/>
                    </a:lnTo>
                    <a:lnTo>
                      <a:pt x="834" y="750"/>
                    </a:lnTo>
                    <a:lnTo>
                      <a:pt x="828" y="750"/>
                    </a:lnTo>
                    <a:lnTo>
                      <a:pt x="828" y="756"/>
                    </a:lnTo>
                    <a:lnTo>
                      <a:pt x="828" y="762"/>
                    </a:lnTo>
                    <a:lnTo>
                      <a:pt x="822" y="768"/>
                    </a:lnTo>
                    <a:lnTo>
                      <a:pt x="810" y="780"/>
                    </a:lnTo>
                    <a:lnTo>
                      <a:pt x="804" y="780"/>
                    </a:lnTo>
                    <a:lnTo>
                      <a:pt x="804" y="786"/>
                    </a:lnTo>
                    <a:lnTo>
                      <a:pt x="798" y="786"/>
                    </a:lnTo>
                    <a:lnTo>
                      <a:pt x="798" y="792"/>
                    </a:lnTo>
                    <a:lnTo>
                      <a:pt x="792" y="798"/>
                    </a:lnTo>
                    <a:lnTo>
                      <a:pt x="792" y="804"/>
                    </a:lnTo>
                    <a:lnTo>
                      <a:pt x="786" y="810"/>
                    </a:lnTo>
                    <a:lnTo>
                      <a:pt x="780" y="822"/>
                    </a:lnTo>
                    <a:lnTo>
                      <a:pt x="774" y="822"/>
                    </a:lnTo>
                    <a:lnTo>
                      <a:pt x="774" y="828"/>
                    </a:lnTo>
                    <a:lnTo>
                      <a:pt x="774" y="840"/>
                    </a:lnTo>
                    <a:lnTo>
                      <a:pt x="768" y="840"/>
                    </a:lnTo>
                    <a:lnTo>
                      <a:pt x="768" y="858"/>
                    </a:lnTo>
                    <a:lnTo>
                      <a:pt x="762" y="870"/>
                    </a:lnTo>
                    <a:lnTo>
                      <a:pt x="762" y="882"/>
                    </a:lnTo>
                    <a:lnTo>
                      <a:pt x="762" y="906"/>
                    </a:lnTo>
                    <a:lnTo>
                      <a:pt x="762" y="918"/>
                    </a:lnTo>
                    <a:lnTo>
                      <a:pt x="762" y="924"/>
                    </a:lnTo>
                    <a:lnTo>
                      <a:pt x="762" y="930"/>
                    </a:lnTo>
                    <a:lnTo>
                      <a:pt x="762" y="936"/>
                    </a:lnTo>
                    <a:lnTo>
                      <a:pt x="762" y="942"/>
                    </a:lnTo>
                    <a:lnTo>
                      <a:pt x="762" y="960"/>
                    </a:lnTo>
                    <a:lnTo>
                      <a:pt x="768" y="966"/>
                    </a:lnTo>
                    <a:lnTo>
                      <a:pt x="774" y="966"/>
                    </a:lnTo>
                    <a:lnTo>
                      <a:pt x="780" y="960"/>
                    </a:lnTo>
                    <a:lnTo>
                      <a:pt x="786" y="960"/>
                    </a:lnTo>
                    <a:lnTo>
                      <a:pt x="786" y="954"/>
                    </a:lnTo>
                    <a:lnTo>
                      <a:pt x="792" y="948"/>
                    </a:lnTo>
                    <a:lnTo>
                      <a:pt x="792" y="960"/>
                    </a:lnTo>
                    <a:lnTo>
                      <a:pt x="792" y="966"/>
                    </a:lnTo>
                    <a:lnTo>
                      <a:pt x="798" y="972"/>
                    </a:lnTo>
                    <a:lnTo>
                      <a:pt x="804" y="978"/>
                    </a:lnTo>
                    <a:lnTo>
                      <a:pt x="804" y="984"/>
                    </a:lnTo>
                    <a:lnTo>
                      <a:pt x="810" y="990"/>
                    </a:lnTo>
                    <a:lnTo>
                      <a:pt x="816" y="996"/>
                    </a:lnTo>
                    <a:lnTo>
                      <a:pt x="816" y="1002"/>
                    </a:lnTo>
                    <a:lnTo>
                      <a:pt x="816" y="1008"/>
                    </a:lnTo>
                    <a:lnTo>
                      <a:pt x="816" y="1014"/>
                    </a:lnTo>
                    <a:lnTo>
                      <a:pt x="810" y="1020"/>
                    </a:lnTo>
                    <a:lnTo>
                      <a:pt x="810" y="1026"/>
                    </a:lnTo>
                    <a:lnTo>
                      <a:pt x="816" y="1032"/>
                    </a:lnTo>
                    <a:lnTo>
                      <a:pt x="828" y="1044"/>
                    </a:lnTo>
                    <a:lnTo>
                      <a:pt x="834" y="1050"/>
                    </a:lnTo>
                    <a:lnTo>
                      <a:pt x="840" y="1056"/>
                    </a:lnTo>
                    <a:lnTo>
                      <a:pt x="840" y="1062"/>
                    </a:lnTo>
                    <a:lnTo>
                      <a:pt x="846" y="1068"/>
                    </a:lnTo>
                    <a:lnTo>
                      <a:pt x="846" y="1074"/>
                    </a:lnTo>
                    <a:lnTo>
                      <a:pt x="858" y="1086"/>
                    </a:lnTo>
                    <a:lnTo>
                      <a:pt x="858" y="1092"/>
                    </a:lnTo>
                    <a:lnTo>
                      <a:pt x="864" y="1092"/>
                    </a:lnTo>
                    <a:lnTo>
                      <a:pt x="870" y="1098"/>
                    </a:lnTo>
                    <a:lnTo>
                      <a:pt x="876" y="1098"/>
                    </a:lnTo>
                    <a:lnTo>
                      <a:pt x="882" y="1104"/>
                    </a:lnTo>
                    <a:lnTo>
                      <a:pt x="900" y="1110"/>
                    </a:lnTo>
                    <a:lnTo>
                      <a:pt x="894" y="1116"/>
                    </a:lnTo>
                    <a:lnTo>
                      <a:pt x="888" y="1122"/>
                    </a:lnTo>
                    <a:lnTo>
                      <a:pt x="882" y="1128"/>
                    </a:lnTo>
                    <a:lnTo>
                      <a:pt x="876" y="1134"/>
                    </a:lnTo>
                    <a:lnTo>
                      <a:pt x="876" y="1140"/>
                    </a:lnTo>
                    <a:lnTo>
                      <a:pt x="870" y="1146"/>
                    </a:lnTo>
                    <a:lnTo>
                      <a:pt x="864" y="1152"/>
                    </a:lnTo>
                    <a:lnTo>
                      <a:pt x="858" y="1152"/>
                    </a:lnTo>
                    <a:lnTo>
                      <a:pt x="858" y="1146"/>
                    </a:lnTo>
                    <a:lnTo>
                      <a:pt x="852" y="1140"/>
                    </a:lnTo>
                    <a:lnTo>
                      <a:pt x="846" y="1140"/>
                    </a:lnTo>
                    <a:lnTo>
                      <a:pt x="840" y="1140"/>
                    </a:lnTo>
                    <a:lnTo>
                      <a:pt x="834" y="1140"/>
                    </a:lnTo>
                    <a:lnTo>
                      <a:pt x="834" y="1134"/>
                    </a:lnTo>
                    <a:lnTo>
                      <a:pt x="828" y="1134"/>
                    </a:lnTo>
                    <a:lnTo>
                      <a:pt x="828" y="1140"/>
                    </a:lnTo>
                    <a:lnTo>
                      <a:pt x="822" y="1140"/>
                    </a:lnTo>
                    <a:lnTo>
                      <a:pt x="816" y="1140"/>
                    </a:lnTo>
                    <a:lnTo>
                      <a:pt x="810" y="1140"/>
                    </a:lnTo>
                    <a:lnTo>
                      <a:pt x="804" y="1140"/>
                    </a:lnTo>
                    <a:lnTo>
                      <a:pt x="798" y="1140"/>
                    </a:lnTo>
                    <a:lnTo>
                      <a:pt x="792" y="1140"/>
                    </a:lnTo>
                    <a:lnTo>
                      <a:pt x="792" y="1134"/>
                    </a:lnTo>
                    <a:lnTo>
                      <a:pt x="792" y="1128"/>
                    </a:lnTo>
                    <a:lnTo>
                      <a:pt x="792" y="1122"/>
                    </a:lnTo>
                    <a:lnTo>
                      <a:pt x="786" y="1122"/>
                    </a:lnTo>
                    <a:lnTo>
                      <a:pt x="780" y="1122"/>
                    </a:lnTo>
                    <a:lnTo>
                      <a:pt x="774" y="1128"/>
                    </a:lnTo>
                    <a:lnTo>
                      <a:pt x="768" y="1128"/>
                    </a:lnTo>
                    <a:lnTo>
                      <a:pt x="768" y="1134"/>
                    </a:lnTo>
                    <a:lnTo>
                      <a:pt x="762" y="1134"/>
                    </a:lnTo>
                    <a:lnTo>
                      <a:pt x="756" y="1134"/>
                    </a:lnTo>
                    <a:lnTo>
                      <a:pt x="756" y="1128"/>
                    </a:lnTo>
                    <a:lnTo>
                      <a:pt x="750" y="1128"/>
                    </a:lnTo>
                    <a:lnTo>
                      <a:pt x="750" y="1122"/>
                    </a:lnTo>
                    <a:lnTo>
                      <a:pt x="744" y="1122"/>
                    </a:lnTo>
                    <a:lnTo>
                      <a:pt x="744" y="1128"/>
                    </a:lnTo>
                    <a:lnTo>
                      <a:pt x="744" y="1122"/>
                    </a:lnTo>
                    <a:lnTo>
                      <a:pt x="738" y="1122"/>
                    </a:lnTo>
                    <a:lnTo>
                      <a:pt x="738" y="1116"/>
                    </a:lnTo>
                    <a:lnTo>
                      <a:pt x="732" y="1116"/>
                    </a:lnTo>
                    <a:lnTo>
                      <a:pt x="726" y="1116"/>
                    </a:lnTo>
                    <a:lnTo>
                      <a:pt x="726" y="1110"/>
                    </a:lnTo>
                    <a:lnTo>
                      <a:pt x="720" y="1110"/>
                    </a:lnTo>
                    <a:lnTo>
                      <a:pt x="714" y="1110"/>
                    </a:lnTo>
                    <a:lnTo>
                      <a:pt x="708" y="1110"/>
                    </a:lnTo>
                    <a:lnTo>
                      <a:pt x="702" y="1110"/>
                    </a:lnTo>
                    <a:lnTo>
                      <a:pt x="702" y="1116"/>
                    </a:lnTo>
                    <a:lnTo>
                      <a:pt x="696" y="1116"/>
                    </a:lnTo>
                    <a:lnTo>
                      <a:pt x="696" y="1122"/>
                    </a:lnTo>
                    <a:lnTo>
                      <a:pt x="690" y="1122"/>
                    </a:lnTo>
                    <a:lnTo>
                      <a:pt x="684" y="1122"/>
                    </a:lnTo>
                    <a:lnTo>
                      <a:pt x="678" y="1122"/>
                    </a:lnTo>
                    <a:lnTo>
                      <a:pt x="672" y="1122"/>
                    </a:lnTo>
                    <a:lnTo>
                      <a:pt x="672" y="1116"/>
                    </a:lnTo>
                    <a:lnTo>
                      <a:pt x="666" y="1116"/>
                    </a:lnTo>
                    <a:lnTo>
                      <a:pt x="660" y="1116"/>
                    </a:lnTo>
                    <a:lnTo>
                      <a:pt x="654" y="1116"/>
                    </a:lnTo>
                    <a:lnTo>
                      <a:pt x="648" y="1116"/>
                    </a:lnTo>
                    <a:lnTo>
                      <a:pt x="642" y="1116"/>
                    </a:lnTo>
                    <a:lnTo>
                      <a:pt x="642" y="1110"/>
                    </a:lnTo>
                    <a:lnTo>
                      <a:pt x="642" y="1104"/>
                    </a:lnTo>
                    <a:lnTo>
                      <a:pt x="636" y="1104"/>
                    </a:lnTo>
                    <a:lnTo>
                      <a:pt x="630" y="1104"/>
                    </a:lnTo>
                    <a:lnTo>
                      <a:pt x="624" y="1104"/>
                    </a:lnTo>
                    <a:lnTo>
                      <a:pt x="624" y="1110"/>
                    </a:lnTo>
                    <a:lnTo>
                      <a:pt x="618" y="1110"/>
                    </a:lnTo>
                    <a:lnTo>
                      <a:pt x="612" y="1110"/>
                    </a:lnTo>
                    <a:lnTo>
                      <a:pt x="606" y="1110"/>
                    </a:lnTo>
                    <a:lnTo>
                      <a:pt x="606" y="1116"/>
                    </a:lnTo>
                    <a:lnTo>
                      <a:pt x="600" y="1116"/>
                    </a:lnTo>
                    <a:lnTo>
                      <a:pt x="594" y="1116"/>
                    </a:lnTo>
                    <a:lnTo>
                      <a:pt x="588" y="1116"/>
                    </a:lnTo>
                    <a:lnTo>
                      <a:pt x="588" y="1122"/>
                    </a:lnTo>
                    <a:lnTo>
                      <a:pt x="582" y="1122"/>
                    </a:lnTo>
                    <a:lnTo>
                      <a:pt x="582" y="1128"/>
                    </a:lnTo>
                    <a:lnTo>
                      <a:pt x="576" y="1128"/>
                    </a:lnTo>
                    <a:lnTo>
                      <a:pt x="570" y="1128"/>
                    </a:lnTo>
                    <a:lnTo>
                      <a:pt x="564" y="1128"/>
                    </a:lnTo>
                    <a:lnTo>
                      <a:pt x="564" y="1134"/>
                    </a:lnTo>
                    <a:lnTo>
                      <a:pt x="558" y="1134"/>
                    </a:lnTo>
                    <a:lnTo>
                      <a:pt x="558" y="1140"/>
                    </a:lnTo>
                    <a:lnTo>
                      <a:pt x="552" y="1140"/>
                    </a:lnTo>
                    <a:lnTo>
                      <a:pt x="546" y="1140"/>
                    </a:lnTo>
                    <a:lnTo>
                      <a:pt x="546" y="1134"/>
                    </a:lnTo>
                    <a:lnTo>
                      <a:pt x="540" y="1134"/>
                    </a:lnTo>
                    <a:lnTo>
                      <a:pt x="534" y="1134"/>
                    </a:lnTo>
                    <a:lnTo>
                      <a:pt x="528" y="1134"/>
                    </a:lnTo>
                    <a:lnTo>
                      <a:pt x="522" y="1134"/>
                    </a:lnTo>
                    <a:lnTo>
                      <a:pt x="516" y="1140"/>
                    </a:lnTo>
                    <a:lnTo>
                      <a:pt x="510" y="1140"/>
                    </a:lnTo>
                    <a:lnTo>
                      <a:pt x="510" y="1134"/>
                    </a:lnTo>
                    <a:lnTo>
                      <a:pt x="504" y="1134"/>
                    </a:lnTo>
                    <a:lnTo>
                      <a:pt x="498" y="1134"/>
                    </a:lnTo>
                    <a:lnTo>
                      <a:pt x="492" y="1134"/>
                    </a:lnTo>
                    <a:lnTo>
                      <a:pt x="492" y="1128"/>
                    </a:lnTo>
                    <a:lnTo>
                      <a:pt x="486" y="1128"/>
                    </a:lnTo>
                    <a:lnTo>
                      <a:pt x="486" y="1134"/>
                    </a:lnTo>
                    <a:lnTo>
                      <a:pt x="480" y="1134"/>
                    </a:lnTo>
                    <a:lnTo>
                      <a:pt x="474" y="1134"/>
                    </a:lnTo>
                    <a:lnTo>
                      <a:pt x="468" y="1134"/>
                    </a:lnTo>
                    <a:lnTo>
                      <a:pt x="468" y="1140"/>
                    </a:lnTo>
                    <a:lnTo>
                      <a:pt x="462" y="1140"/>
                    </a:lnTo>
                    <a:lnTo>
                      <a:pt x="462" y="1146"/>
                    </a:lnTo>
                    <a:lnTo>
                      <a:pt x="462" y="1152"/>
                    </a:lnTo>
                    <a:lnTo>
                      <a:pt x="456" y="1152"/>
                    </a:lnTo>
                    <a:lnTo>
                      <a:pt x="456" y="1158"/>
                    </a:lnTo>
                    <a:lnTo>
                      <a:pt x="450" y="1164"/>
                    </a:lnTo>
                    <a:lnTo>
                      <a:pt x="444" y="1164"/>
                    </a:lnTo>
                    <a:lnTo>
                      <a:pt x="444" y="1158"/>
                    </a:lnTo>
                    <a:lnTo>
                      <a:pt x="438" y="1158"/>
                    </a:lnTo>
                    <a:lnTo>
                      <a:pt x="432" y="1158"/>
                    </a:lnTo>
                    <a:lnTo>
                      <a:pt x="426" y="1158"/>
                    </a:lnTo>
                    <a:lnTo>
                      <a:pt x="420" y="1158"/>
                    </a:lnTo>
                    <a:lnTo>
                      <a:pt x="420" y="1164"/>
                    </a:lnTo>
                    <a:lnTo>
                      <a:pt x="420" y="1170"/>
                    </a:lnTo>
                    <a:lnTo>
                      <a:pt x="414" y="1170"/>
                    </a:lnTo>
                    <a:lnTo>
                      <a:pt x="408" y="1170"/>
                    </a:lnTo>
                    <a:lnTo>
                      <a:pt x="408" y="1176"/>
                    </a:lnTo>
                    <a:lnTo>
                      <a:pt x="402" y="1176"/>
                    </a:lnTo>
                    <a:lnTo>
                      <a:pt x="396" y="1176"/>
                    </a:lnTo>
                    <a:lnTo>
                      <a:pt x="390" y="1176"/>
                    </a:lnTo>
                    <a:lnTo>
                      <a:pt x="390" y="1170"/>
                    </a:lnTo>
                    <a:lnTo>
                      <a:pt x="390" y="1164"/>
                    </a:lnTo>
                    <a:lnTo>
                      <a:pt x="390" y="1158"/>
                    </a:lnTo>
                    <a:lnTo>
                      <a:pt x="384" y="1158"/>
                    </a:lnTo>
                    <a:lnTo>
                      <a:pt x="384" y="1152"/>
                    </a:lnTo>
                    <a:lnTo>
                      <a:pt x="378" y="1152"/>
                    </a:lnTo>
                    <a:lnTo>
                      <a:pt x="378" y="1146"/>
                    </a:lnTo>
                    <a:lnTo>
                      <a:pt x="372" y="1146"/>
                    </a:lnTo>
                    <a:lnTo>
                      <a:pt x="372" y="1140"/>
                    </a:lnTo>
                    <a:lnTo>
                      <a:pt x="372" y="1134"/>
                    </a:lnTo>
                    <a:lnTo>
                      <a:pt x="366" y="1134"/>
                    </a:lnTo>
                    <a:lnTo>
                      <a:pt x="366" y="1128"/>
                    </a:lnTo>
                    <a:lnTo>
                      <a:pt x="360" y="1122"/>
                    </a:lnTo>
                    <a:lnTo>
                      <a:pt x="354" y="1116"/>
                    </a:lnTo>
                    <a:lnTo>
                      <a:pt x="360" y="1116"/>
                    </a:lnTo>
                    <a:lnTo>
                      <a:pt x="360" y="1110"/>
                    </a:lnTo>
                    <a:lnTo>
                      <a:pt x="354" y="1110"/>
                    </a:lnTo>
                    <a:lnTo>
                      <a:pt x="354" y="1104"/>
                    </a:lnTo>
                    <a:lnTo>
                      <a:pt x="354" y="1098"/>
                    </a:lnTo>
                    <a:lnTo>
                      <a:pt x="348" y="1098"/>
                    </a:lnTo>
                    <a:lnTo>
                      <a:pt x="348" y="1092"/>
                    </a:lnTo>
                    <a:lnTo>
                      <a:pt x="348" y="1086"/>
                    </a:lnTo>
                    <a:lnTo>
                      <a:pt x="342" y="1086"/>
                    </a:lnTo>
                    <a:lnTo>
                      <a:pt x="336" y="1086"/>
                    </a:lnTo>
                    <a:lnTo>
                      <a:pt x="336" y="1080"/>
                    </a:lnTo>
                    <a:lnTo>
                      <a:pt x="330" y="1080"/>
                    </a:lnTo>
                    <a:lnTo>
                      <a:pt x="324" y="1080"/>
                    </a:lnTo>
                    <a:lnTo>
                      <a:pt x="318" y="1080"/>
                    </a:lnTo>
                    <a:lnTo>
                      <a:pt x="312" y="1080"/>
                    </a:lnTo>
                    <a:lnTo>
                      <a:pt x="312" y="1074"/>
                    </a:lnTo>
                    <a:lnTo>
                      <a:pt x="312" y="1068"/>
                    </a:lnTo>
                    <a:lnTo>
                      <a:pt x="306" y="1068"/>
                    </a:lnTo>
                    <a:lnTo>
                      <a:pt x="300" y="1068"/>
                    </a:lnTo>
                    <a:lnTo>
                      <a:pt x="300" y="1062"/>
                    </a:lnTo>
                    <a:lnTo>
                      <a:pt x="294" y="1062"/>
                    </a:lnTo>
                    <a:lnTo>
                      <a:pt x="288" y="1062"/>
                    </a:lnTo>
                    <a:lnTo>
                      <a:pt x="288" y="1056"/>
                    </a:lnTo>
                    <a:lnTo>
                      <a:pt x="282" y="1056"/>
                    </a:lnTo>
                    <a:lnTo>
                      <a:pt x="282" y="1050"/>
                    </a:lnTo>
                    <a:lnTo>
                      <a:pt x="276" y="1050"/>
                    </a:lnTo>
                    <a:lnTo>
                      <a:pt x="276" y="1044"/>
                    </a:lnTo>
                    <a:lnTo>
                      <a:pt x="270" y="1044"/>
                    </a:lnTo>
                    <a:lnTo>
                      <a:pt x="264" y="1044"/>
                    </a:lnTo>
                    <a:lnTo>
                      <a:pt x="258" y="1044"/>
                    </a:lnTo>
                    <a:lnTo>
                      <a:pt x="252" y="1044"/>
                    </a:lnTo>
                    <a:lnTo>
                      <a:pt x="252" y="1050"/>
                    </a:lnTo>
                    <a:lnTo>
                      <a:pt x="246" y="1050"/>
                    </a:lnTo>
                    <a:lnTo>
                      <a:pt x="246" y="1044"/>
                    </a:lnTo>
                    <a:lnTo>
                      <a:pt x="240" y="1044"/>
                    </a:lnTo>
                    <a:lnTo>
                      <a:pt x="240" y="1038"/>
                    </a:lnTo>
                    <a:lnTo>
                      <a:pt x="240" y="1032"/>
                    </a:lnTo>
                    <a:lnTo>
                      <a:pt x="240" y="1026"/>
                    </a:lnTo>
                    <a:lnTo>
                      <a:pt x="234" y="1026"/>
                    </a:lnTo>
                    <a:lnTo>
                      <a:pt x="234" y="1020"/>
                    </a:lnTo>
                    <a:lnTo>
                      <a:pt x="234" y="1014"/>
                    </a:lnTo>
                    <a:lnTo>
                      <a:pt x="228" y="1008"/>
                    </a:lnTo>
                    <a:lnTo>
                      <a:pt x="222" y="1008"/>
                    </a:lnTo>
                    <a:lnTo>
                      <a:pt x="216" y="1002"/>
                    </a:lnTo>
                    <a:lnTo>
                      <a:pt x="216" y="996"/>
                    </a:lnTo>
                    <a:lnTo>
                      <a:pt x="210" y="996"/>
                    </a:lnTo>
                    <a:lnTo>
                      <a:pt x="204" y="996"/>
                    </a:lnTo>
                    <a:lnTo>
                      <a:pt x="198" y="996"/>
                    </a:lnTo>
                    <a:lnTo>
                      <a:pt x="198" y="1002"/>
                    </a:lnTo>
                    <a:lnTo>
                      <a:pt x="192" y="1002"/>
                    </a:lnTo>
                    <a:lnTo>
                      <a:pt x="186" y="1002"/>
                    </a:lnTo>
                    <a:lnTo>
                      <a:pt x="180" y="1008"/>
                    </a:lnTo>
                    <a:lnTo>
                      <a:pt x="180" y="1014"/>
                    </a:lnTo>
                    <a:lnTo>
                      <a:pt x="174" y="1014"/>
                    </a:lnTo>
                    <a:lnTo>
                      <a:pt x="174" y="1008"/>
                    </a:lnTo>
                    <a:lnTo>
                      <a:pt x="168" y="1008"/>
                    </a:lnTo>
                    <a:lnTo>
                      <a:pt x="162" y="1008"/>
                    </a:lnTo>
                    <a:lnTo>
                      <a:pt x="156" y="1008"/>
                    </a:lnTo>
                    <a:lnTo>
                      <a:pt x="156" y="1002"/>
                    </a:lnTo>
                    <a:lnTo>
                      <a:pt x="150" y="1002"/>
                    </a:lnTo>
                    <a:lnTo>
                      <a:pt x="144" y="1002"/>
                    </a:lnTo>
                    <a:lnTo>
                      <a:pt x="144" y="996"/>
                    </a:lnTo>
                    <a:lnTo>
                      <a:pt x="138" y="996"/>
                    </a:lnTo>
                    <a:lnTo>
                      <a:pt x="132" y="996"/>
                    </a:lnTo>
                    <a:lnTo>
                      <a:pt x="132" y="990"/>
                    </a:lnTo>
                    <a:lnTo>
                      <a:pt x="126" y="990"/>
                    </a:lnTo>
                    <a:lnTo>
                      <a:pt x="126" y="984"/>
                    </a:lnTo>
                    <a:lnTo>
                      <a:pt x="120" y="984"/>
                    </a:lnTo>
                    <a:lnTo>
                      <a:pt x="114" y="984"/>
                    </a:lnTo>
                    <a:lnTo>
                      <a:pt x="114" y="978"/>
                    </a:lnTo>
                    <a:lnTo>
                      <a:pt x="108" y="978"/>
                    </a:lnTo>
                    <a:lnTo>
                      <a:pt x="102" y="978"/>
                    </a:lnTo>
                    <a:lnTo>
                      <a:pt x="102" y="984"/>
                    </a:lnTo>
                    <a:lnTo>
                      <a:pt x="96" y="984"/>
                    </a:lnTo>
                    <a:lnTo>
                      <a:pt x="96" y="990"/>
                    </a:lnTo>
                    <a:lnTo>
                      <a:pt x="102" y="990"/>
                    </a:lnTo>
                    <a:lnTo>
                      <a:pt x="108" y="990"/>
                    </a:lnTo>
                    <a:lnTo>
                      <a:pt x="108" y="996"/>
                    </a:lnTo>
                    <a:lnTo>
                      <a:pt x="102" y="996"/>
                    </a:lnTo>
                    <a:lnTo>
                      <a:pt x="96" y="996"/>
                    </a:lnTo>
                    <a:lnTo>
                      <a:pt x="90" y="996"/>
                    </a:lnTo>
                    <a:lnTo>
                      <a:pt x="90" y="1002"/>
                    </a:lnTo>
                    <a:lnTo>
                      <a:pt x="84" y="1002"/>
                    </a:lnTo>
                    <a:lnTo>
                      <a:pt x="84" y="1008"/>
                    </a:lnTo>
                    <a:lnTo>
                      <a:pt x="78" y="1008"/>
                    </a:lnTo>
                    <a:lnTo>
                      <a:pt x="78" y="1014"/>
                    </a:lnTo>
                    <a:lnTo>
                      <a:pt x="72" y="1014"/>
                    </a:lnTo>
                    <a:lnTo>
                      <a:pt x="72" y="1008"/>
                    </a:lnTo>
                    <a:lnTo>
                      <a:pt x="78" y="1008"/>
                    </a:lnTo>
                    <a:lnTo>
                      <a:pt x="78" y="1002"/>
                    </a:lnTo>
                    <a:lnTo>
                      <a:pt x="78" y="996"/>
                    </a:lnTo>
                    <a:lnTo>
                      <a:pt x="72" y="996"/>
                    </a:lnTo>
                    <a:lnTo>
                      <a:pt x="66" y="990"/>
                    </a:lnTo>
                    <a:lnTo>
                      <a:pt x="66" y="984"/>
                    </a:lnTo>
                    <a:lnTo>
                      <a:pt x="60" y="984"/>
                    </a:lnTo>
                    <a:lnTo>
                      <a:pt x="60" y="978"/>
                    </a:lnTo>
                    <a:lnTo>
                      <a:pt x="54" y="978"/>
                    </a:lnTo>
                    <a:lnTo>
                      <a:pt x="48" y="978"/>
                    </a:lnTo>
                    <a:lnTo>
                      <a:pt x="48" y="984"/>
                    </a:lnTo>
                    <a:lnTo>
                      <a:pt x="42" y="984"/>
                    </a:lnTo>
                    <a:lnTo>
                      <a:pt x="42" y="990"/>
                    </a:lnTo>
                    <a:lnTo>
                      <a:pt x="42" y="984"/>
                    </a:lnTo>
                    <a:lnTo>
                      <a:pt x="36" y="984"/>
                    </a:lnTo>
                    <a:lnTo>
                      <a:pt x="36" y="978"/>
                    </a:lnTo>
                    <a:lnTo>
                      <a:pt x="36" y="972"/>
                    </a:lnTo>
                    <a:lnTo>
                      <a:pt x="30" y="966"/>
                    </a:lnTo>
                    <a:lnTo>
                      <a:pt x="24" y="966"/>
                    </a:lnTo>
                    <a:lnTo>
                      <a:pt x="18" y="966"/>
                    </a:lnTo>
                    <a:lnTo>
                      <a:pt x="12" y="966"/>
                    </a:lnTo>
                    <a:lnTo>
                      <a:pt x="6" y="966"/>
                    </a:lnTo>
                    <a:lnTo>
                      <a:pt x="6" y="960"/>
                    </a:lnTo>
                    <a:lnTo>
                      <a:pt x="0" y="960"/>
                    </a:lnTo>
                    <a:lnTo>
                      <a:pt x="0" y="954"/>
                    </a:lnTo>
                    <a:lnTo>
                      <a:pt x="6" y="948"/>
                    </a:lnTo>
                    <a:lnTo>
                      <a:pt x="0" y="942"/>
                    </a:lnTo>
                    <a:lnTo>
                      <a:pt x="0" y="930"/>
                    </a:lnTo>
                    <a:lnTo>
                      <a:pt x="12" y="930"/>
                    </a:lnTo>
                    <a:lnTo>
                      <a:pt x="12" y="924"/>
                    </a:lnTo>
                    <a:lnTo>
                      <a:pt x="30" y="918"/>
                    </a:lnTo>
                    <a:lnTo>
                      <a:pt x="24" y="906"/>
                    </a:lnTo>
                    <a:lnTo>
                      <a:pt x="18" y="906"/>
                    </a:lnTo>
                    <a:lnTo>
                      <a:pt x="30" y="882"/>
                    </a:lnTo>
                    <a:lnTo>
                      <a:pt x="42" y="882"/>
                    </a:lnTo>
                    <a:lnTo>
                      <a:pt x="42" y="876"/>
                    </a:lnTo>
                    <a:lnTo>
                      <a:pt x="54" y="876"/>
                    </a:lnTo>
                    <a:lnTo>
                      <a:pt x="60" y="864"/>
                    </a:lnTo>
                    <a:lnTo>
                      <a:pt x="72" y="864"/>
                    </a:lnTo>
                    <a:lnTo>
                      <a:pt x="72" y="852"/>
                    </a:lnTo>
                    <a:lnTo>
                      <a:pt x="84" y="840"/>
                    </a:lnTo>
                    <a:lnTo>
                      <a:pt x="90" y="840"/>
                    </a:lnTo>
                    <a:lnTo>
                      <a:pt x="102" y="846"/>
                    </a:lnTo>
                    <a:lnTo>
                      <a:pt x="108" y="834"/>
                    </a:lnTo>
                    <a:lnTo>
                      <a:pt x="144" y="834"/>
                    </a:lnTo>
                    <a:lnTo>
                      <a:pt x="144" y="810"/>
                    </a:lnTo>
                    <a:lnTo>
                      <a:pt x="180" y="798"/>
                    </a:lnTo>
                    <a:lnTo>
                      <a:pt x="168" y="774"/>
                    </a:lnTo>
                    <a:lnTo>
                      <a:pt x="168" y="768"/>
                    </a:lnTo>
                    <a:lnTo>
                      <a:pt x="162" y="774"/>
                    </a:lnTo>
                    <a:lnTo>
                      <a:pt x="156" y="768"/>
                    </a:lnTo>
                    <a:lnTo>
                      <a:pt x="150" y="768"/>
                    </a:lnTo>
                    <a:lnTo>
                      <a:pt x="144" y="768"/>
                    </a:lnTo>
                    <a:lnTo>
                      <a:pt x="126" y="780"/>
                    </a:lnTo>
                    <a:lnTo>
                      <a:pt x="114" y="774"/>
                    </a:lnTo>
                    <a:lnTo>
                      <a:pt x="114" y="768"/>
                    </a:lnTo>
                    <a:lnTo>
                      <a:pt x="102" y="762"/>
                    </a:lnTo>
                    <a:lnTo>
                      <a:pt x="102" y="744"/>
                    </a:lnTo>
                    <a:lnTo>
                      <a:pt x="78" y="732"/>
                    </a:lnTo>
                    <a:lnTo>
                      <a:pt x="78" y="726"/>
                    </a:lnTo>
                    <a:lnTo>
                      <a:pt x="78" y="720"/>
                    </a:lnTo>
                    <a:lnTo>
                      <a:pt x="72" y="720"/>
                    </a:lnTo>
                    <a:lnTo>
                      <a:pt x="72" y="714"/>
                    </a:lnTo>
                    <a:lnTo>
                      <a:pt x="72" y="708"/>
                    </a:lnTo>
                    <a:lnTo>
                      <a:pt x="72" y="702"/>
                    </a:lnTo>
                    <a:lnTo>
                      <a:pt x="66" y="702"/>
                    </a:lnTo>
                    <a:lnTo>
                      <a:pt x="66" y="696"/>
                    </a:lnTo>
                    <a:lnTo>
                      <a:pt x="60" y="696"/>
                    </a:lnTo>
                    <a:lnTo>
                      <a:pt x="60" y="690"/>
                    </a:lnTo>
                    <a:lnTo>
                      <a:pt x="60" y="684"/>
                    </a:lnTo>
                    <a:lnTo>
                      <a:pt x="60" y="678"/>
                    </a:lnTo>
                    <a:lnTo>
                      <a:pt x="66" y="678"/>
                    </a:lnTo>
                    <a:lnTo>
                      <a:pt x="72" y="678"/>
                    </a:lnTo>
                    <a:lnTo>
                      <a:pt x="78" y="678"/>
                    </a:lnTo>
                    <a:lnTo>
                      <a:pt x="78" y="672"/>
                    </a:lnTo>
                    <a:lnTo>
                      <a:pt x="84" y="672"/>
                    </a:lnTo>
                    <a:lnTo>
                      <a:pt x="84" y="678"/>
                    </a:lnTo>
                    <a:lnTo>
                      <a:pt x="90" y="678"/>
                    </a:lnTo>
                    <a:lnTo>
                      <a:pt x="90" y="672"/>
                    </a:lnTo>
                    <a:lnTo>
                      <a:pt x="96" y="666"/>
                    </a:lnTo>
                    <a:lnTo>
                      <a:pt x="96" y="660"/>
                    </a:lnTo>
                    <a:lnTo>
                      <a:pt x="102" y="654"/>
                    </a:lnTo>
                    <a:lnTo>
                      <a:pt x="108" y="648"/>
                    </a:lnTo>
                    <a:lnTo>
                      <a:pt x="114" y="648"/>
                    </a:lnTo>
                    <a:lnTo>
                      <a:pt x="120" y="654"/>
                    </a:lnTo>
                    <a:lnTo>
                      <a:pt x="126" y="654"/>
                    </a:lnTo>
                    <a:lnTo>
                      <a:pt x="132" y="654"/>
                    </a:lnTo>
                    <a:lnTo>
                      <a:pt x="144" y="660"/>
                    </a:lnTo>
                    <a:lnTo>
                      <a:pt x="144" y="654"/>
                    </a:lnTo>
                    <a:lnTo>
                      <a:pt x="150" y="654"/>
                    </a:lnTo>
                    <a:lnTo>
                      <a:pt x="150" y="660"/>
                    </a:lnTo>
                    <a:lnTo>
                      <a:pt x="150" y="666"/>
                    </a:lnTo>
                    <a:lnTo>
                      <a:pt x="156" y="666"/>
                    </a:lnTo>
                    <a:lnTo>
                      <a:pt x="156" y="660"/>
                    </a:lnTo>
                    <a:lnTo>
                      <a:pt x="168" y="660"/>
                    </a:lnTo>
                    <a:lnTo>
                      <a:pt x="174" y="666"/>
                    </a:lnTo>
                    <a:lnTo>
                      <a:pt x="186" y="606"/>
                    </a:lnTo>
                    <a:lnTo>
                      <a:pt x="204" y="612"/>
                    </a:lnTo>
                    <a:lnTo>
                      <a:pt x="210" y="594"/>
                    </a:lnTo>
                    <a:lnTo>
                      <a:pt x="204" y="594"/>
                    </a:lnTo>
                    <a:lnTo>
                      <a:pt x="222" y="564"/>
                    </a:lnTo>
                    <a:lnTo>
                      <a:pt x="210" y="558"/>
                    </a:lnTo>
                    <a:lnTo>
                      <a:pt x="216" y="546"/>
                    </a:lnTo>
                    <a:lnTo>
                      <a:pt x="246" y="534"/>
                    </a:lnTo>
                    <a:lnTo>
                      <a:pt x="240" y="522"/>
                    </a:lnTo>
                    <a:lnTo>
                      <a:pt x="240" y="504"/>
                    </a:lnTo>
                    <a:lnTo>
                      <a:pt x="228" y="510"/>
                    </a:lnTo>
                    <a:lnTo>
                      <a:pt x="210" y="516"/>
                    </a:lnTo>
                    <a:lnTo>
                      <a:pt x="204" y="516"/>
                    </a:lnTo>
                    <a:lnTo>
                      <a:pt x="192" y="528"/>
                    </a:lnTo>
                    <a:lnTo>
                      <a:pt x="186" y="534"/>
                    </a:lnTo>
                    <a:lnTo>
                      <a:pt x="186" y="540"/>
                    </a:lnTo>
                    <a:lnTo>
                      <a:pt x="180" y="546"/>
                    </a:lnTo>
                    <a:lnTo>
                      <a:pt x="174" y="552"/>
                    </a:lnTo>
                    <a:lnTo>
                      <a:pt x="168" y="552"/>
                    </a:lnTo>
                    <a:lnTo>
                      <a:pt x="126" y="546"/>
                    </a:lnTo>
                    <a:lnTo>
                      <a:pt x="126" y="540"/>
                    </a:lnTo>
                    <a:lnTo>
                      <a:pt x="120" y="534"/>
                    </a:lnTo>
                    <a:lnTo>
                      <a:pt x="120" y="516"/>
                    </a:lnTo>
                    <a:lnTo>
                      <a:pt x="120" y="510"/>
                    </a:lnTo>
                    <a:lnTo>
                      <a:pt x="114" y="504"/>
                    </a:lnTo>
                    <a:lnTo>
                      <a:pt x="114" y="498"/>
                    </a:lnTo>
                    <a:lnTo>
                      <a:pt x="114" y="486"/>
                    </a:lnTo>
                    <a:lnTo>
                      <a:pt x="120" y="480"/>
                    </a:lnTo>
                    <a:lnTo>
                      <a:pt x="120" y="474"/>
                    </a:lnTo>
                    <a:lnTo>
                      <a:pt x="114" y="474"/>
                    </a:lnTo>
                    <a:lnTo>
                      <a:pt x="114" y="468"/>
                    </a:lnTo>
                    <a:lnTo>
                      <a:pt x="114" y="462"/>
                    </a:lnTo>
                    <a:lnTo>
                      <a:pt x="120" y="456"/>
                    </a:lnTo>
                    <a:lnTo>
                      <a:pt x="120" y="450"/>
                    </a:lnTo>
                    <a:lnTo>
                      <a:pt x="120" y="438"/>
                    </a:lnTo>
                    <a:lnTo>
                      <a:pt x="120" y="432"/>
                    </a:lnTo>
                    <a:lnTo>
                      <a:pt x="120" y="426"/>
                    </a:lnTo>
                    <a:lnTo>
                      <a:pt x="126" y="420"/>
                    </a:lnTo>
                    <a:lnTo>
                      <a:pt x="126" y="402"/>
                    </a:lnTo>
                    <a:lnTo>
                      <a:pt x="144" y="402"/>
                    </a:lnTo>
                    <a:lnTo>
                      <a:pt x="156" y="396"/>
                    </a:lnTo>
                    <a:lnTo>
                      <a:pt x="162" y="390"/>
                    </a:lnTo>
                    <a:lnTo>
                      <a:pt x="162" y="384"/>
                    </a:lnTo>
                    <a:lnTo>
                      <a:pt x="162" y="378"/>
                    </a:lnTo>
                    <a:lnTo>
                      <a:pt x="156" y="366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66"/>
                    </a:lnTo>
                    <a:lnTo>
                      <a:pt x="78" y="378"/>
                    </a:lnTo>
                    <a:lnTo>
                      <a:pt x="78" y="384"/>
                    </a:lnTo>
                    <a:lnTo>
                      <a:pt x="72" y="384"/>
                    </a:lnTo>
                    <a:lnTo>
                      <a:pt x="60" y="384"/>
                    </a:lnTo>
                    <a:lnTo>
                      <a:pt x="42" y="390"/>
                    </a:lnTo>
                    <a:lnTo>
                      <a:pt x="36" y="390"/>
                    </a:lnTo>
                    <a:lnTo>
                      <a:pt x="36" y="378"/>
                    </a:lnTo>
                    <a:lnTo>
                      <a:pt x="36" y="372"/>
                    </a:lnTo>
                    <a:lnTo>
                      <a:pt x="36" y="366"/>
                    </a:lnTo>
                    <a:lnTo>
                      <a:pt x="42" y="366"/>
                    </a:lnTo>
                    <a:lnTo>
                      <a:pt x="54" y="360"/>
                    </a:lnTo>
                    <a:lnTo>
                      <a:pt x="66" y="360"/>
                    </a:lnTo>
                    <a:lnTo>
                      <a:pt x="66" y="348"/>
                    </a:lnTo>
                    <a:lnTo>
                      <a:pt x="72" y="348"/>
                    </a:lnTo>
                    <a:lnTo>
                      <a:pt x="84" y="348"/>
                    </a:lnTo>
                    <a:lnTo>
                      <a:pt x="108" y="342"/>
                    </a:lnTo>
                    <a:lnTo>
                      <a:pt x="114" y="342"/>
                    </a:lnTo>
                    <a:lnTo>
                      <a:pt x="114" y="324"/>
                    </a:lnTo>
                    <a:lnTo>
                      <a:pt x="108" y="324"/>
                    </a:lnTo>
                    <a:lnTo>
                      <a:pt x="108" y="318"/>
                    </a:lnTo>
                    <a:lnTo>
                      <a:pt x="114" y="312"/>
                    </a:lnTo>
                    <a:lnTo>
                      <a:pt x="120" y="312"/>
                    </a:lnTo>
                    <a:lnTo>
                      <a:pt x="126" y="306"/>
                    </a:lnTo>
                    <a:lnTo>
                      <a:pt x="132" y="306"/>
                    </a:lnTo>
                    <a:lnTo>
                      <a:pt x="138" y="306"/>
                    </a:lnTo>
                    <a:lnTo>
                      <a:pt x="144" y="300"/>
                    </a:lnTo>
                    <a:lnTo>
                      <a:pt x="150" y="294"/>
                    </a:lnTo>
                    <a:lnTo>
                      <a:pt x="156" y="294"/>
                    </a:lnTo>
                    <a:lnTo>
                      <a:pt x="168" y="294"/>
                    </a:lnTo>
                    <a:lnTo>
                      <a:pt x="174" y="294"/>
                    </a:lnTo>
                    <a:lnTo>
                      <a:pt x="180" y="294"/>
                    </a:lnTo>
                    <a:lnTo>
                      <a:pt x="186" y="294"/>
                    </a:lnTo>
                    <a:lnTo>
                      <a:pt x="192" y="294"/>
                    </a:lnTo>
                    <a:lnTo>
                      <a:pt x="198" y="294"/>
                    </a:lnTo>
                    <a:lnTo>
                      <a:pt x="204" y="294"/>
                    </a:lnTo>
                    <a:lnTo>
                      <a:pt x="210" y="294"/>
                    </a:lnTo>
                    <a:lnTo>
                      <a:pt x="216" y="300"/>
                    </a:lnTo>
                    <a:lnTo>
                      <a:pt x="210" y="270"/>
                    </a:lnTo>
                    <a:lnTo>
                      <a:pt x="222" y="276"/>
                    </a:lnTo>
                    <a:lnTo>
                      <a:pt x="234" y="276"/>
                    </a:lnTo>
                    <a:lnTo>
                      <a:pt x="240" y="276"/>
                    </a:lnTo>
                    <a:lnTo>
                      <a:pt x="246" y="282"/>
                    </a:lnTo>
                    <a:lnTo>
                      <a:pt x="258" y="312"/>
                    </a:lnTo>
                    <a:lnTo>
                      <a:pt x="276" y="306"/>
                    </a:lnTo>
                    <a:lnTo>
                      <a:pt x="294" y="300"/>
                    </a:lnTo>
                    <a:lnTo>
                      <a:pt x="288" y="288"/>
                    </a:lnTo>
                    <a:lnTo>
                      <a:pt x="294" y="288"/>
                    </a:lnTo>
                    <a:lnTo>
                      <a:pt x="294" y="282"/>
                    </a:lnTo>
                    <a:lnTo>
                      <a:pt x="294" y="276"/>
                    </a:lnTo>
                    <a:lnTo>
                      <a:pt x="300" y="270"/>
                    </a:lnTo>
                    <a:lnTo>
                      <a:pt x="294" y="264"/>
                    </a:lnTo>
                    <a:lnTo>
                      <a:pt x="312" y="258"/>
                    </a:lnTo>
                    <a:lnTo>
                      <a:pt x="324" y="264"/>
                    </a:lnTo>
                    <a:lnTo>
                      <a:pt x="348" y="264"/>
                    </a:lnTo>
                    <a:lnTo>
                      <a:pt x="348" y="276"/>
                    </a:lnTo>
                    <a:lnTo>
                      <a:pt x="348" y="282"/>
                    </a:lnTo>
                    <a:lnTo>
                      <a:pt x="348" y="288"/>
                    </a:lnTo>
                    <a:lnTo>
                      <a:pt x="354" y="294"/>
                    </a:lnTo>
                    <a:lnTo>
                      <a:pt x="354" y="300"/>
                    </a:lnTo>
                    <a:lnTo>
                      <a:pt x="354" y="306"/>
                    </a:lnTo>
                    <a:lnTo>
                      <a:pt x="354" y="312"/>
                    </a:lnTo>
                    <a:lnTo>
                      <a:pt x="348" y="312"/>
                    </a:lnTo>
                    <a:lnTo>
                      <a:pt x="348" y="318"/>
                    </a:lnTo>
                    <a:lnTo>
                      <a:pt x="342" y="318"/>
                    </a:lnTo>
                    <a:lnTo>
                      <a:pt x="342" y="324"/>
                    </a:lnTo>
                    <a:lnTo>
                      <a:pt x="348" y="324"/>
                    </a:lnTo>
                    <a:lnTo>
                      <a:pt x="354" y="318"/>
                    </a:lnTo>
                    <a:lnTo>
                      <a:pt x="360" y="318"/>
                    </a:lnTo>
                    <a:lnTo>
                      <a:pt x="366" y="318"/>
                    </a:lnTo>
                    <a:lnTo>
                      <a:pt x="366" y="324"/>
                    </a:lnTo>
                    <a:lnTo>
                      <a:pt x="366" y="330"/>
                    </a:lnTo>
                    <a:lnTo>
                      <a:pt x="378" y="336"/>
                    </a:lnTo>
                    <a:lnTo>
                      <a:pt x="378" y="342"/>
                    </a:lnTo>
                    <a:lnTo>
                      <a:pt x="378" y="348"/>
                    </a:lnTo>
                    <a:lnTo>
                      <a:pt x="384" y="354"/>
                    </a:lnTo>
                    <a:lnTo>
                      <a:pt x="384" y="360"/>
                    </a:lnTo>
                    <a:lnTo>
                      <a:pt x="390" y="354"/>
                    </a:lnTo>
                    <a:lnTo>
                      <a:pt x="396" y="360"/>
                    </a:lnTo>
                    <a:lnTo>
                      <a:pt x="402" y="372"/>
                    </a:lnTo>
                    <a:lnTo>
                      <a:pt x="408" y="378"/>
                    </a:lnTo>
                    <a:lnTo>
                      <a:pt x="408" y="384"/>
                    </a:lnTo>
                    <a:lnTo>
                      <a:pt x="432" y="390"/>
                    </a:lnTo>
                    <a:lnTo>
                      <a:pt x="456" y="396"/>
                    </a:lnTo>
                    <a:lnTo>
                      <a:pt x="462" y="396"/>
                    </a:lnTo>
                    <a:lnTo>
                      <a:pt x="474" y="384"/>
                    </a:lnTo>
                    <a:lnTo>
                      <a:pt x="474" y="378"/>
                    </a:lnTo>
                    <a:lnTo>
                      <a:pt x="486" y="372"/>
                    </a:lnTo>
                    <a:lnTo>
                      <a:pt x="486" y="366"/>
                    </a:lnTo>
                    <a:lnTo>
                      <a:pt x="480" y="354"/>
                    </a:lnTo>
                    <a:lnTo>
                      <a:pt x="474" y="348"/>
                    </a:lnTo>
                    <a:lnTo>
                      <a:pt x="468" y="348"/>
                    </a:lnTo>
                    <a:lnTo>
                      <a:pt x="468" y="336"/>
                    </a:lnTo>
                    <a:lnTo>
                      <a:pt x="492" y="336"/>
                    </a:lnTo>
                    <a:lnTo>
                      <a:pt x="492" y="330"/>
                    </a:lnTo>
                    <a:lnTo>
                      <a:pt x="492" y="324"/>
                    </a:lnTo>
                    <a:lnTo>
                      <a:pt x="504" y="312"/>
                    </a:lnTo>
                    <a:lnTo>
                      <a:pt x="516" y="306"/>
                    </a:lnTo>
                    <a:lnTo>
                      <a:pt x="522" y="300"/>
                    </a:lnTo>
                    <a:lnTo>
                      <a:pt x="570" y="264"/>
                    </a:lnTo>
                    <a:lnTo>
                      <a:pt x="588" y="264"/>
                    </a:lnTo>
                    <a:lnTo>
                      <a:pt x="588" y="252"/>
                    </a:lnTo>
                    <a:lnTo>
                      <a:pt x="594" y="240"/>
                    </a:lnTo>
                    <a:lnTo>
                      <a:pt x="576" y="228"/>
                    </a:lnTo>
                    <a:lnTo>
                      <a:pt x="582" y="216"/>
                    </a:lnTo>
                    <a:lnTo>
                      <a:pt x="576" y="192"/>
                    </a:lnTo>
                    <a:lnTo>
                      <a:pt x="600" y="192"/>
                    </a:lnTo>
                    <a:lnTo>
                      <a:pt x="606" y="192"/>
                    </a:lnTo>
                    <a:lnTo>
                      <a:pt x="612" y="198"/>
                    </a:lnTo>
                    <a:lnTo>
                      <a:pt x="618" y="204"/>
                    </a:lnTo>
                    <a:lnTo>
                      <a:pt x="618" y="180"/>
                    </a:lnTo>
                    <a:lnTo>
                      <a:pt x="636" y="192"/>
                    </a:lnTo>
                    <a:lnTo>
                      <a:pt x="654" y="192"/>
                    </a:lnTo>
                    <a:lnTo>
                      <a:pt x="660" y="180"/>
                    </a:lnTo>
                    <a:lnTo>
                      <a:pt x="672" y="186"/>
                    </a:lnTo>
                    <a:lnTo>
                      <a:pt x="708" y="198"/>
                    </a:lnTo>
                    <a:lnTo>
                      <a:pt x="720" y="216"/>
                    </a:lnTo>
                    <a:lnTo>
                      <a:pt x="732" y="198"/>
                    </a:lnTo>
                    <a:lnTo>
                      <a:pt x="738" y="198"/>
                    </a:lnTo>
                    <a:lnTo>
                      <a:pt x="738" y="192"/>
                    </a:lnTo>
                    <a:lnTo>
                      <a:pt x="738" y="186"/>
                    </a:lnTo>
                    <a:lnTo>
                      <a:pt x="738" y="174"/>
                    </a:lnTo>
                    <a:lnTo>
                      <a:pt x="744" y="174"/>
                    </a:lnTo>
                    <a:lnTo>
                      <a:pt x="750" y="180"/>
                    </a:lnTo>
                    <a:lnTo>
                      <a:pt x="774" y="174"/>
                    </a:lnTo>
                    <a:lnTo>
                      <a:pt x="774" y="162"/>
                    </a:lnTo>
                    <a:lnTo>
                      <a:pt x="786" y="162"/>
                    </a:lnTo>
                    <a:lnTo>
                      <a:pt x="792" y="162"/>
                    </a:lnTo>
                    <a:lnTo>
                      <a:pt x="804" y="168"/>
                    </a:lnTo>
                    <a:lnTo>
                      <a:pt x="810" y="174"/>
                    </a:lnTo>
                    <a:lnTo>
                      <a:pt x="816" y="180"/>
                    </a:lnTo>
                    <a:lnTo>
                      <a:pt x="816" y="186"/>
                    </a:lnTo>
                    <a:lnTo>
                      <a:pt x="810" y="192"/>
                    </a:lnTo>
                    <a:lnTo>
                      <a:pt x="804" y="198"/>
                    </a:lnTo>
                    <a:lnTo>
                      <a:pt x="810" y="210"/>
                    </a:lnTo>
                    <a:lnTo>
                      <a:pt x="816" y="210"/>
                    </a:lnTo>
                    <a:lnTo>
                      <a:pt x="828" y="210"/>
                    </a:lnTo>
                    <a:lnTo>
                      <a:pt x="828" y="222"/>
                    </a:lnTo>
                    <a:lnTo>
                      <a:pt x="828" y="228"/>
                    </a:lnTo>
                    <a:lnTo>
                      <a:pt x="828" y="234"/>
                    </a:lnTo>
                    <a:lnTo>
                      <a:pt x="822" y="240"/>
                    </a:lnTo>
                    <a:lnTo>
                      <a:pt x="828" y="246"/>
                    </a:lnTo>
                    <a:lnTo>
                      <a:pt x="828" y="252"/>
                    </a:lnTo>
                    <a:lnTo>
                      <a:pt x="828" y="258"/>
                    </a:lnTo>
                    <a:lnTo>
                      <a:pt x="828" y="270"/>
                    </a:lnTo>
                    <a:lnTo>
                      <a:pt x="828" y="276"/>
                    </a:lnTo>
                    <a:lnTo>
                      <a:pt x="840" y="276"/>
                    </a:lnTo>
                    <a:lnTo>
                      <a:pt x="846" y="282"/>
                    </a:lnTo>
                    <a:lnTo>
                      <a:pt x="852" y="288"/>
                    </a:lnTo>
                    <a:lnTo>
                      <a:pt x="864" y="300"/>
                    </a:lnTo>
                    <a:lnTo>
                      <a:pt x="864" y="306"/>
                    </a:lnTo>
                    <a:lnTo>
                      <a:pt x="864" y="324"/>
                    </a:lnTo>
                    <a:lnTo>
                      <a:pt x="864" y="336"/>
                    </a:lnTo>
                    <a:lnTo>
                      <a:pt x="870" y="336"/>
                    </a:lnTo>
                    <a:lnTo>
                      <a:pt x="876" y="342"/>
                    </a:lnTo>
                    <a:lnTo>
                      <a:pt x="876" y="354"/>
                    </a:lnTo>
                    <a:lnTo>
                      <a:pt x="882" y="354"/>
                    </a:lnTo>
                    <a:lnTo>
                      <a:pt x="888" y="354"/>
                    </a:lnTo>
                    <a:lnTo>
                      <a:pt x="894" y="354"/>
                    </a:lnTo>
                    <a:lnTo>
                      <a:pt x="900" y="354"/>
                    </a:lnTo>
                    <a:lnTo>
                      <a:pt x="906" y="354"/>
                    </a:lnTo>
                    <a:lnTo>
                      <a:pt x="912" y="354"/>
                    </a:lnTo>
                    <a:lnTo>
                      <a:pt x="918" y="354"/>
                    </a:lnTo>
                    <a:lnTo>
                      <a:pt x="924" y="354"/>
                    </a:lnTo>
                    <a:lnTo>
                      <a:pt x="930" y="348"/>
                    </a:lnTo>
                    <a:lnTo>
                      <a:pt x="930" y="342"/>
                    </a:lnTo>
                    <a:lnTo>
                      <a:pt x="936" y="342"/>
                    </a:lnTo>
                    <a:lnTo>
                      <a:pt x="942" y="342"/>
                    </a:lnTo>
                    <a:lnTo>
                      <a:pt x="948" y="342"/>
                    </a:lnTo>
                    <a:lnTo>
                      <a:pt x="954" y="342"/>
                    </a:lnTo>
                    <a:lnTo>
                      <a:pt x="960" y="342"/>
                    </a:lnTo>
                    <a:lnTo>
                      <a:pt x="966" y="342"/>
                    </a:lnTo>
                    <a:lnTo>
                      <a:pt x="972" y="342"/>
                    </a:lnTo>
                    <a:lnTo>
                      <a:pt x="978" y="342"/>
                    </a:lnTo>
                    <a:lnTo>
                      <a:pt x="984" y="348"/>
                    </a:lnTo>
                    <a:lnTo>
                      <a:pt x="990" y="348"/>
                    </a:lnTo>
                    <a:lnTo>
                      <a:pt x="990" y="342"/>
                    </a:lnTo>
                    <a:lnTo>
                      <a:pt x="990" y="336"/>
                    </a:lnTo>
                    <a:lnTo>
                      <a:pt x="990" y="330"/>
                    </a:lnTo>
                    <a:lnTo>
                      <a:pt x="990" y="324"/>
                    </a:lnTo>
                    <a:lnTo>
                      <a:pt x="996" y="324"/>
                    </a:lnTo>
                    <a:lnTo>
                      <a:pt x="996" y="318"/>
                    </a:lnTo>
                    <a:lnTo>
                      <a:pt x="996" y="312"/>
                    </a:lnTo>
                    <a:lnTo>
                      <a:pt x="996" y="300"/>
                    </a:lnTo>
                    <a:lnTo>
                      <a:pt x="990" y="300"/>
                    </a:lnTo>
                    <a:lnTo>
                      <a:pt x="984" y="300"/>
                    </a:lnTo>
                    <a:lnTo>
                      <a:pt x="978" y="300"/>
                    </a:lnTo>
                    <a:lnTo>
                      <a:pt x="972" y="300"/>
                    </a:lnTo>
                    <a:lnTo>
                      <a:pt x="972" y="294"/>
                    </a:lnTo>
                    <a:lnTo>
                      <a:pt x="960" y="294"/>
                    </a:lnTo>
                    <a:lnTo>
                      <a:pt x="960" y="264"/>
                    </a:lnTo>
                    <a:lnTo>
                      <a:pt x="954" y="264"/>
                    </a:lnTo>
                    <a:lnTo>
                      <a:pt x="954" y="258"/>
                    </a:lnTo>
                    <a:lnTo>
                      <a:pt x="954" y="252"/>
                    </a:lnTo>
                    <a:lnTo>
                      <a:pt x="996" y="252"/>
                    </a:lnTo>
                    <a:lnTo>
                      <a:pt x="1014" y="246"/>
                    </a:lnTo>
                    <a:lnTo>
                      <a:pt x="1014" y="234"/>
                    </a:lnTo>
                    <a:lnTo>
                      <a:pt x="1020" y="234"/>
                    </a:lnTo>
                    <a:lnTo>
                      <a:pt x="1026" y="234"/>
                    </a:lnTo>
                    <a:lnTo>
                      <a:pt x="1026" y="240"/>
                    </a:lnTo>
                    <a:lnTo>
                      <a:pt x="1026" y="234"/>
                    </a:lnTo>
                    <a:lnTo>
                      <a:pt x="1038" y="234"/>
                    </a:lnTo>
                    <a:lnTo>
                      <a:pt x="1038" y="216"/>
                    </a:lnTo>
                    <a:lnTo>
                      <a:pt x="1032" y="216"/>
                    </a:lnTo>
                    <a:lnTo>
                      <a:pt x="1026" y="210"/>
                    </a:lnTo>
                    <a:lnTo>
                      <a:pt x="1020" y="210"/>
                    </a:lnTo>
                    <a:lnTo>
                      <a:pt x="1014" y="204"/>
                    </a:lnTo>
                    <a:lnTo>
                      <a:pt x="1008" y="204"/>
                    </a:lnTo>
                    <a:lnTo>
                      <a:pt x="1002" y="198"/>
                    </a:lnTo>
                    <a:lnTo>
                      <a:pt x="996" y="192"/>
                    </a:lnTo>
                    <a:lnTo>
                      <a:pt x="990" y="186"/>
                    </a:lnTo>
                    <a:lnTo>
                      <a:pt x="990" y="180"/>
                    </a:lnTo>
                    <a:lnTo>
                      <a:pt x="996" y="174"/>
                    </a:lnTo>
                    <a:lnTo>
                      <a:pt x="1002" y="168"/>
                    </a:lnTo>
                    <a:lnTo>
                      <a:pt x="990" y="168"/>
                    </a:lnTo>
                    <a:lnTo>
                      <a:pt x="984" y="168"/>
                    </a:lnTo>
                    <a:lnTo>
                      <a:pt x="978" y="168"/>
                    </a:lnTo>
                    <a:lnTo>
                      <a:pt x="978" y="162"/>
                    </a:lnTo>
                    <a:lnTo>
                      <a:pt x="984" y="156"/>
                    </a:lnTo>
                    <a:lnTo>
                      <a:pt x="972" y="150"/>
                    </a:lnTo>
                    <a:lnTo>
                      <a:pt x="966" y="150"/>
                    </a:lnTo>
                    <a:lnTo>
                      <a:pt x="966" y="144"/>
                    </a:lnTo>
                    <a:lnTo>
                      <a:pt x="978" y="138"/>
                    </a:lnTo>
                    <a:lnTo>
                      <a:pt x="978" y="126"/>
                    </a:lnTo>
                    <a:lnTo>
                      <a:pt x="984" y="120"/>
                    </a:lnTo>
                    <a:lnTo>
                      <a:pt x="990" y="114"/>
                    </a:lnTo>
                    <a:lnTo>
                      <a:pt x="996" y="114"/>
                    </a:lnTo>
                    <a:lnTo>
                      <a:pt x="996" y="108"/>
                    </a:lnTo>
                    <a:lnTo>
                      <a:pt x="996" y="102"/>
                    </a:lnTo>
                    <a:lnTo>
                      <a:pt x="996" y="96"/>
                    </a:lnTo>
                    <a:lnTo>
                      <a:pt x="996" y="90"/>
                    </a:lnTo>
                    <a:lnTo>
                      <a:pt x="996" y="84"/>
                    </a:lnTo>
                    <a:lnTo>
                      <a:pt x="996" y="72"/>
                    </a:lnTo>
                    <a:lnTo>
                      <a:pt x="1002" y="66"/>
                    </a:lnTo>
                    <a:lnTo>
                      <a:pt x="1008" y="66"/>
                    </a:lnTo>
                    <a:lnTo>
                      <a:pt x="1008" y="60"/>
                    </a:lnTo>
                    <a:lnTo>
                      <a:pt x="1014" y="42"/>
                    </a:lnTo>
                    <a:lnTo>
                      <a:pt x="942" y="42"/>
                    </a:lnTo>
                    <a:lnTo>
                      <a:pt x="942" y="36"/>
                    </a:lnTo>
                    <a:lnTo>
                      <a:pt x="948" y="36"/>
                    </a:lnTo>
                    <a:lnTo>
                      <a:pt x="948" y="30"/>
                    </a:lnTo>
                    <a:lnTo>
                      <a:pt x="954" y="30"/>
                    </a:lnTo>
                    <a:lnTo>
                      <a:pt x="954" y="36"/>
                    </a:lnTo>
                    <a:lnTo>
                      <a:pt x="960" y="36"/>
                    </a:lnTo>
                    <a:lnTo>
                      <a:pt x="966" y="36"/>
                    </a:lnTo>
                    <a:lnTo>
                      <a:pt x="972" y="30"/>
                    </a:lnTo>
                    <a:lnTo>
                      <a:pt x="978" y="30"/>
                    </a:lnTo>
                    <a:lnTo>
                      <a:pt x="978" y="24"/>
                    </a:lnTo>
                    <a:lnTo>
                      <a:pt x="984" y="30"/>
                    </a:lnTo>
                    <a:lnTo>
                      <a:pt x="990" y="30"/>
                    </a:lnTo>
                    <a:lnTo>
                      <a:pt x="996" y="24"/>
                    </a:lnTo>
                    <a:lnTo>
                      <a:pt x="996" y="18"/>
                    </a:lnTo>
                    <a:lnTo>
                      <a:pt x="1002" y="18"/>
                    </a:lnTo>
                    <a:lnTo>
                      <a:pt x="1008" y="18"/>
                    </a:lnTo>
                    <a:lnTo>
                      <a:pt x="1014" y="24"/>
                    </a:lnTo>
                    <a:lnTo>
                      <a:pt x="1020" y="24"/>
                    </a:lnTo>
                    <a:lnTo>
                      <a:pt x="1026" y="30"/>
                    </a:lnTo>
                    <a:lnTo>
                      <a:pt x="1032" y="30"/>
                    </a:lnTo>
                    <a:lnTo>
                      <a:pt x="1032" y="24"/>
                    </a:lnTo>
                    <a:lnTo>
                      <a:pt x="1038" y="24"/>
                    </a:lnTo>
                    <a:lnTo>
                      <a:pt x="1044" y="24"/>
                    </a:lnTo>
                    <a:lnTo>
                      <a:pt x="1044" y="30"/>
                    </a:lnTo>
                    <a:lnTo>
                      <a:pt x="1050" y="30"/>
                    </a:lnTo>
                    <a:lnTo>
                      <a:pt x="1050" y="24"/>
                    </a:lnTo>
                    <a:lnTo>
                      <a:pt x="1056" y="24"/>
                    </a:lnTo>
                    <a:lnTo>
                      <a:pt x="1056" y="18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68" y="24"/>
                    </a:lnTo>
                    <a:lnTo>
                      <a:pt x="1068" y="30"/>
                    </a:lnTo>
                    <a:lnTo>
                      <a:pt x="1068" y="36"/>
                    </a:lnTo>
                    <a:lnTo>
                      <a:pt x="1074" y="36"/>
                    </a:lnTo>
                    <a:lnTo>
                      <a:pt x="1080" y="36"/>
                    </a:lnTo>
                    <a:lnTo>
                      <a:pt x="1086" y="30"/>
                    </a:lnTo>
                    <a:lnTo>
                      <a:pt x="1092" y="24"/>
                    </a:lnTo>
                    <a:lnTo>
                      <a:pt x="1092" y="18"/>
                    </a:lnTo>
                    <a:lnTo>
                      <a:pt x="1092" y="12"/>
                    </a:lnTo>
                    <a:lnTo>
                      <a:pt x="1098" y="12"/>
                    </a:lnTo>
                    <a:lnTo>
                      <a:pt x="1104" y="6"/>
                    </a:lnTo>
                    <a:lnTo>
                      <a:pt x="1110" y="6"/>
                    </a:lnTo>
                    <a:lnTo>
                      <a:pt x="1116" y="6"/>
                    </a:lnTo>
                    <a:lnTo>
                      <a:pt x="1122" y="6"/>
                    </a:lnTo>
                    <a:lnTo>
                      <a:pt x="1128" y="6"/>
                    </a:lnTo>
                    <a:lnTo>
                      <a:pt x="1134" y="6"/>
                    </a:lnTo>
                    <a:lnTo>
                      <a:pt x="1134" y="0"/>
                    </a:lnTo>
                    <a:lnTo>
                      <a:pt x="1134" y="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01" name="Freeform 11"/>
              <p:cNvSpPr>
                <a:spLocks noChangeAspect="1"/>
              </p:cNvSpPr>
              <p:nvPr/>
            </p:nvSpPr>
            <p:spPr bwMode="auto">
              <a:xfrm>
                <a:off x="3316917" y="5484127"/>
                <a:ext cx="194110" cy="122764"/>
              </a:xfrm>
              <a:custGeom>
                <a:avLst/>
                <a:gdLst>
                  <a:gd name="T0" fmla="*/ 2147483647 w 1698"/>
                  <a:gd name="T1" fmla="*/ 2147483647 h 1074"/>
                  <a:gd name="T2" fmla="*/ 2147483647 w 1698"/>
                  <a:gd name="T3" fmla="*/ 2147483647 h 1074"/>
                  <a:gd name="T4" fmla="*/ 2147483647 w 1698"/>
                  <a:gd name="T5" fmla="*/ 2147483647 h 1074"/>
                  <a:gd name="T6" fmla="*/ 2147483647 w 1698"/>
                  <a:gd name="T7" fmla="*/ 2147483647 h 1074"/>
                  <a:gd name="T8" fmla="*/ 2147483647 w 1698"/>
                  <a:gd name="T9" fmla="*/ 2147483647 h 1074"/>
                  <a:gd name="T10" fmla="*/ 2147483647 w 1698"/>
                  <a:gd name="T11" fmla="*/ 2147483647 h 1074"/>
                  <a:gd name="T12" fmla="*/ 2147483647 w 1698"/>
                  <a:gd name="T13" fmla="*/ 2147483647 h 1074"/>
                  <a:gd name="T14" fmla="*/ 2147483647 w 1698"/>
                  <a:gd name="T15" fmla="*/ 2147483647 h 1074"/>
                  <a:gd name="T16" fmla="*/ 2147483647 w 1698"/>
                  <a:gd name="T17" fmla="*/ 2147483647 h 1074"/>
                  <a:gd name="T18" fmla="*/ 2147483647 w 1698"/>
                  <a:gd name="T19" fmla="*/ 2147483647 h 1074"/>
                  <a:gd name="T20" fmla="*/ 2147483647 w 1698"/>
                  <a:gd name="T21" fmla="*/ 2147483647 h 1074"/>
                  <a:gd name="T22" fmla="*/ 2147483647 w 1698"/>
                  <a:gd name="T23" fmla="*/ 2147483647 h 1074"/>
                  <a:gd name="T24" fmla="*/ 2147483647 w 1698"/>
                  <a:gd name="T25" fmla="*/ 2147483647 h 1074"/>
                  <a:gd name="T26" fmla="*/ 2147483647 w 1698"/>
                  <a:gd name="T27" fmla="*/ 2147483647 h 1074"/>
                  <a:gd name="T28" fmla="*/ 2147483647 w 1698"/>
                  <a:gd name="T29" fmla="*/ 2147483647 h 1074"/>
                  <a:gd name="T30" fmla="*/ 2147483647 w 1698"/>
                  <a:gd name="T31" fmla="*/ 2147483647 h 1074"/>
                  <a:gd name="T32" fmla="*/ 2147483647 w 1698"/>
                  <a:gd name="T33" fmla="*/ 2147483647 h 1074"/>
                  <a:gd name="T34" fmla="*/ 2147483647 w 1698"/>
                  <a:gd name="T35" fmla="*/ 2147483647 h 1074"/>
                  <a:gd name="T36" fmla="*/ 2147483647 w 1698"/>
                  <a:gd name="T37" fmla="*/ 2147483647 h 1074"/>
                  <a:gd name="T38" fmla="*/ 2147483647 w 1698"/>
                  <a:gd name="T39" fmla="*/ 2147483647 h 1074"/>
                  <a:gd name="T40" fmla="*/ 2147483647 w 1698"/>
                  <a:gd name="T41" fmla="*/ 2147483647 h 1074"/>
                  <a:gd name="T42" fmla="*/ 2147483647 w 1698"/>
                  <a:gd name="T43" fmla="*/ 2147483647 h 1074"/>
                  <a:gd name="T44" fmla="*/ 2147483647 w 1698"/>
                  <a:gd name="T45" fmla="*/ 2147483647 h 1074"/>
                  <a:gd name="T46" fmla="*/ 2147483647 w 1698"/>
                  <a:gd name="T47" fmla="*/ 2147483647 h 1074"/>
                  <a:gd name="T48" fmla="*/ 2147483647 w 1698"/>
                  <a:gd name="T49" fmla="*/ 2147483647 h 1074"/>
                  <a:gd name="T50" fmla="*/ 2147483647 w 1698"/>
                  <a:gd name="T51" fmla="*/ 2147483647 h 1074"/>
                  <a:gd name="T52" fmla="*/ 2147483647 w 1698"/>
                  <a:gd name="T53" fmla="*/ 2147483647 h 1074"/>
                  <a:gd name="T54" fmla="*/ 2147483647 w 1698"/>
                  <a:gd name="T55" fmla="*/ 2147483647 h 1074"/>
                  <a:gd name="T56" fmla="*/ 2147483647 w 1698"/>
                  <a:gd name="T57" fmla="*/ 2147483647 h 1074"/>
                  <a:gd name="T58" fmla="*/ 2147483647 w 1698"/>
                  <a:gd name="T59" fmla="*/ 2147483647 h 1074"/>
                  <a:gd name="T60" fmla="*/ 2147483647 w 1698"/>
                  <a:gd name="T61" fmla="*/ 2147483647 h 1074"/>
                  <a:gd name="T62" fmla="*/ 2147483647 w 1698"/>
                  <a:gd name="T63" fmla="*/ 2147483647 h 1074"/>
                  <a:gd name="T64" fmla="*/ 2147483647 w 1698"/>
                  <a:gd name="T65" fmla="*/ 2147483647 h 1074"/>
                  <a:gd name="T66" fmla="*/ 2147483647 w 1698"/>
                  <a:gd name="T67" fmla="*/ 2147483647 h 1074"/>
                  <a:gd name="T68" fmla="*/ 2147483647 w 1698"/>
                  <a:gd name="T69" fmla="*/ 2147483647 h 1074"/>
                  <a:gd name="T70" fmla="*/ 2147483647 w 1698"/>
                  <a:gd name="T71" fmla="*/ 2147483647 h 1074"/>
                  <a:gd name="T72" fmla="*/ 2147483647 w 1698"/>
                  <a:gd name="T73" fmla="*/ 2147483647 h 1074"/>
                  <a:gd name="T74" fmla="*/ 2147483647 w 1698"/>
                  <a:gd name="T75" fmla="*/ 2147483647 h 1074"/>
                  <a:gd name="T76" fmla="*/ 2147483647 w 1698"/>
                  <a:gd name="T77" fmla="*/ 2147483647 h 1074"/>
                  <a:gd name="T78" fmla="*/ 2147483647 w 1698"/>
                  <a:gd name="T79" fmla="*/ 2147483647 h 1074"/>
                  <a:gd name="T80" fmla="*/ 2147483647 w 1698"/>
                  <a:gd name="T81" fmla="*/ 2147483647 h 1074"/>
                  <a:gd name="T82" fmla="*/ 2147483647 w 1698"/>
                  <a:gd name="T83" fmla="*/ 2147483647 h 1074"/>
                  <a:gd name="T84" fmla="*/ 2147483647 w 1698"/>
                  <a:gd name="T85" fmla="*/ 2147483647 h 1074"/>
                  <a:gd name="T86" fmla="*/ 2147483647 w 1698"/>
                  <a:gd name="T87" fmla="*/ 2147483647 h 1074"/>
                  <a:gd name="T88" fmla="*/ 2147483647 w 1698"/>
                  <a:gd name="T89" fmla="*/ 2147483647 h 1074"/>
                  <a:gd name="T90" fmla="*/ 2147483647 w 1698"/>
                  <a:gd name="T91" fmla="*/ 2147483647 h 1074"/>
                  <a:gd name="T92" fmla="*/ 2147483647 w 1698"/>
                  <a:gd name="T93" fmla="*/ 2147483647 h 1074"/>
                  <a:gd name="T94" fmla="*/ 2147483647 w 1698"/>
                  <a:gd name="T95" fmla="*/ 2147483647 h 1074"/>
                  <a:gd name="T96" fmla="*/ 2147483647 w 1698"/>
                  <a:gd name="T97" fmla="*/ 2147483647 h 1074"/>
                  <a:gd name="T98" fmla="*/ 2147483647 w 1698"/>
                  <a:gd name="T99" fmla="*/ 2147483647 h 1074"/>
                  <a:gd name="T100" fmla="*/ 2147483647 w 1698"/>
                  <a:gd name="T101" fmla="*/ 2147483647 h 1074"/>
                  <a:gd name="T102" fmla="*/ 2147483647 w 1698"/>
                  <a:gd name="T103" fmla="*/ 2147483647 h 1074"/>
                  <a:gd name="T104" fmla="*/ 2147483647 w 1698"/>
                  <a:gd name="T105" fmla="*/ 2147483647 h 1074"/>
                  <a:gd name="T106" fmla="*/ 2147483647 w 1698"/>
                  <a:gd name="T107" fmla="*/ 2147483647 h 1074"/>
                  <a:gd name="T108" fmla="*/ 2147483647 w 1698"/>
                  <a:gd name="T109" fmla="*/ 2147483647 h 1074"/>
                  <a:gd name="T110" fmla="*/ 2147483647 w 1698"/>
                  <a:gd name="T111" fmla="*/ 2147483647 h 1074"/>
                  <a:gd name="T112" fmla="*/ 2147483647 w 1698"/>
                  <a:gd name="T113" fmla="*/ 2147483647 h 1074"/>
                  <a:gd name="T114" fmla="*/ 2147483647 w 1698"/>
                  <a:gd name="T115" fmla="*/ 2147483647 h 1074"/>
                  <a:gd name="T116" fmla="*/ 2147483647 w 1698"/>
                  <a:gd name="T117" fmla="*/ 2147483647 h 1074"/>
                  <a:gd name="T118" fmla="*/ 2147483647 w 1698"/>
                  <a:gd name="T119" fmla="*/ 2147483647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698" h="1074">
                    <a:moveTo>
                      <a:pt x="1038" y="0"/>
                    </a:moveTo>
                    <a:lnTo>
                      <a:pt x="1038" y="6"/>
                    </a:lnTo>
                    <a:lnTo>
                      <a:pt x="1044" y="6"/>
                    </a:lnTo>
                    <a:lnTo>
                      <a:pt x="1050" y="6"/>
                    </a:lnTo>
                    <a:lnTo>
                      <a:pt x="1056" y="6"/>
                    </a:lnTo>
                    <a:lnTo>
                      <a:pt x="1062" y="6"/>
                    </a:lnTo>
                    <a:lnTo>
                      <a:pt x="1068" y="6"/>
                    </a:lnTo>
                    <a:lnTo>
                      <a:pt x="1080" y="12"/>
                    </a:lnTo>
                    <a:lnTo>
                      <a:pt x="1086" y="18"/>
                    </a:lnTo>
                    <a:lnTo>
                      <a:pt x="1092" y="18"/>
                    </a:lnTo>
                    <a:lnTo>
                      <a:pt x="1098" y="18"/>
                    </a:lnTo>
                    <a:lnTo>
                      <a:pt x="1098" y="24"/>
                    </a:lnTo>
                    <a:lnTo>
                      <a:pt x="1104" y="24"/>
                    </a:lnTo>
                    <a:lnTo>
                      <a:pt x="1110" y="24"/>
                    </a:lnTo>
                    <a:lnTo>
                      <a:pt x="1116" y="24"/>
                    </a:lnTo>
                    <a:lnTo>
                      <a:pt x="1122" y="30"/>
                    </a:lnTo>
                    <a:lnTo>
                      <a:pt x="1128" y="36"/>
                    </a:lnTo>
                    <a:lnTo>
                      <a:pt x="1134" y="36"/>
                    </a:lnTo>
                    <a:lnTo>
                      <a:pt x="1140" y="36"/>
                    </a:lnTo>
                    <a:lnTo>
                      <a:pt x="1146" y="42"/>
                    </a:lnTo>
                    <a:lnTo>
                      <a:pt x="1146" y="48"/>
                    </a:lnTo>
                    <a:lnTo>
                      <a:pt x="1152" y="48"/>
                    </a:lnTo>
                    <a:lnTo>
                      <a:pt x="1158" y="48"/>
                    </a:lnTo>
                    <a:lnTo>
                      <a:pt x="1158" y="54"/>
                    </a:lnTo>
                    <a:lnTo>
                      <a:pt x="1164" y="54"/>
                    </a:lnTo>
                    <a:lnTo>
                      <a:pt x="1170" y="60"/>
                    </a:lnTo>
                    <a:lnTo>
                      <a:pt x="1176" y="66"/>
                    </a:lnTo>
                    <a:lnTo>
                      <a:pt x="1182" y="66"/>
                    </a:lnTo>
                    <a:lnTo>
                      <a:pt x="1188" y="66"/>
                    </a:lnTo>
                    <a:lnTo>
                      <a:pt x="1194" y="66"/>
                    </a:lnTo>
                    <a:lnTo>
                      <a:pt x="1200" y="66"/>
                    </a:lnTo>
                    <a:lnTo>
                      <a:pt x="1206" y="60"/>
                    </a:lnTo>
                    <a:lnTo>
                      <a:pt x="1206" y="66"/>
                    </a:lnTo>
                    <a:lnTo>
                      <a:pt x="1212" y="66"/>
                    </a:lnTo>
                    <a:lnTo>
                      <a:pt x="1218" y="72"/>
                    </a:lnTo>
                    <a:lnTo>
                      <a:pt x="1218" y="78"/>
                    </a:lnTo>
                    <a:lnTo>
                      <a:pt x="1224" y="84"/>
                    </a:lnTo>
                    <a:lnTo>
                      <a:pt x="1230" y="84"/>
                    </a:lnTo>
                    <a:lnTo>
                      <a:pt x="1236" y="84"/>
                    </a:lnTo>
                    <a:lnTo>
                      <a:pt x="1248" y="84"/>
                    </a:lnTo>
                    <a:lnTo>
                      <a:pt x="1254" y="84"/>
                    </a:lnTo>
                    <a:lnTo>
                      <a:pt x="1266" y="84"/>
                    </a:lnTo>
                    <a:lnTo>
                      <a:pt x="1272" y="78"/>
                    </a:lnTo>
                    <a:lnTo>
                      <a:pt x="1278" y="78"/>
                    </a:lnTo>
                    <a:lnTo>
                      <a:pt x="1284" y="78"/>
                    </a:lnTo>
                    <a:lnTo>
                      <a:pt x="1284" y="72"/>
                    </a:lnTo>
                    <a:lnTo>
                      <a:pt x="1290" y="72"/>
                    </a:lnTo>
                    <a:lnTo>
                      <a:pt x="1296" y="72"/>
                    </a:lnTo>
                    <a:lnTo>
                      <a:pt x="1296" y="78"/>
                    </a:lnTo>
                    <a:lnTo>
                      <a:pt x="1302" y="78"/>
                    </a:lnTo>
                    <a:lnTo>
                      <a:pt x="1308" y="78"/>
                    </a:lnTo>
                    <a:lnTo>
                      <a:pt x="1314" y="78"/>
                    </a:lnTo>
                    <a:lnTo>
                      <a:pt x="1320" y="78"/>
                    </a:lnTo>
                    <a:lnTo>
                      <a:pt x="1326" y="78"/>
                    </a:lnTo>
                    <a:lnTo>
                      <a:pt x="1332" y="78"/>
                    </a:lnTo>
                    <a:lnTo>
                      <a:pt x="1332" y="84"/>
                    </a:lnTo>
                    <a:lnTo>
                      <a:pt x="1338" y="84"/>
                    </a:lnTo>
                    <a:lnTo>
                      <a:pt x="1338" y="78"/>
                    </a:lnTo>
                    <a:lnTo>
                      <a:pt x="1344" y="78"/>
                    </a:lnTo>
                    <a:lnTo>
                      <a:pt x="1344" y="72"/>
                    </a:lnTo>
                    <a:lnTo>
                      <a:pt x="1350" y="72"/>
                    </a:lnTo>
                    <a:lnTo>
                      <a:pt x="1350" y="78"/>
                    </a:lnTo>
                    <a:lnTo>
                      <a:pt x="1356" y="78"/>
                    </a:lnTo>
                    <a:lnTo>
                      <a:pt x="1362" y="78"/>
                    </a:lnTo>
                    <a:lnTo>
                      <a:pt x="1368" y="72"/>
                    </a:lnTo>
                    <a:lnTo>
                      <a:pt x="1380" y="72"/>
                    </a:lnTo>
                    <a:lnTo>
                      <a:pt x="1386" y="72"/>
                    </a:lnTo>
                    <a:lnTo>
                      <a:pt x="1392" y="72"/>
                    </a:lnTo>
                    <a:lnTo>
                      <a:pt x="1398" y="72"/>
                    </a:lnTo>
                    <a:lnTo>
                      <a:pt x="1404" y="72"/>
                    </a:lnTo>
                    <a:lnTo>
                      <a:pt x="1410" y="72"/>
                    </a:lnTo>
                    <a:lnTo>
                      <a:pt x="1416" y="72"/>
                    </a:lnTo>
                    <a:lnTo>
                      <a:pt x="1422" y="72"/>
                    </a:lnTo>
                    <a:lnTo>
                      <a:pt x="1428" y="72"/>
                    </a:lnTo>
                    <a:lnTo>
                      <a:pt x="1428" y="78"/>
                    </a:lnTo>
                    <a:lnTo>
                      <a:pt x="1434" y="78"/>
                    </a:lnTo>
                    <a:lnTo>
                      <a:pt x="1440" y="78"/>
                    </a:lnTo>
                    <a:lnTo>
                      <a:pt x="1446" y="84"/>
                    </a:lnTo>
                    <a:lnTo>
                      <a:pt x="1452" y="84"/>
                    </a:lnTo>
                    <a:lnTo>
                      <a:pt x="1458" y="84"/>
                    </a:lnTo>
                    <a:lnTo>
                      <a:pt x="1464" y="90"/>
                    </a:lnTo>
                    <a:lnTo>
                      <a:pt x="1470" y="90"/>
                    </a:lnTo>
                    <a:lnTo>
                      <a:pt x="1476" y="90"/>
                    </a:lnTo>
                    <a:lnTo>
                      <a:pt x="1476" y="96"/>
                    </a:lnTo>
                    <a:lnTo>
                      <a:pt x="1488" y="90"/>
                    </a:lnTo>
                    <a:lnTo>
                      <a:pt x="1494" y="90"/>
                    </a:lnTo>
                    <a:lnTo>
                      <a:pt x="1500" y="90"/>
                    </a:lnTo>
                    <a:lnTo>
                      <a:pt x="1506" y="90"/>
                    </a:lnTo>
                    <a:lnTo>
                      <a:pt x="1512" y="96"/>
                    </a:lnTo>
                    <a:lnTo>
                      <a:pt x="1512" y="102"/>
                    </a:lnTo>
                    <a:lnTo>
                      <a:pt x="1518" y="102"/>
                    </a:lnTo>
                    <a:lnTo>
                      <a:pt x="1530" y="102"/>
                    </a:lnTo>
                    <a:lnTo>
                      <a:pt x="1536" y="102"/>
                    </a:lnTo>
                    <a:lnTo>
                      <a:pt x="1536" y="108"/>
                    </a:lnTo>
                    <a:lnTo>
                      <a:pt x="1542" y="114"/>
                    </a:lnTo>
                    <a:lnTo>
                      <a:pt x="1542" y="120"/>
                    </a:lnTo>
                    <a:lnTo>
                      <a:pt x="1548" y="120"/>
                    </a:lnTo>
                    <a:lnTo>
                      <a:pt x="1548" y="126"/>
                    </a:lnTo>
                    <a:lnTo>
                      <a:pt x="1548" y="132"/>
                    </a:lnTo>
                    <a:lnTo>
                      <a:pt x="1548" y="138"/>
                    </a:lnTo>
                    <a:lnTo>
                      <a:pt x="1548" y="144"/>
                    </a:lnTo>
                    <a:lnTo>
                      <a:pt x="1554" y="144"/>
                    </a:lnTo>
                    <a:lnTo>
                      <a:pt x="1554" y="150"/>
                    </a:lnTo>
                    <a:lnTo>
                      <a:pt x="1554" y="156"/>
                    </a:lnTo>
                    <a:lnTo>
                      <a:pt x="1554" y="162"/>
                    </a:lnTo>
                    <a:lnTo>
                      <a:pt x="1560" y="168"/>
                    </a:lnTo>
                    <a:lnTo>
                      <a:pt x="1560" y="174"/>
                    </a:lnTo>
                    <a:lnTo>
                      <a:pt x="1560" y="180"/>
                    </a:lnTo>
                    <a:lnTo>
                      <a:pt x="1560" y="186"/>
                    </a:lnTo>
                    <a:lnTo>
                      <a:pt x="1560" y="192"/>
                    </a:lnTo>
                    <a:lnTo>
                      <a:pt x="1566" y="192"/>
                    </a:lnTo>
                    <a:lnTo>
                      <a:pt x="1566" y="198"/>
                    </a:lnTo>
                    <a:lnTo>
                      <a:pt x="1566" y="204"/>
                    </a:lnTo>
                    <a:lnTo>
                      <a:pt x="1566" y="210"/>
                    </a:lnTo>
                    <a:lnTo>
                      <a:pt x="1572" y="216"/>
                    </a:lnTo>
                    <a:lnTo>
                      <a:pt x="1572" y="222"/>
                    </a:lnTo>
                    <a:lnTo>
                      <a:pt x="1572" y="228"/>
                    </a:lnTo>
                    <a:lnTo>
                      <a:pt x="1572" y="234"/>
                    </a:lnTo>
                    <a:lnTo>
                      <a:pt x="1578" y="234"/>
                    </a:lnTo>
                    <a:lnTo>
                      <a:pt x="1578" y="240"/>
                    </a:lnTo>
                    <a:lnTo>
                      <a:pt x="1578" y="246"/>
                    </a:lnTo>
                    <a:lnTo>
                      <a:pt x="1578" y="252"/>
                    </a:lnTo>
                    <a:lnTo>
                      <a:pt x="1578" y="258"/>
                    </a:lnTo>
                    <a:lnTo>
                      <a:pt x="1584" y="258"/>
                    </a:lnTo>
                    <a:lnTo>
                      <a:pt x="1584" y="264"/>
                    </a:lnTo>
                    <a:lnTo>
                      <a:pt x="1584" y="270"/>
                    </a:lnTo>
                    <a:lnTo>
                      <a:pt x="1584" y="276"/>
                    </a:lnTo>
                    <a:lnTo>
                      <a:pt x="1584" y="282"/>
                    </a:lnTo>
                    <a:lnTo>
                      <a:pt x="1590" y="282"/>
                    </a:lnTo>
                    <a:lnTo>
                      <a:pt x="1590" y="288"/>
                    </a:lnTo>
                    <a:lnTo>
                      <a:pt x="1590" y="294"/>
                    </a:lnTo>
                    <a:lnTo>
                      <a:pt x="1590" y="300"/>
                    </a:lnTo>
                    <a:lnTo>
                      <a:pt x="1590" y="306"/>
                    </a:lnTo>
                    <a:lnTo>
                      <a:pt x="1596" y="306"/>
                    </a:lnTo>
                    <a:lnTo>
                      <a:pt x="1596" y="312"/>
                    </a:lnTo>
                    <a:lnTo>
                      <a:pt x="1596" y="318"/>
                    </a:lnTo>
                    <a:lnTo>
                      <a:pt x="1596" y="324"/>
                    </a:lnTo>
                    <a:lnTo>
                      <a:pt x="1602" y="330"/>
                    </a:lnTo>
                    <a:lnTo>
                      <a:pt x="1602" y="336"/>
                    </a:lnTo>
                    <a:lnTo>
                      <a:pt x="1602" y="342"/>
                    </a:lnTo>
                    <a:lnTo>
                      <a:pt x="1602" y="348"/>
                    </a:lnTo>
                    <a:lnTo>
                      <a:pt x="1608" y="348"/>
                    </a:lnTo>
                    <a:lnTo>
                      <a:pt x="1608" y="354"/>
                    </a:lnTo>
                    <a:lnTo>
                      <a:pt x="1608" y="360"/>
                    </a:lnTo>
                    <a:lnTo>
                      <a:pt x="1608" y="366"/>
                    </a:lnTo>
                    <a:lnTo>
                      <a:pt x="1608" y="372"/>
                    </a:lnTo>
                    <a:lnTo>
                      <a:pt x="1614" y="372"/>
                    </a:lnTo>
                    <a:lnTo>
                      <a:pt x="1614" y="378"/>
                    </a:lnTo>
                    <a:lnTo>
                      <a:pt x="1614" y="384"/>
                    </a:lnTo>
                    <a:lnTo>
                      <a:pt x="1614" y="390"/>
                    </a:lnTo>
                    <a:lnTo>
                      <a:pt x="1614" y="396"/>
                    </a:lnTo>
                    <a:lnTo>
                      <a:pt x="1614" y="402"/>
                    </a:lnTo>
                    <a:lnTo>
                      <a:pt x="1614" y="408"/>
                    </a:lnTo>
                    <a:lnTo>
                      <a:pt x="1614" y="414"/>
                    </a:lnTo>
                    <a:lnTo>
                      <a:pt x="1608" y="414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608" y="432"/>
                    </a:lnTo>
                    <a:lnTo>
                      <a:pt x="1608" y="438"/>
                    </a:lnTo>
                    <a:lnTo>
                      <a:pt x="1608" y="444"/>
                    </a:lnTo>
                    <a:lnTo>
                      <a:pt x="1608" y="450"/>
                    </a:lnTo>
                    <a:lnTo>
                      <a:pt x="1608" y="456"/>
                    </a:lnTo>
                    <a:lnTo>
                      <a:pt x="1608" y="462"/>
                    </a:lnTo>
                    <a:lnTo>
                      <a:pt x="1608" y="468"/>
                    </a:lnTo>
                    <a:lnTo>
                      <a:pt x="1608" y="474"/>
                    </a:lnTo>
                    <a:lnTo>
                      <a:pt x="1608" y="480"/>
                    </a:lnTo>
                    <a:lnTo>
                      <a:pt x="1608" y="486"/>
                    </a:lnTo>
                    <a:lnTo>
                      <a:pt x="1614" y="486"/>
                    </a:lnTo>
                    <a:lnTo>
                      <a:pt x="1614" y="492"/>
                    </a:lnTo>
                    <a:lnTo>
                      <a:pt x="1620" y="492"/>
                    </a:lnTo>
                    <a:lnTo>
                      <a:pt x="1620" y="498"/>
                    </a:lnTo>
                    <a:lnTo>
                      <a:pt x="1620" y="504"/>
                    </a:lnTo>
                    <a:lnTo>
                      <a:pt x="1626" y="504"/>
                    </a:lnTo>
                    <a:lnTo>
                      <a:pt x="1626" y="510"/>
                    </a:lnTo>
                    <a:lnTo>
                      <a:pt x="1632" y="510"/>
                    </a:lnTo>
                    <a:lnTo>
                      <a:pt x="1632" y="516"/>
                    </a:lnTo>
                    <a:lnTo>
                      <a:pt x="1638" y="516"/>
                    </a:lnTo>
                    <a:lnTo>
                      <a:pt x="1638" y="522"/>
                    </a:lnTo>
                    <a:lnTo>
                      <a:pt x="1638" y="528"/>
                    </a:lnTo>
                    <a:lnTo>
                      <a:pt x="1644" y="528"/>
                    </a:lnTo>
                    <a:lnTo>
                      <a:pt x="1644" y="534"/>
                    </a:lnTo>
                    <a:lnTo>
                      <a:pt x="1650" y="534"/>
                    </a:lnTo>
                    <a:lnTo>
                      <a:pt x="1650" y="540"/>
                    </a:lnTo>
                    <a:lnTo>
                      <a:pt x="1650" y="546"/>
                    </a:lnTo>
                    <a:lnTo>
                      <a:pt x="1650" y="552"/>
                    </a:lnTo>
                    <a:lnTo>
                      <a:pt x="1650" y="558"/>
                    </a:lnTo>
                    <a:lnTo>
                      <a:pt x="1650" y="564"/>
                    </a:lnTo>
                    <a:lnTo>
                      <a:pt x="1650" y="570"/>
                    </a:lnTo>
                    <a:lnTo>
                      <a:pt x="1650" y="576"/>
                    </a:lnTo>
                    <a:lnTo>
                      <a:pt x="1650" y="582"/>
                    </a:lnTo>
                    <a:lnTo>
                      <a:pt x="1650" y="588"/>
                    </a:lnTo>
                    <a:lnTo>
                      <a:pt x="1656" y="588"/>
                    </a:lnTo>
                    <a:lnTo>
                      <a:pt x="1656" y="594"/>
                    </a:lnTo>
                    <a:lnTo>
                      <a:pt x="1656" y="600"/>
                    </a:lnTo>
                    <a:lnTo>
                      <a:pt x="1656" y="606"/>
                    </a:lnTo>
                    <a:lnTo>
                      <a:pt x="1662" y="606"/>
                    </a:lnTo>
                    <a:lnTo>
                      <a:pt x="1662" y="612"/>
                    </a:lnTo>
                    <a:lnTo>
                      <a:pt x="1662" y="618"/>
                    </a:lnTo>
                    <a:lnTo>
                      <a:pt x="1662" y="624"/>
                    </a:lnTo>
                    <a:lnTo>
                      <a:pt x="1668" y="624"/>
                    </a:lnTo>
                    <a:lnTo>
                      <a:pt x="1668" y="630"/>
                    </a:lnTo>
                    <a:lnTo>
                      <a:pt x="1674" y="630"/>
                    </a:lnTo>
                    <a:lnTo>
                      <a:pt x="1680" y="630"/>
                    </a:lnTo>
                    <a:lnTo>
                      <a:pt x="1680" y="636"/>
                    </a:lnTo>
                    <a:lnTo>
                      <a:pt x="1686" y="636"/>
                    </a:lnTo>
                    <a:lnTo>
                      <a:pt x="1686" y="642"/>
                    </a:lnTo>
                    <a:lnTo>
                      <a:pt x="1692" y="642"/>
                    </a:lnTo>
                    <a:lnTo>
                      <a:pt x="1692" y="648"/>
                    </a:lnTo>
                    <a:lnTo>
                      <a:pt x="1698" y="648"/>
                    </a:lnTo>
                    <a:lnTo>
                      <a:pt x="1698" y="654"/>
                    </a:lnTo>
                    <a:lnTo>
                      <a:pt x="1692" y="654"/>
                    </a:lnTo>
                    <a:lnTo>
                      <a:pt x="1686" y="654"/>
                    </a:lnTo>
                    <a:lnTo>
                      <a:pt x="1680" y="654"/>
                    </a:lnTo>
                    <a:lnTo>
                      <a:pt x="1674" y="654"/>
                    </a:lnTo>
                    <a:lnTo>
                      <a:pt x="1668" y="654"/>
                    </a:lnTo>
                    <a:lnTo>
                      <a:pt x="1662" y="660"/>
                    </a:lnTo>
                    <a:lnTo>
                      <a:pt x="1656" y="660"/>
                    </a:lnTo>
                    <a:lnTo>
                      <a:pt x="1656" y="666"/>
                    </a:lnTo>
                    <a:lnTo>
                      <a:pt x="1656" y="672"/>
                    </a:lnTo>
                    <a:lnTo>
                      <a:pt x="1650" y="678"/>
                    </a:lnTo>
                    <a:lnTo>
                      <a:pt x="1644" y="684"/>
                    </a:lnTo>
                    <a:lnTo>
                      <a:pt x="1638" y="684"/>
                    </a:lnTo>
                    <a:lnTo>
                      <a:pt x="1632" y="684"/>
                    </a:lnTo>
                    <a:lnTo>
                      <a:pt x="1632" y="678"/>
                    </a:lnTo>
                    <a:lnTo>
                      <a:pt x="1632" y="672"/>
                    </a:lnTo>
                    <a:lnTo>
                      <a:pt x="1632" y="666"/>
                    </a:lnTo>
                    <a:lnTo>
                      <a:pt x="1626" y="666"/>
                    </a:lnTo>
                    <a:lnTo>
                      <a:pt x="1620" y="666"/>
                    </a:lnTo>
                    <a:lnTo>
                      <a:pt x="1620" y="672"/>
                    </a:lnTo>
                    <a:lnTo>
                      <a:pt x="1614" y="672"/>
                    </a:lnTo>
                    <a:lnTo>
                      <a:pt x="1614" y="678"/>
                    </a:lnTo>
                    <a:lnTo>
                      <a:pt x="1608" y="678"/>
                    </a:lnTo>
                    <a:lnTo>
                      <a:pt x="1608" y="672"/>
                    </a:lnTo>
                    <a:lnTo>
                      <a:pt x="1602" y="672"/>
                    </a:lnTo>
                    <a:lnTo>
                      <a:pt x="1596" y="672"/>
                    </a:lnTo>
                    <a:lnTo>
                      <a:pt x="1596" y="678"/>
                    </a:lnTo>
                    <a:lnTo>
                      <a:pt x="1590" y="678"/>
                    </a:lnTo>
                    <a:lnTo>
                      <a:pt x="1584" y="672"/>
                    </a:lnTo>
                    <a:lnTo>
                      <a:pt x="1578" y="672"/>
                    </a:lnTo>
                    <a:lnTo>
                      <a:pt x="1572" y="666"/>
                    </a:lnTo>
                    <a:lnTo>
                      <a:pt x="1566" y="666"/>
                    </a:lnTo>
                    <a:lnTo>
                      <a:pt x="1560" y="666"/>
                    </a:lnTo>
                    <a:lnTo>
                      <a:pt x="1560" y="672"/>
                    </a:lnTo>
                    <a:lnTo>
                      <a:pt x="1554" y="678"/>
                    </a:lnTo>
                    <a:lnTo>
                      <a:pt x="1548" y="678"/>
                    </a:lnTo>
                    <a:lnTo>
                      <a:pt x="1542" y="672"/>
                    </a:lnTo>
                    <a:lnTo>
                      <a:pt x="1542" y="678"/>
                    </a:lnTo>
                    <a:lnTo>
                      <a:pt x="1536" y="678"/>
                    </a:lnTo>
                    <a:lnTo>
                      <a:pt x="1530" y="684"/>
                    </a:lnTo>
                    <a:lnTo>
                      <a:pt x="1524" y="684"/>
                    </a:lnTo>
                    <a:lnTo>
                      <a:pt x="1518" y="684"/>
                    </a:lnTo>
                    <a:lnTo>
                      <a:pt x="1518" y="678"/>
                    </a:lnTo>
                    <a:lnTo>
                      <a:pt x="1512" y="678"/>
                    </a:lnTo>
                    <a:lnTo>
                      <a:pt x="1512" y="684"/>
                    </a:lnTo>
                    <a:lnTo>
                      <a:pt x="1506" y="684"/>
                    </a:lnTo>
                    <a:lnTo>
                      <a:pt x="1506" y="690"/>
                    </a:lnTo>
                    <a:lnTo>
                      <a:pt x="1578" y="690"/>
                    </a:lnTo>
                    <a:lnTo>
                      <a:pt x="1572" y="708"/>
                    </a:lnTo>
                    <a:lnTo>
                      <a:pt x="1572" y="714"/>
                    </a:lnTo>
                    <a:lnTo>
                      <a:pt x="1566" y="714"/>
                    </a:lnTo>
                    <a:lnTo>
                      <a:pt x="1560" y="720"/>
                    </a:lnTo>
                    <a:lnTo>
                      <a:pt x="1560" y="732"/>
                    </a:lnTo>
                    <a:lnTo>
                      <a:pt x="1560" y="738"/>
                    </a:lnTo>
                    <a:lnTo>
                      <a:pt x="1560" y="744"/>
                    </a:lnTo>
                    <a:lnTo>
                      <a:pt x="1560" y="750"/>
                    </a:lnTo>
                    <a:lnTo>
                      <a:pt x="1560" y="756"/>
                    </a:lnTo>
                    <a:lnTo>
                      <a:pt x="1560" y="762"/>
                    </a:lnTo>
                    <a:lnTo>
                      <a:pt x="1554" y="762"/>
                    </a:lnTo>
                    <a:lnTo>
                      <a:pt x="1548" y="768"/>
                    </a:lnTo>
                    <a:lnTo>
                      <a:pt x="1542" y="774"/>
                    </a:lnTo>
                    <a:lnTo>
                      <a:pt x="1542" y="786"/>
                    </a:lnTo>
                    <a:lnTo>
                      <a:pt x="1530" y="792"/>
                    </a:lnTo>
                    <a:lnTo>
                      <a:pt x="1530" y="798"/>
                    </a:lnTo>
                    <a:lnTo>
                      <a:pt x="1536" y="798"/>
                    </a:lnTo>
                    <a:lnTo>
                      <a:pt x="1548" y="804"/>
                    </a:lnTo>
                    <a:lnTo>
                      <a:pt x="1542" y="810"/>
                    </a:lnTo>
                    <a:lnTo>
                      <a:pt x="1542" y="816"/>
                    </a:lnTo>
                    <a:lnTo>
                      <a:pt x="1548" y="816"/>
                    </a:lnTo>
                    <a:lnTo>
                      <a:pt x="1554" y="816"/>
                    </a:lnTo>
                    <a:lnTo>
                      <a:pt x="1566" y="816"/>
                    </a:lnTo>
                    <a:lnTo>
                      <a:pt x="1560" y="822"/>
                    </a:lnTo>
                    <a:lnTo>
                      <a:pt x="1554" y="828"/>
                    </a:lnTo>
                    <a:lnTo>
                      <a:pt x="1554" y="834"/>
                    </a:lnTo>
                    <a:lnTo>
                      <a:pt x="1560" y="840"/>
                    </a:lnTo>
                    <a:lnTo>
                      <a:pt x="1566" y="846"/>
                    </a:lnTo>
                    <a:lnTo>
                      <a:pt x="1572" y="852"/>
                    </a:lnTo>
                    <a:lnTo>
                      <a:pt x="1578" y="852"/>
                    </a:lnTo>
                    <a:lnTo>
                      <a:pt x="1584" y="858"/>
                    </a:lnTo>
                    <a:lnTo>
                      <a:pt x="1590" y="858"/>
                    </a:lnTo>
                    <a:lnTo>
                      <a:pt x="1596" y="864"/>
                    </a:lnTo>
                    <a:lnTo>
                      <a:pt x="1602" y="864"/>
                    </a:lnTo>
                    <a:lnTo>
                      <a:pt x="1602" y="882"/>
                    </a:lnTo>
                    <a:lnTo>
                      <a:pt x="1590" y="882"/>
                    </a:lnTo>
                    <a:lnTo>
                      <a:pt x="1590" y="888"/>
                    </a:lnTo>
                    <a:lnTo>
                      <a:pt x="1590" y="882"/>
                    </a:lnTo>
                    <a:lnTo>
                      <a:pt x="1584" y="882"/>
                    </a:lnTo>
                    <a:lnTo>
                      <a:pt x="1578" y="882"/>
                    </a:lnTo>
                    <a:lnTo>
                      <a:pt x="1578" y="894"/>
                    </a:lnTo>
                    <a:lnTo>
                      <a:pt x="1560" y="900"/>
                    </a:lnTo>
                    <a:lnTo>
                      <a:pt x="1518" y="900"/>
                    </a:lnTo>
                    <a:lnTo>
                      <a:pt x="1518" y="906"/>
                    </a:lnTo>
                    <a:lnTo>
                      <a:pt x="1518" y="912"/>
                    </a:lnTo>
                    <a:lnTo>
                      <a:pt x="1524" y="912"/>
                    </a:lnTo>
                    <a:lnTo>
                      <a:pt x="1524" y="942"/>
                    </a:lnTo>
                    <a:lnTo>
                      <a:pt x="1536" y="942"/>
                    </a:lnTo>
                    <a:lnTo>
                      <a:pt x="1536" y="948"/>
                    </a:lnTo>
                    <a:lnTo>
                      <a:pt x="1542" y="948"/>
                    </a:lnTo>
                    <a:lnTo>
                      <a:pt x="1548" y="948"/>
                    </a:lnTo>
                    <a:lnTo>
                      <a:pt x="1554" y="948"/>
                    </a:lnTo>
                    <a:lnTo>
                      <a:pt x="1560" y="948"/>
                    </a:lnTo>
                    <a:lnTo>
                      <a:pt x="1560" y="960"/>
                    </a:lnTo>
                    <a:lnTo>
                      <a:pt x="1560" y="966"/>
                    </a:lnTo>
                    <a:lnTo>
                      <a:pt x="1560" y="972"/>
                    </a:lnTo>
                    <a:lnTo>
                      <a:pt x="1554" y="972"/>
                    </a:lnTo>
                    <a:lnTo>
                      <a:pt x="1554" y="978"/>
                    </a:lnTo>
                    <a:lnTo>
                      <a:pt x="1554" y="984"/>
                    </a:lnTo>
                    <a:lnTo>
                      <a:pt x="1554" y="990"/>
                    </a:lnTo>
                    <a:lnTo>
                      <a:pt x="1554" y="996"/>
                    </a:lnTo>
                    <a:lnTo>
                      <a:pt x="1548" y="996"/>
                    </a:lnTo>
                    <a:lnTo>
                      <a:pt x="1542" y="990"/>
                    </a:lnTo>
                    <a:lnTo>
                      <a:pt x="1536" y="990"/>
                    </a:lnTo>
                    <a:lnTo>
                      <a:pt x="1530" y="990"/>
                    </a:lnTo>
                    <a:lnTo>
                      <a:pt x="1524" y="990"/>
                    </a:lnTo>
                    <a:lnTo>
                      <a:pt x="1518" y="990"/>
                    </a:lnTo>
                    <a:lnTo>
                      <a:pt x="1512" y="990"/>
                    </a:lnTo>
                    <a:lnTo>
                      <a:pt x="1506" y="990"/>
                    </a:lnTo>
                    <a:lnTo>
                      <a:pt x="1500" y="990"/>
                    </a:lnTo>
                    <a:lnTo>
                      <a:pt x="1494" y="990"/>
                    </a:lnTo>
                    <a:lnTo>
                      <a:pt x="1494" y="996"/>
                    </a:lnTo>
                    <a:lnTo>
                      <a:pt x="1488" y="1002"/>
                    </a:lnTo>
                    <a:lnTo>
                      <a:pt x="1482" y="1002"/>
                    </a:lnTo>
                    <a:lnTo>
                      <a:pt x="1476" y="1002"/>
                    </a:lnTo>
                    <a:lnTo>
                      <a:pt x="1470" y="1002"/>
                    </a:lnTo>
                    <a:lnTo>
                      <a:pt x="1464" y="1002"/>
                    </a:lnTo>
                    <a:lnTo>
                      <a:pt x="1458" y="1002"/>
                    </a:lnTo>
                    <a:lnTo>
                      <a:pt x="1452" y="1002"/>
                    </a:lnTo>
                    <a:lnTo>
                      <a:pt x="1446" y="1002"/>
                    </a:lnTo>
                    <a:lnTo>
                      <a:pt x="1440" y="1002"/>
                    </a:lnTo>
                    <a:lnTo>
                      <a:pt x="1440" y="990"/>
                    </a:lnTo>
                    <a:lnTo>
                      <a:pt x="1434" y="984"/>
                    </a:lnTo>
                    <a:lnTo>
                      <a:pt x="1428" y="984"/>
                    </a:lnTo>
                    <a:lnTo>
                      <a:pt x="1428" y="972"/>
                    </a:lnTo>
                    <a:lnTo>
                      <a:pt x="1428" y="954"/>
                    </a:lnTo>
                    <a:lnTo>
                      <a:pt x="1428" y="948"/>
                    </a:lnTo>
                    <a:lnTo>
                      <a:pt x="1416" y="936"/>
                    </a:lnTo>
                    <a:lnTo>
                      <a:pt x="1410" y="930"/>
                    </a:lnTo>
                    <a:lnTo>
                      <a:pt x="1404" y="924"/>
                    </a:lnTo>
                    <a:lnTo>
                      <a:pt x="1392" y="924"/>
                    </a:lnTo>
                    <a:lnTo>
                      <a:pt x="1392" y="918"/>
                    </a:lnTo>
                    <a:lnTo>
                      <a:pt x="1392" y="906"/>
                    </a:lnTo>
                    <a:lnTo>
                      <a:pt x="1392" y="900"/>
                    </a:lnTo>
                    <a:lnTo>
                      <a:pt x="1392" y="894"/>
                    </a:lnTo>
                    <a:lnTo>
                      <a:pt x="1386" y="888"/>
                    </a:lnTo>
                    <a:lnTo>
                      <a:pt x="1392" y="882"/>
                    </a:lnTo>
                    <a:lnTo>
                      <a:pt x="1392" y="876"/>
                    </a:lnTo>
                    <a:lnTo>
                      <a:pt x="1392" y="870"/>
                    </a:lnTo>
                    <a:lnTo>
                      <a:pt x="1392" y="858"/>
                    </a:lnTo>
                    <a:lnTo>
                      <a:pt x="1380" y="858"/>
                    </a:lnTo>
                    <a:lnTo>
                      <a:pt x="1374" y="858"/>
                    </a:lnTo>
                    <a:lnTo>
                      <a:pt x="1368" y="846"/>
                    </a:lnTo>
                    <a:lnTo>
                      <a:pt x="1374" y="840"/>
                    </a:lnTo>
                    <a:lnTo>
                      <a:pt x="1380" y="834"/>
                    </a:lnTo>
                    <a:lnTo>
                      <a:pt x="1380" y="828"/>
                    </a:lnTo>
                    <a:lnTo>
                      <a:pt x="1374" y="822"/>
                    </a:lnTo>
                    <a:lnTo>
                      <a:pt x="1368" y="816"/>
                    </a:lnTo>
                    <a:lnTo>
                      <a:pt x="1356" y="810"/>
                    </a:lnTo>
                    <a:lnTo>
                      <a:pt x="1350" y="810"/>
                    </a:lnTo>
                    <a:lnTo>
                      <a:pt x="1338" y="810"/>
                    </a:lnTo>
                    <a:lnTo>
                      <a:pt x="1338" y="822"/>
                    </a:lnTo>
                    <a:lnTo>
                      <a:pt x="1314" y="828"/>
                    </a:lnTo>
                    <a:lnTo>
                      <a:pt x="1308" y="822"/>
                    </a:lnTo>
                    <a:lnTo>
                      <a:pt x="1302" y="822"/>
                    </a:lnTo>
                    <a:lnTo>
                      <a:pt x="1302" y="834"/>
                    </a:lnTo>
                    <a:lnTo>
                      <a:pt x="1302" y="840"/>
                    </a:lnTo>
                    <a:lnTo>
                      <a:pt x="1302" y="846"/>
                    </a:lnTo>
                    <a:lnTo>
                      <a:pt x="1296" y="846"/>
                    </a:lnTo>
                    <a:lnTo>
                      <a:pt x="1284" y="864"/>
                    </a:lnTo>
                    <a:lnTo>
                      <a:pt x="1272" y="846"/>
                    </a:lnTo>
                    <a:lnTo>
                      <a:pt x="1236" y="834"/>
                    </a:lnTo>
                    <a:lnTo>
                      <a:pt x="1224" y="828"/>
                    </a:lnTo>
                    <a:lnTo>
                      <a:pt x="1218" y="840"/>
                    </a:lnTo>
                    <a:lnTo>
                      <a:pt x="1200" y="840"/>
                    </a:lnTo>
                    <a:lnTo>
                      <a:pt x="1182" y="828"/>
                    </a:lnTo>
                    <a:lnTo>
                      <a:pt x="1182" y="852"/>
                    </a:lnTo>
                    <a:lnTo>
                      <a:pt x="1176" y="846"/>
                    </a:lnTo>
                    <a:lnTo>
                      <a:pt x="1170" y="840"/>
                    </a:lnTo>
                    <a:lnTo>
                      <a:pt x="1164" y="840"/>
                    </a:lnTo>
                    <a:lnTo>
                      <a:pt x="1140" y="840"/>
                    </a:lnTo>
                    <a:lnTo>
                      <a:pt x="1146" y="864"/>
                    </a:lnTo>
                    <a:lnTo>
                      <a:pt x="1140" y="876"/>
                    </a:lnTo>
                    <a:lnTo>
                      <a:pt x="1158" y="888"/>
                    </a:lnTo>
                    <a:lnTo>
                      <a:pt x="1152" y="900"/>
                    </a:lnTo>
                    <a:lnTo>
                      <a:pt x="1152" y="912"/>
                    </a:lnTo>
                    <a:lnTo>
                      <a:pt x="1134" y="912"/>
                    </a:lnTo>
                    <a:lnTo>
                      <a:pt x="1086" y="948"/>
                    </a:lnTo>
                    <a:lnTo>
                      <a:pt x="1080" y="954"/>
                    </a:lnTo>
                    <a:lnTo>
                      <a:pt x="1068" y="960"/>
                    </a:lnTo>
                    <a:lnTo>
                      <a:pt x="1056" y="972"/>
                    </a:lnTo>
                    <a:lnTo>
                      <a:pt x="1056" y="978"/>
                    </a:lnTo>
                    <a:lnTo>
                      <a:pt x="1056" y="984"/>
                    </a:lnTo>
                    <a:lnTo>
                      <a:pt x="1032" y="984"/>
                    </a:lnTo>
                    <a:lnTo>
                      <a:pt x="1032" y="996"/>
                    </a:lnTo>
                    <a:lnTo>
                      <a:pt x="1038" y="996"/>
                    </a:lnTo>
                    <a:lnTo>
                      <a:pt x="1044" y="1002"/>
                    </a:lnTo>
                    <a:lnTo>
                      <a:pt x="1050" y="1014"/>
                    </a:lnTo>
                    <a:lnTo>
                      <a:pt x="1050" y="1020"/>
                    </a:lnTo>
                    <a:lnTo>
                      <a:pt x="1038" y="1026"/>
                    </a:lnTo>
                    <a:lnTo>
                      <a:pt x="1038" y="1032"/>
                    </a:lnTo>
                    <a:lnTo>
                      <a:pt x="1026" y="1044"/>
                    </a:lnTo>
                    <a:lnTo>
                      <a:pt x="1020" y="1044"/>
                    </a:lnTo>
                    <a:lnTo>
                      <a:pt x="996" y="1038"/>
                    </a:lnTo>
                    <a:lnTo>
                      <a:pt x="972" y="1032"/>
                    </a:lnTo>
                    <a:lnTo>
                      <a:pt x="972" y="1026"/>
                    </a:lnTo>
                    <a:lnTo>
                      <a:pt x="966" y="1020"/>
                    </a:lnTo>
                    <a:lnTo>
                      <a:pt x="960" y="1008"/>
                    </a:lnTo>
                    <a:lnTo>
                      <a:pt x="954" y="1002"/>
                    </a:lnTo>
                    <a:lnTo>
                      <a:pt x="948" y="1008"/>
                    </a:lnTo>
                    <a:lnTo>
                      <a:pt x="948" y="1002"/>
                    </a:lnTo>
                    <a:lnTo>
                      <a:pt x="942" y="996"/>
                    </a:lnTo>
                    <a:lnTo>
                      <a:pt x="942" y="990"/>
                    </a:lnTo>
                    <a:lnTo>
                      <a:pt x="942" y="984"/>
                    </a:lnTo>
                    <a:lnTo>
                      <a:pt x="930" y="978"/>
                    </a:lnTo>
                    <a:lnTo>
                      <a:pt x="930" y="972"/>
                    </a:lnTo>
                    <a:lnTo>
                      <a:pt x="930" y="966"/>
                    </a:lnTo>
                    <a:lnTo>
                      <a:pt x="924" y="966"/>
                    </a:lnTo>
                    <a:lnTo>
                      <a:pt x="918" y="966"/>
                    </a:lnTo>
                    <a:lnTo>
                      <a:pt x="912" y="972"/>
                    </a:lnTo>
                    <a:lnTo>
                      <a:pt x="906" y="972"/>
                    </a:lnTo>
                    <a:lnTo>
                      <a:pt x="906" y="966"/>
                    </a:lnTo>
                    <a:lnTo>
                      <a:pt x="912" y="966"/>
                    </a:lnTo>
                    <a:lnTo>
                      <a:pt x="912" y="960"/>
                    </a:lnTo>
                    <a:lnTo>
                      <a:pt x="918" y="960"/>
                    </a:lnTo>
                    <a:lnTo>
                      <a:pt x="918" y="954"/>
                    </a:lnTo>
                    <a:lnTo>
                      <a:pt x="918" y="948"/>
                    </a:lnTo>
                    <a:lnTo>
                      <a:pt x="918" y="942"/>
                    </a:lnTo>
                    <a:lnTo>
                      <a:pt x="912" y="936"/>
                    </a:lnTo>
                    <a:lnTo>
                      <a:pt x="912" y="930"/>
                    </a:lnTo>
                    <a:lnTo>
                      <a:pt x="912" y="924"/>
                    </a:lnTo>
                    <a:lnTo>
                      <a:pt x="912" y="912"/>
                    </a:lnTo>
                    <a:lnTo>
                      <a:pt x="888" y="912"/>
                    </a:lnTo>
                    <a:lnTo>
                      <a:pt x="876" y="906"/>
                    </a:lnTo>
                    <a:lnTo>
                      <a:pt x="858" y="912"/>
                    </a:lnTo>
                    <a:lnTo>
                      <a:pt x="864" y="918"/>
                    </a:lnTo>
                    <a:lnTo>
                      <a:pt x="858" y="924"/>
                    </a:lnTo>
                    <a:lnTo>
                      <a:pt x="858" y="930"/>
                    </a:lnTo>
                    <a:lnTo>
                      <a:pt x="858" y="936"/>
                    </a:lnTo>
                    <a:lnTo>
                      <a:pt x="852" y="936"/>
                    </a:lnTo>
                    <a:lnTo>
                      <a:pt x="858" y="948"/>
                    </a:lnTo>
                    <a:lnTo>
                      <a:pt x="840" y="954"/>
                    </a:lnTo>
                    <a:lnTo>
                      <a:pt x="822" y="960"/>
                    </a:lnTo>
                    <a:lnTo>
                      <a:pt x="810" y="930"/>
                    </a:lnTo>
                    <a:lnTo>
                      <a:pt x="804" y="924"/>
                    </a:lnTo>
                    <a:lnTo>
                      <a:pt x="798" y="924"/>
                    </a:lnTo>
                    <a:lnTo>
                      <a:pt x="786" y="924"/>
                    </a:lnTo>
                    <a:lnTo>
                      <a:pt x="774" y="918"/>
                    </a:lnTo>
                    <a:lnTo>
                      <a:pt x="780" y="948"/>
                    </a:lnTo>
                    <a:lnTo>
                      <a:pt x="774" y="942"/>
                    </a:lnTo>
                    <a:lnTo>
                      <a:pt x="768" y="942"/>
                    </a:lnTo>
                    <a:lnTo>
                      <a:pt x="762" y="942"/>
                    </a:lnTo>
                    <a:lnTo>
                      <a:pt x="756" y="942"/>
                    </a:lnTo>
                    <a:lnTo>
                      <a:pt x="750" y="942"/>
                    </a:lnTo>
                    <a:lnTo>
                      <a:pt x="744" y="942"/>
                    </a:lnTo>
                    <a:lnTo>
                      <a:pt x="738" y="942"/>
                    </a:lnTo>
                    <a:lnTo>
                      <a:pt x="732" y="942"/>
                    </a:lnTo>
                    <a:lnTo>
                      <a:pt x="720" y="942"/>
                    </a:lnTo>
                    <a:lnTo>
                      <a:pt x="714" y="942"/>
                    </a:lnTo>
                    <a:lnTo>
                      <a:pt x="708" y="948"/>
                    </a:lnTo>
                    <a:lnTo>
                      <a:pt x="702" y="954"/>
                    </a:lnTo>
                    <a:lnTo>
                      <a:pt x="696" y="954"/>
                    </a:lnTo>
                    <a:lnTo>
                      <a:pt x="690" y="954"/>
                    </a:lnTo>
                    <a:lnTo>
                      <a:pt x="684" y="960"/>
                    </a:lnTo>
                    <a:lnTo>
                      <a:pt x="678" y="960"/>
                    </a:lnTo>
                    <a:lnTo>
                      <a:pt x="672" y="966"/>
                    </a:lnTo>
                    <a:lnTo>
                      <a:pt x="672" y="972"/>
                    </a:lnTo>
                    <a:lnTo>
                      <a:pt x="678" y="972"/>
                    </a:lnTo>
                    <a:lnTo>
                      <a:pt x="678" y="990"/>
                    </a:lnTo>
                    <a:lnTo>
                      <a:pt x="672" y="990"/>
                    </a:lnTo>
                    <a:lnTo>
                      <a:pt x="648" y="996"/>
                    </a:lnTo>
                    <a:lnTo>
                      <a:pt x="636" y="996"/>
                    </a:lnTo>
                    <a:lnTo>
                      <a:pt x="630" y="996"/>
                    </a:lnTo>
                    <a:lnTo>
                      <a:pt x="630" y="1008"/>
                    </a:lnTo>
                    <a:lnTo>
                      <a:pt x="618" y="1008"/>
                    </a:lnTo>
                    <a:lnTo>
                      <a:pt x="606" y="1014"/>
                    </a:lnTo>
                    <a:lnTo>
                      <a:pt x="600" y="1014"/>
                    </a:lnTo>
                    <a:lnTo>
                      <a:pt x="600" y="1020"/>
                    </a:lnTo>
                    <a:lnTo>
                      <a:pt x="600" y="1026"/>
                    </a:lnTo>
                    <a:lnTo>
                      <a:pt x="600" y="1038"/>
                    </a:lnTo>
                    <a:lnTo>
                      <a:pt x="606" y="1038"/>
                    </a:lnTo>
                    <a:lnTo>
                      <a:pt x="624" y="1032"/>
                    </a:lnTo>
                    <a:lnTo>
                      <a:pt x="636" y="1032"/>
                    </a:lnTo>
                    <a:lnTo>
                      <a:pt x="642" y="1032"/>
                    </a:lnTo>
                    <a:lnTo>
                      <a:pt x="642" y="1026"/>
                    </a:lnTo>
                    <a:lnTo>
                      <a:pt x="678" y="1014"/>
                    </a:lnTo>
                    <a:lnTo>
                      <a:pt x="678" y="1026"/>
                    </a:lnTo>
                    <a:lnTo>
                      <a:pt x="684" y="1038"/>
                    </a:lnTo>
                    <a:lnTo>
                      <a:pt x="696" y="1038"/>
                    </a:lnTo>
                    <a:lnTo>
                      <a:pt x="690" y="1050"/>
                    </a:lnTo>
                    <a:lnTo>
                      <a:pt x="678" y="1056"/>
                    </a:lnTo>
                    <a:lnTo>
                      <a:pt x="672" y="1050"/>
                    </a:lnTo>
                    <a:lnTo>
                      <a:pt x="642" y="1050"/>
                    </a:lnTo>
                    <a:lnTo>
                      <a:pt x="642" y="1056"/>
                    </a:lnTo>
                    <a:lnTo>
                      <a:pt x="642" y="1068"/>
                    </a:lnTo>
                    <a:lnTo>
                      <a:pt x="636" y="1068"/>
                    </a:lnTo>
                    <a:lnTo>
                      <a:pt x="624" y="1068"/>
                    </a:lnTo>
                    <a:lnTo>
                      <a:pt x="618" y="1068"/>
                    </a:lnTo>
                    <a:lnTo>
                      <a:pt x="612" y="1068"/>
                    </a:lnTo>
                    <a:lnTo>
                      <a:pt x="606" y="1074"/>
                    </a:lnTo>
                    <a:lnTo>
                      <a:pt x="600" y="1062"/>
                    </a:lnTo>
                    <a:lnTo>
                      <a:pt x="582" y="1068"/>
                    </a:lnTo>
                    <a:lnTo>
                      <a:pt x="576" y="1056"/>
                    </a:lnTo>
                    <a:lnTo>
                      <a:pt x="570" y="1056"/>
                    </a:lnTo>
                    <a:lnTo>
                      <a:pt x="570" y="1050"/>
                    </a:lnTo>
                    <a:lnTo>
                      <a:pt x="570" y="1044"/>
                    </a:lnTo>
                    <a:lnTo>
                      <a:pt x="564" y="1038"/>
                    </a:lnTo>
                    <a:lnTo>
                      <a:pt x="558" y="1026"/>
                    </a:lnTo>
                    <a:lnTo>
                      <a:pt x="552" y="1026"/>
                    </a:lnTo>
                    <a:lnTo>
                      <a:pt x="534" y="1032"/>
                    </a:lnTo>
                    <a:lnTo>
                      <a:pt x="528" y="1032"/>
                    </a:lnTo>
                    <a:lnTo>
                      <a:pt x="528" y="1026"/>
                    </a:lnTo>
                    <a:lnTo>
                      <a:pt x="528" y="1014"/>
                    </a:lnTo>
                    <a:lnTo>
                      <a:pt x="510" y="1008"/>
                    </a:lnTo>
                    <a:lnTo>
                      <a:pt x="510" y="1002"/>
                    </a:lnTo>
                    <a:lnTo>
                      <a:pt x="516" y="996"/>
                    </a:lnTo>
                    <a:lnTo>
                      <a:pt x="528" y="990"/>
                    </a:lnTo>
                    <a:lnTo>
                      <a:pt x="534" y="996"/>
                    </a:lnTo>
                    <a:lnTo>
                      <a:pt x="540" y="1002"/>
                    </a:lnTo>
                    <a:lnTo>
                      <a:pt x="552" y="1002"/>
                    </a:lnTo>
                    <a:lnTo>
                      <a:pt x="558" y="1002"/>
                    </a:lnTo>
                    <a:lnTo>
                      <a:pt x="558" y="996"/>
                    </a:lnTo>
                    <a:lnTo>
                      <a:pt x="564" y="984"/>
                    </a:lnTo>
                    <a:lnTo>
                      <a:pt x="564" y="978"/>
                    </a:lnTo>
                    <a:lnTo>
                      <a:pt x="558" y="978"/>
                    </a:lnTo>
                    <a:lnTo>
                      <a:pt x="552" y="972"/>
                    </a:lnTo>
                    <a:lnTo>
                      <a:pt x="546" y="972"/>
                    </a:lnTo>
                    <a:lnTo>
                      <a:pt x="534" y="966"/>
                    </a:lnTo>
                    <a:lnTo>
                      <a:pt x="522" y="960"/>
                    </a:lnTo>
                    <a:lnTo>
                      <a:pt x="516" y="960"/>
                    </a:lnTo>
                    <a:lnTo>
                      <a:pt x="492" y="954"/>
                    </a:lnTo>
                    <a:lnTo>
                      <a:pt x="486" y="954"/>
                    </a:lnTo>
                    <a:lnTo>
                      <a:pt x="480" y="948"/>
                    </a:lnTo>
                    <a:lnTo>
                      <a:pt x="474" y="948"/>
                    </a:lnTo>
                    <a:lnTo>
                      <a:pt x="468" y="954"/>
                    </a:lnTo>
                    <a:lnTo>
                      <a:pt x="468" y="960"/>
                    </a:lnTo>
                    <a:lnTo>
                      <a:pt x="462" y="960"/>
                    </a:lnTo>
                    <a:lnTo>
                      <a:pt x="456" y="954"/>
                    </a:lnTo>
                    <a:lnTo>
                      <a:pt x="456" y="948"/>
                    </a:lnTo>
                    <a:lnTo>
                      <a:pt x="462" y="948"/>
                    </a:lnTo>
                    <a:lnTo>
                      <a:pt x="462" y="936"/>
                    </a:lnTo>
                    <a:lnTo>
                      <a:pt x="456" y="936"/>
                    </a:lnTo>
                    <a:lnTo>
                      <a:pt x="450" y="936"/>
                    </a:lnTo>
                    <a:lnTo>
                      <a:pt x="444" y="936"/>
                    </a:lnTo>
                    <a:lnTo>
                      <a:pt x="438" y="930"/>
                    </a:lnTo>
                    <a:lnTo>
                      <a:pt x="438" y="954"/>
                    </a:lnTo>
                    <a:lnTo>
                      <a:pt x="432" y="948"/>
                    </a:lnTo>
                    <a:lnTo>
                      <a:pt x="426" y="948"/>
                    </a:lnTo>
                    <a:lnTo>
                      <a:pt x="414" y="948"/>
                    </a:lnTo>
                    <a:lnTo>
                      <a:pt x="408" y="948"/>
                    </a:lnTo>
                    <a:lnTo>
                      <a:pt x="402" y="954"/>
                    </a:lnTo>
                    <a:lnTo>
                      <a:pt x="396" y="948"/>
                    </a:lnTo>
                    <a:lnTo>
                      <a:pt x="390" y="942"/>
                    </a:lnTo>
                    <a:lnTo>
                      <a:pt x="384" y="948"/>
                    </a:lnTo>
                    <a:lnTo>
                      <a:pt x="372" y="942"/>
                    </a:lnTo>
                    <a:lnTo>
                      <a:pt x="366" y="948"/>
                    </a:lnTo>
                    <a:lnTo>
                      <a:pt x="366" y="954"/>
                    </a:lnTo>
                    <a:lnTo>
                      <a:pt x="366" y="960"/>
                    </a:lnTo>
                    <a:lnTo>
                      <a:pt x="366" y="966"/>
                    </a:lnTo>
                    <a:lnTo>
                      <a:pt x="366" y="972"/>
                    </a:lnTo>
                    <a:lnTo>
                      <a:pt x="360" y="972"/>
                    </a:lnTo>
                    <a:lnTo>
                      <a:pt x="354" y="978"/>
                    </a:lnTo>
                    <a:lnTo>
                      <a:pt x="360" y="978"/>
                    </a:lnTo>
                    <a:lnTo>
                      <a:pt x="348" y="990"/>
                    </a:lnTo>
                    <a:lnTo>
                      <a:pt x="342" y="990"/>
                    </a:lnTo>
                    <a:lnTo>
                      <a:pt x="342" y="984"/>
                    </a:lnTo>
                    <a:lnTo>
                      <a:pt x="336" y="984"/>
                    </a:lnTo>
                    <a:lnTo>
                      <a:pt x="336" y="978"/>
                    </a:lnTo>
                    <a:lnTo>
                      <a:pt x="336" y="972"/>
                    </a:lnTo>
                    <a:lnTo>
                      <a:pt x="318" y="972"/>
                    </a:lnTo>
                    <a:lnTo>
                      <a:pt x="312" y="972"/>
                    </a:lnTo>
                    <a:lnTo>
                      <a:pt x="300" y="978"/>
                    </a:lnTo>
                    <a:lnTo>
                      <a:pt x="294" y="978"/>
                    </a:lnTo>
                    <a:lnTo>
                      <a:pt x="288" y="972"/>
                    </a:lnTo>
                    <a:lnTo>
                      <a:pt x="282" y="954"/>
                    </a:lnTo>
                    <a:lnTo>
                      <a:pt x="276" y="954"/>
                    </a:lnTo>
                    <a:lnTo>
                      <a:pt x="234" y="948"/>
                    </a:lnTo>
                    <a:lnTo>
                      <a:pt x="234" y="942"/>
                    </a:lnTo>
                    <a:lnTo>
                      <a:pt x="234" y="936"/>
                    </a:lnTo>
                    <a:lnTo>
                      <a:pt x="228" y="930"/>
                    </a:lnTo>
                    <a:lnTo>
                      <a:pt x="228" y="924"/>
                    </a:lnTo>
                    <a:lnTo>
                      <a:pt x="222" y="918"/>
                    </a:lnTo>
                    <a:lnTo>
                      <a:pt x="210" y="918"/>
                    </a:lnTo>
                    <a:lnTo>
                      <a:pt x="204" y="912"/>
                    </a:lnTo>
                    <a:lnTo>
                      <a:pt x="204" y="900"/>
                    </a:lnTo>
                    <a:lnTo>
                      <a:pt x="198" y="894"/>
                    </a:lnTo>
                    <a:lnTo>
                      <a:pt x="198" y="876"/>
                    </a:lnTo>
                    <a:lnTo>
                      <a:pt x="198" y="858"/>
                    </a:lnTo>
                    <a:lnTo>
                      <a:pt x="192" y="858"/>
                    </a:lnTo>
                    <a:lnTo>
                      <a:pt x="186" y="858"/>
                    </a:lnTo>
                    <a:lnTo>
                      <a:pt x="180" y="876"/>
                    </a:lnTo>
                    <a:lnTo>
                      <a:pt x="174" y="870"/>
                    </a:lnTo>
                    <a:lnTo>
                      <a:pt x="174" y="876"/>
                    </a:lnTo>
                    <a:lnTo>
                      <a:pt x="168" y="882"/>
                    </a:lnTo>
                    <a:lnTo>
                      <a:pt x="150" y="888"/>
                    </a:lnTo>
                    <a:lnTo>
                      <a:pt x="120" y="894"/>
                    </a:lnTo>
                    <a:lnTo>
                      <a:pt x="120" y="900"/>
                    </a:lnTo>
                    <a:lnTo>
                      <a:pt x="114" y="906"/>
                    </a:lnTo>
                    <a:lnTo>
                      <a:pt x="108" y="906"/>
                    </a:lnTo>
                    <a:lnTo>
                      <a:pt x="96" y="900"/>
                    </a:lnTo>
                    <a:lnTo>
                      <a:pt x="96" y="906"/>
                    </a:lnTo>
                    <a:lnTo>
                      <a:pt x="90" y="900"/>
                    </a:lnTo>
                    <a:lnTo>
                      <a:pt x="72" y="888"/>
                    </a:lnTo>
                    <a:lnTo>
                      <a:pt x="66" y="888"/>
                    </a:lnTo>
                    <a:lnTo>
                      <a:pt x="60" y="888"/>
                    </a:lnTo>
                    <a:lnTo>
                      <a:pt x="54" y="888"/>
                    </a:lnTo>
                    <a:lnTo>
                      <a:pt x="48" y="888"/>
                    </a:lnTo>
                    <a:lnTo>
                      <a:pt x="18" y="882"/>
                    </a:lnTo>
                    <a:lnTo>
                      <a:pt x="12" y="882"/>
                    </a:lnTo>
                    <a:lnTo>
                      <a:pt x="0" y="858"/>
                    </a:lnTo>
                    <a:lnTo>
                      <a:pt x="0" y="822"/>
                    </a:lnTo>
                    <a:lnTo>
                      <a:pt x="6" y="822"/>
                    </a:lnTo>
                    <a:lnTo>
                      <a:pt x="12" y="816"/>
                    </a:lnTo>
                    <a:lnTo>
                      <a:pt x="18" y="816"/>
                    </a:lnTo>
                    <a:lnTo>
                      <a:pt x="24" y="810"/>
                    </a:lnTo>
                    <a:lnTo>
                      <a:pt x="24" y="804"/>
                    </a:lnTo>
                    <a:lnTo>
                      <a:pt x="30" y="786"/>
                    </a:lnTo>
                    <a:lnTo>
                      <a:pt x="36" y="780"/>
                    </a:lnTo>
                    <a:lnTo>
                      <a:pt x="36" y="774"/>
                    </a:lnTo>
                    <a:lnTo>
                      <a:pt x="42" y="768"/>
                    </a:lnTo>
                    <a:lnTo>
                      <a:pt x="48" y="762"/>
                    </a:lnTo>
                    <a:lnTo>
                      <a:pt x="54" y="762"/>
                    </a:lnTo>
                    <a:lnTo>
                      <a:pt x="54" y="756"/>
                    </a:lnTo>
                    <a:lnTo>
                      <a:pt x="60" y="756"/>
                    </a:lnTo>
                    <a:lnTo>
                      <a:pt x="60" y="750"/>
                    </a:lnTo>
                    <a:lnTo>
                      <a:pt x="60" y="744"/>
                    </a:lnTo>
                    <a:lnTo>
                      <a:pt x="66" y="744"/>
                    </a:lnTo>
                    <a:lnTo>
                      <a:pt x="72" y="744"/>
                    </a:lnTo>
                    <a:lnTo>
                      <a:pt x="78" y="744"/>
                    </a:lnTo>
                    <a:lnTo>
                      <a:pt x="78" y="738"/>
                    </a:lnTo>
                    <a:lnTo>
                      <a:pt x="84" y="744"/>
                    </a:lnTo>
                    <a:lnTo>
                      <a:pt x="84" y="738"/>
                    </a:lnTo>
                    <a:lnTo>
                      <a:pt x="84" y="732"/>
                    </a:lnTo>
                    <a:lnTo>
                      <a:pt x="84" y="726"/>
                    </a:lnTo>
                    <a:lnTo>
                      <a:pt x="90" y="726"/>
                    </a:lnTo>
                    <a:lnTo>
                      <a:pt x="90" y="720"/>
                    </a:lnTo>
                    <a:lnTo>
                      <a:pt x="96" y="720"/>
                    </a:lnTo>
                    <a:lnTo>
                      <a:pt x="96" y="714"/>
                    </a:lnTo>
                    <a:lnTo>
                      <a:pt x="102" y="720"/>
                    </a:lnTo>
                    <a:lnTo>
                      <a:pt x="102" y="714"/>
                    </a:lnTo>
                    <a:lnTo>
                      <a:pt x="108" y="714"/>
                    </a:lnTo>
                    <a:lnTo>
                      <a:pt x="114" y="714"/>
                    </a:lnTo>
                    <a:lnTo>
                      <a:pt x="120" y="714"/>
                    </a:lnTo>
                    <a:lnTo>
                      <a:pt x="126" y="708"/>
                    </a:lnTo>
                    <a:lnTo>
                      <a:pt x="132" y="708"/>
                    </a:lnTo>
                    <a:lnTo>
                      <a:pt x="132" y="702"/>
                    </a:lnTo>
                    <a:lnTo>
                      <a:pt x="138" y="702"/>
                    </a:lnTo>
                    <a:lnTo>
                      <a:pt x="144" y="702"/>
                    </a:lnTo>
                    <a:lnTo>
                      <a:pt x="144" y="696"/>
                    </a:lnTo>
                    <a:lnTo>
                      <a:pt x="150" y="696"/>
                    </a:lnTo>
                    <a:lnTo>
                      <a:pt x="144" y="690"/>
                    </a:lnTo>
                    <a:lnTo>
                      <a:pt x="144" y="684"/>
                    </a:lnTo>
                    <a:lnTo>
                      <a:pt x="150" y="678"/>
                    </a:lnTo>
                    <a:lnTo>
                      <a:pt x="144" y="672"/>
                    </a:lnTo>
                    <a:lnTo>
                      <a:pt x="150" y="666"/>
                    </a:lnTo>
                    <a:lnTo>
                      <a:pt x="150" y="660"/>
                    </a:lnTo>
                    <a:lnTo>
                      <a:pt x="144" y="654"/>
                    </a:lnTo>
                    <a:lnTo>
                      <a:pt x="150" y="654"/>
                    </a:lnTo>
                    <a:lnTo>
                      <a:pt x="150" y="642"/>
                    </a:lnTo>
                    <a:lnTo>
                      <a:pt x="156" y="642"/>
                    </a:lnTo>
                    <a:lnTo>
                      <a:pt x="156" y="636"/>
                    </a:lnTo>
                    <a:lnTo>
                      <a:pt x="156" y="630"/>
                    </a:lnTo>
                    <a:lnTo>
                      <a:pt x="162" y="618"/>
                    </a:lnTo>
                    <a:lnTo>
                      <a:pt x="162" y="612"/>
                    </a:lnTo>
                    <a:lnTo>
                      <a:pt x="162" y="606"/>
                    </a:lnTo>
                    <a:lnTo>
                      <a:pt x="162" y="600"/>
                    </a:lnTo>
                    <a:lnTo>
                      <a:pt x="168" y="600"/>
                    </a:lnTo>
                    <a:lnTo>
                      <a:pt x="168" y="594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74" y="576"/>
                    </a:lnTo>
                    <a:lnTo>
                      <a:pt x="174" y="570"/>
                    </a:lnTo>
                    <a:lnTo>
                      <a:pt x="174" y="564"/>
                    </a:lnTo>
                    <a:lnTo>
                      <a:pt x="168" y="564"/>
                    </a:lnTo>
                    <a:lnTo>
                      <a:pt x="168" y="558"/>
                    </a:lnTo>
                    <a:lnTo>
                      <a:pt x="174" y="558"/>
                    </a:lnTo>
                    <a:lnTo>
                      <a:pt x="174" y="552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80" y="540"/>
                    </a:lnTo>
                    <a:lnTo>
                      <a:pt x="180" y="534"/>
                    </a:lnTo>
                    <a:lnTo>
                      <a:pt x="180" y="528"/>
                    </a:lnTo>
                    <a:lnTo>
                      <a:pt x="180" y="522"/>
                    </a:lnTo>
                    <a:lnTo>
                      <a:pt x="180" y="510"/>
                    </a:lnTo>
                    <a:lnTo>
                      <a:pt x="186" y="510"/>
                    </a:lnTo>
                    <a:lnTo>
                      <a:pt x="192" y="504"/>
                    </a:lnTo>
                    <a:lnTo>
                      <a:pt x="192" y="498"/>
                    </a:lnTo>
                    <a:lnTo>
                      <a:pt x="192" y="492"/>
                    </a:lnTo>
                    <a:lnTo>
                      <a:pt x="198" y="492"/>
                    </a:lnTo>
                    <a:lnTo>
                      <a:pt x="198" y="498"/>
                    </a:lnTo>
                    <a:lnTo>
                      <a:pt x="204" y="498"/>
                    </a:lnTo>
                    <a:lnTo>
                      <a:pt x="198" y="498"/>
                    </a:lnTo>
                    <a:lnTo>
                      <a:pt x="198" y="504"/>
                    </a:lnTo>
                    <a:lnTo>
                      <a:pt x="204" y="504"/>
                    </a:lnTo>
                    <a:lnTo>
                      <a:pt x="210" y="498"/>
                    </a:lnTo>
                    <a:lnTo>
                      <a:pt x="216" y="498"/>
                    </a:lnTo>
                    <a:lnTo>
                      <a:pt x="216" y="492"/>
                    </a:lnTo>
                    <a:lnTo>
                      <a:pt x="216" y="486"/>
                    </a:lnTo>
                    <a:lnTo>
                      <a:pt x="210" y="486"/>
                    </a:lnTo>
                    <a:lnTo>
                      <a:pt x="210" y="480"/>
                    </a:lnTo>
                    <a:lnTo>
                      <a:pt x="216" y="480"/>
                    </a:lnTo>
                    <a:lnTo>
                      <a:pt x="216" y="474"/>
                    </a:lnTo>
                    <a:lnTo>
                      <a:pt x="222" y="474"/>
                    </a:lnTo>
                    <a:lnTo>
                      <a:pt x="222" y="468"/>
                    </a:lnTo>
                    <a:lnTo>
                      <a:pt x="228" y="468"/>
                    </a:lnTo>
                    <a:lnTo>
                      <a:pt x="234" y="468"/>
                    </a:lnTo>
                    <a:lnTo>
                      <a:pt x="240" y="468"/>
                    </a:lnTo>
                    <a:lnTo>
                      <a:pt x="240" y="462"/>
                    </a:lnTo>
                    <a:lnTo>
                      <a:pt x="234" y="462"/>
                    </a:lnTo>
                    <a:lnTo>
                      <a:pt x="234" y="456"/>
                    </a:lnTo>
                    <a:lnTo>
                      <a:pt x="234" y="450"/>
                    </a:lnTo>
                    <a:lnTo>
                      <a:pt x="240" y="450"/>
                    </a:lnTo>
                    <a:lnTo>
                      <a:pt x="240" y="456"/>
                    </a:lnTo>
                    <a:lnTo>
                      <a:pt x="246" y="450"/>
                    </a:lnTo>
                    <a:lnTo>
                      <a:pt x="246" y="456"/>
                    </a:lnTo>
                    <a:lnTo>
                      <a:pt x="252" y="456"/>
                    </a:lnTo>
                    <a:lnTo>
                      <a:pt x="258" y="456"/>
                    </a:lnTo>
                    <a:lnTo>
                      <a:pt x="258" y="450"/>
                    </a:lnTo>
                    <a:lnTo>
                      <a:pt x="252" y="450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58" y="438"/>
                    </a:lnTo>
                    <a:lnTo>
                      <a:pt x="264" y="444"/>
                    </a:lnTo>
                    <a:lnTo>
                      <a:pt x="264" y="438"/>
                    </a:lnTo>
                    <a:lnTo>
                      <a:pt x="270" y="438"/>
                    </a:lnTo>
                    <a:lnTo>
                      <a:pt x="276" y="438"/>
                    </a:lnTo>
                    <a:lnTo>
                      <a:pt x="276" y="432"/>
                    </a:lnTo>
                    <a:lnTo>
                      <a:pt x="282" y="432"/>
                    </a:lnTo>
                    <a:lnTo>
                      <a:pt x="288" y="426"/>
                    </a:lnTo>
                    <a:lnTo>
                      <a:pt x="288" y="420"/>
                    </a:lnTo>
                    <a:lnTo>
                      <a:pt x="294" y="414"/>
                    </a:lnTo>
                    <a:lnTo>
                      <a:pt x="300" y="408"/>
                    </a:lnTo>
                    <a:lnTo>
                      <a:pt x="300" y="414"/>
                    </a:lnTo>
                    <a:lnTo>
                      <a:pt x="300" y="420"/>
                    </a:lnTo>
                    <a:lnTo>
                      <a:pt x="306" y="420"/>
                    </a:lnTo>
                    <a:lnTo>
                      <a:pt x="312" y="420"/>
                    </a:lnTo>
                    <a:lnTo>
                      <a:pt x="312" y="414"/>
                    </a:lnTo>
                    <a:lnTo>
                      <a:pt x="312" y="408"/>
                    </a:lnTo>
                    <a:lnTo>
                      <a:pt x="318" y="408"/>
                    </a:lnTo>
                    <a:lnTo>
                      <a:pt x="318" y="414"/>
                    </a:lnTo>
                    <a:lnTo>
                      <a:pt x="318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24" y="408"/>
                    </a:lnTo>
                    <a:lnTo>
                      <a:pt x="330" y="408"/>
                    </a:lnTo>
                    <a:lnTo>
                      <a:pt x="336" y="408"/>
                    </a:lnTo>
                    <a:lnTo>
                      <a:pt x="354" y="408"/>
                    </a:lnTo>
                    <a:lnTo>
                      <a:pt x="360" y="402"/>
                    </a:lnTo>
                    <a:lnTo>
                      <a:pt x="366" y="396"/>
                    </a:lnTo>
                    <a:lnTo>
                      <a:pt x="366" y="390"/>
                    </a:lnTo>
                    <a:lnTo>
                      <a:pt x="372" y="384"/>
                    </a:lnTo>
                    <a:lnTo>
                      <a:pt x="366" y="384"/>
                    </a:lnTo>
                    <a:lnTo>
                      <a:pt x="372" y="378"/>
                    </a:lnTo>
                    <a:lnTo>
                      <a:pt x="372" y="372"/>
                    </a:lnTo>
                    <a:lnTo>
                      <a:pt x="372" y="366"/>
                    </a:lnTo>
                    <a:lnTo>
                      <a:pt x="378" y="366"/>
                    </a:lnTo>
                    <a:lnTo>
                      <a:pt x="378" y="360"/>
                    </a:lnTo>
                    <a:lnTo>
                      <a:pt x="378" y="354"/>
                    </a:lnTo>
                    <a:lnTo>
                      <a:pt x="384" y="348"/>
                    </a:lnTo>
                    <a:lnTo>
                      <a:pt x="384" y="354"/>
                    </a:lnTo>
                    <a:lnTo>
                      <a:pt x="390" y="354"/>
                    </a:lnTo>
                    <a:lnTo>
                      <a:pt x="396" y="354"/>
                    </a:lnTo>
                    <a:lnTo>
                      <a:pt x="402" y="354"/>
                    </a:lnTo>
                    <a:lnTo>
                      <a:pt x="402" y="348"/>
                    </a:lnTo>
                    <a:lnTo>
                      <a:pt x="408" y="348"/>
                    </a:lnTo>
                    <a:lnTo>
                      <a:pt x="414" y="354"/>
                    </a:lnTo>
                    <a:lnTo>
                      <a:pt x="414" y="360"/>
                    </a:lnTo>
                    <a:lnTo>
                      <a:pt x="420" y="360"/>
                    </a:lnTo>
                    <a:lnTo>
                      <a:pt x="426" y="354"/>
                    </a:lnTo>
                    <a:lnTo>
                      <a:pt x="426" y="348"/>
                    </a:lnTo>
                    <a:lnTo>
                      <a:pt x="432" y="342"/>
                    </a:lnTo>
                    <a:lnTo>
                      <a:pt x="438" y="336"/>
                    </a:lnTo>
                    <a:lnTo>
                      <a:pt x="438" y="330"/>
                    </a:lnTo>
                    <a:lnTo>
                      <a:pt x="432" y="330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38" y="330"/>
                    </a:lnTo>
                    <a:lnTo>
                      <a:pt x="444" y="324"/>
                    </a:lnTo>
                    <a:lnTo>
                      <a:pt x="450" y="324"/>
                    </a:lnTo>
                    <a:lnTo>
                      <a:pt x="450" y="318"/>
                    </a:lnTo>
                    <a:lnTo>
                      <a:pt x="456" y="318"/>
                    </a:lnTo>
                    <a:lnTo>
                      <a:pt x="462" y="312"/>
                    </a:lnTo>
                    <a:lnTo>
                      <a:pt x="468" y="312"/>
                    </a:lnTo>
                    <a:lnTo>
                      <a:pt x="474" y="306"/>
                    </a:lnTo>
                    <a:lnTo>
                      <a:pt x="480" y="306"/>
                    </a:lnTo>
                    <a:lnTo>
                      <a:pt x="480" y="300"/>
                    </a:lnTo>
                    <a:lnTo>
                      <a:pt x="486" y="300"/>
                    </a:lnTo>
                    <a:lnTo>
                      <a:pt x="486" y="294"/>
                    </a:lnTo>
                    <a:lnTo>
                      <a:pt x="486" y="288"/>
                    </a:lnTo>
                    <a:lnTo>
                      <a:pt x="486" y="282"/>
                    </a:lnTo>
                    <a:lnTo>
                      <a:pt x="492" y="276"/>
                    </a:lnTo>
                    <a:lnTo>
                      <a:pt x="486" y="264"/>
                    </a:lnTo>
                    <a:lnTo>
                      <a:pt x="492" y="264"/>
                    </a:lnTo>
                    <a:lnTo>
                      <a:pt x="498" y="264"/>
                    </a:lnTo>
                    <a:lnTo>
                      <a:pt x="504" y="258"/>
                    </a:lnTo>
                    <a:lnTo>
                      <a:pt x="510" y="252"/>
                    </a:lnTo>
                    <a:lnTo>
                      <a:pt x="516" y="252"/>
                    </a:lnTo>
                    <a:lnTo>
                      <a:pt x="522" y="246"/>
                    </a:lnTo>
                    <a:lnTo>
                      <a:pt x="522" y="240"/>
                    </a:lnTo>
                    <a:lnTo>
                      <a:pt x="522" y="234"/>
                    </a:lnTo>
                    <a:lnTo>
                      <a:pt x="522" y="228"/>
                    </a:lnTo>
                    <a:lnTo>
                      <a:pt x="522" y="222"/>
                    </a:lnTo>
                    <a:lnTo>
                      <a:pt x="534" y="222"/>
                    </a:lnTo>
                    <a:lnTo>
                      <a:pt x="540" y="216"/>
                    </a:lnTo>
                    <a:lnTo>
                      <a:pt x="540" y="210"/>
                    </a:lnTo>
                    <a:lnTo>
                      <a:pt x="546" y="210"/>
                    </a:lnTo>
                    <a:lnTo>
                      <a:pt x="558" y="204"/>
                    </a:lnTo>
                    <a:lnTo>
                      <a:pt x="558" y="198"/>
                    </a:lnTo>
                    <a:lnTo>
                      <a:pt x="558" y="180"/>
                    </a:lnTo>
                    <a:lnTo>
                      <a:pt x="564" y="180"/>
                    </a:lnTo>
                    <a:lnTo>
                      <a:pt x="564" y="174"/>
                    </a:lnTo>
                    <a:lnTo>
                      <a:pt x="570" y="168"/>
                    </a:lnTo>
                    <a:lnTo>
                      <a:pt x="582" y="168"/>
                    </a:lnTo>
                    <a:lnTo>
                      <a:pt x="588" y="162"/>
                    </a:lnTo>
                    <a:lnTo>
                      <a:pt x="594" y="162"/>
                    </a:lnTo>
                    <a:lnTo>
                      <a:pt x="594" y="156"/>
                    </a:lnTo>
                    <a:lnTo>
                      <a:pt x="594" y="150"/>
                    </a:lnTo>
                    <a:lnTo>
                      <a:pt x="606" y="150"/>
                    </a:lnTo>
                    <a:lnTo>
                      <a:pt x="612" y="144"/>
                    </a:lnTo>
                    <a:lnTo>
                      <a:pt x="618" y="138"/>
                    </a:lnTo>
                    <a:lnTo>
                      <a:pt x="624" y="138"/>
                    </a:lnTo>
                    <a:lnTo>
                      <a:pt x="636" y="138"/>
                    </a:lnTo>
                    <a:lnTo>
                      <a:pt x="648" y="138"/>
                    </a:lnTo>
                    <a:lnTo>
                      <a:pt x="654" y="138"/>
                    </a:lnTo>
                    <a:lnTo>
                      <a:pt x="666" y="138"/>
                    </a:lnTo>
                    <a:lnTo>
                      <a:pt x="666" y="144"/>
                    </a:lnTo>
                    <a:lnTo>
                      <a:pt x="672" y="144"/>
                    </a:lnTo>
                    <a:lnTo>
                      <a:pt x="672" y="138"/>
                    </a:lnTo>
                    <a:lnTo>
                      <a:pt x="678" y="138"/>
                    </a:lnTo>
                    <a:lnTo>
                      <a:pt x="684" y="138"/>
                    </a:lnTo>
                    <a:lnTo>
                      <a:pt x="690" y="132"/>
                    </a:lnTo>
                    <a:lnTo>
                      <a:pt x="690" y="138"/>
                    </a:lnTo>
                    <a:lnTo>
                      <a:pt x="696" y="138"/>
                    </a:lnTo>
                    <a:lnTo>
                      <a:pt x="702" y="132"/>
                    </a:lnTo>
                    <a:lnTo>
                      <a:pt x="708" y="132"/>
                    </a:lnTo>
                    <a:lnTo>
                      <a:pt x="714" y="132"/>
                    </a:lnTo>
                    <a:lnTo>
                      <a:pt x="720" y="126"/>
                    </a:lnTo>
                    <a:lnTo>
                      <a:pt x="726" y="126"/>
                    </a:lnTo>
                    <a:lnTo>
                      <a:pt x="732" y="120"/>
                    </a:lnTo>
                    <a:lnTo>
                      <a:pt x="738" y="120"/>
                    </a:lnTo>
                    <a:lnTo>
                      <a:pt x="744" y="114"/>
                    </a:lnTo>
                    <a:lnTo>
                      <a:pt x="750" y="114"/>
                    </a:lnTo>
                    <a:lnTo>
                      <a:pt x="768" y="114"/>
                    </a:lnTo>
                    <a:lnTo>
                      <a:pt x="768" y="108"/>
                    </a:lnTo>
                    <a:lnTo>
                      <a:pt x="768" y="102"/>
                    </a:lnTo>
                    <a:lnTo>
                      <a:pt x="774" y="102"/>
                    </a:lnTo>
                    <a:lnTo>
                      <a:pt x="780" y="96"/>
                    </a:lnTo>
                    <a:lnTo>
                      <a:pt x="786" y="96"/>
                    </a:lnTo>
                    <a:lnTo>
                      <a:pt x="786" y="102"/>
                    </a:lnTo>
                    <a:lnTo>
                      <a:pt x="792" y="102"/>
                    </a:lnTo>
                    <a:lnTo>
                      <a:pt x="798" y="102"/>
                    </a:lnTo>
                    <a:lnTo>
                      <a:pt x="804" y="96"/>
                    </a:lnTo>
                    <a:lnTo>
                      <a:pt x="810" y="84"/>
                    </a:lnTo>
                    <a:lnTo>
                      <a:pt x="816" y="78"/>
                    </a:lnTo>
                    <a:lnTo>
                      <a:pt x="816" y="72"/>
                    </a:lnTo>
                    <a:lnTo>
                      <a:pt x="810" y="60"/>
                    </a:lnTo>
                    <a:lnTo>
                      <a:pt x="810" y="54"/>
                    </a:lnTo>
                    <a:lnTo>
                      <a:pt x="816" y="54"/>
                    </a:lnTo>
                    <a:lnTo>
                      <a:pt x="816" y="48"/>
                    </a:lnTo>
                    <a:lnTo>
                      <a:pt x="822" y="42"/>
                    </a:lnTo>
                    <a:lnTo>
                      <a:pt x="828" y="42"/>
                    </a:lnTo>
                    <a:lnTo>
                      <a:pt x="828" y="36"/>
                    </a:lnTo>
                    <a:lnTo>
                      <a:pt x="828" y="30"/>
                    </a:lnTo>
                    <a:lnTo>
                      <a:pt x="834" y="24"/>
                    </a:lnTo>
                    <a:lnTo>
                      <a:pt x="840" y="24"/>
                    </a:lnTo>
                    <a:lnTo>
                      <a:pt x="846" y="24"/>
                    </a:lnTo>
                    <a:lnTo>
                      <a:pt x="852" y="24"/>
                    </a:lnTo>
                    <a:lnTo>
                      <a:pt x="858" y="24"/>
                    </a:lnTo>
                    <a:lnTo>
                      <a:pt x="864" y="24"/>
                    </a:lnTo>
                    <a:lnTo>
                      <a:pt x="870" y="24"/>
                    </a:lnTo>
                    <a:lnTo>
                      <a:pt x="876" y="24"/>
                    </a:lnTo>
                    <a:lnTo>
                      <a:pt x="888" y="12"/>
                    </a:lnTo>
                    <a:lnTo>
                      <a:pt x="894" y="12"/>
                    </a:lnTo>
                    <a:lnTo>
                      <a:pt x="900" y="12"/>
                    </a:lnTo>
                    <a:lnTo>
                      <a:pt x="906" y="18"/>
                    </a:lnTo>
                    <a:lnTo>
                      <a:pt x="912" y="18"/>
                    </a:lnTo>
                    <a:lnTo>
                      <a:pt x="918" y="18"/>
                    </a:lnTo>
                    <a:lnTo>
                      <a:pt x="924" y="18"/>
                    </a:lnTo>
                    <a:lnTo>
                      <a:pt x="930" y="24"/>
                    </a:lnTo>
                    <a:lnTo>
                      <a:pt x="936" y="18"/>
                    </a:lnTo>
                    <a:lnTo>
                      <a:pt x="942" y="18"/>
                    </a:lnTo>
                    <a:lnTo>
                      <a:pt x="948" y="18"/>
                    </a:lnTo>
                    <a:lnTo>
                      <a:pt x="954" y="12"/>
                    </a:lnTo>
                    <a:lnTo>
                      <a:pt x="960" y="12"/>
                    </a:lnTo>
                    <a:lnTo>
                      <a:pt x="966" y="12"/>
                    </a:lnTo>
                    <a:lnTo>
                      <a:pt x="972" y="12"/>
                    </a:lnTo>
                    <a:lnTo>
                      <a:pt x="978" y="12"/>
                    </a:lnTo>
                    <a:lnTo>
                      <a:pt x="990" y="12"/>
                    </a:lnTo>
                    <a:lnTo>
                      <a:pt x="996" y="6"/>
                    </a:lnTo>
                    <a:lnTo>
                      <a:pt x="1002" y="6"/>
                    </a:lnTo>
                    <a:lnTo>
                      <a:pt x="1008" y="6"/>
                    </a:lnTo>
                    <a:lnTo>
                      <a:pt x="1014" y="6"/>
                    </a:lnTo>
                    <a:lnTo>
                      <a:pt x="1020" y="6"/>
                    </a:lnTo>
                    <a:lnTo>
                      <a:pt x="1020" y="0"/>
                    </a:lnTo>
                    <a:lnTo>
                      <a:pt x="1026" y="0"/>
                    </a:lnTo>
                    <a:lnTo>
                      <a:pt x="1032" y="0"/>
                    </a:lnTo>
                    <a:lnTo>
                      <a:pt x="103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02" name="Freeform 12"/>
              <p:cNvSpPr>
                <a:spLocks noChangeAspect="1" noEditPoints="1"/>
              </p:cNvSpPr>
              <p:nvPr/>
            </p:nvSpPr>
            <p:spPr bwMode="auto">
              <a:xfrm>
                <a:off x="2976710" y="5586316"/>
                <a:ext cx="308656" cy="316855"/>
              </a:xfrm>
              <a:custGeom>
                <a:avLst/>
                <a:gdLst>
                  <a:gd name="T0" fmla="*/ 2147483647 w 2700"/>
                  <a:gd name="T1" fmla="*/ 2147483647 h 2772"/>
                  <a:gd name="T2" fmla="*/ 2147483647 w 2700"/>
                  <a:gd name="T3" fmla="*/ 2147483647 h 2772"/>
                  <a:gd name="T4" fmla="*/ 2147483647 w 2700"/>
                  <a:gd name="T5" fmla="*/ 2147483647 h 2772"/>
                  <a:gd name="T6" fmla="*/ 2147483647 w 2700"/>
                  <a:gd name="T7" fmla="*/ 2147483647 h 2772"/>
                  <a:gd name="T8" fmla="*/ 2147483647 w 2700"/>
                  <a:gd name="T9" fmla="*/ 2147483647 h 2772"/>
                  <a:gd name="T10" fmla="*/ 2147483647 w 2700"/>
                  <a:gd name="T11" fmla="*/ 2147483647 h 2772"/>
                  <a:gd name="T12" fmla="*/ 2147483647 w 2700"/>
                  <a:gd name="T13" fmla="*/ 2147483647 h 2772"/>
                  <a:gd name="T14" fmla="*/ 2147483647 w 2700"/>
                  <a:gd name="T15" fmla="*/ 2147483647 h 2772"/>
                  <a:gd name="T16" fmla="*/ 2147483647 w 2700"/>
                  <a:gd name="T17" fmla="*/ 2147483647 h 2772"/>
                  <a:gd name="T18" fmla="*/ 2147483647 w 2700"/>
                  <a:gd name="T19" fmla="*/ 2147483647 h 2772"/>
                  <a:gd name="T20" fmla="*/ 2147483647 w 2700"/>
                  <a:gd name="T21" fmla="*/ 2147483647 h 2772"/>
                  <a:gd name="T22" fmla="*/ 2147483647 w 2700"/>
                  <a:gd name="T23" fmla="*/ 2147483647 h 2772"/>
                  <a:gd name="T24" fmla="*/ 2147483647 w 2700"/>
                  <a:gd name="T25" fmla="*/ 2147483647 h 2772"/>
                  <a:gd name="T26" fmla="*/ 2147483647 w 2700"/>
                  <a:gd name="T27" fmla="*/ 2147483647 h 2772"/>
                  <a:gd name="T28" fmla="*/ 2147483647 w 2700"/>
                  <a:gd name="T29" fmla="*/ 2147483647 h 2772"/>
                  <a:gd name="T30" fmla="*/ 2147483647 w 2700"/>
                  <a:gd name="T31" fmla="*/ 2147483647 h 2772"/>
                  <a:gd name="T32" fmla="*/ 2147483647 w 2700"/>
                  <a:gd name="T33" fmla="*/ 2147483647 h 2772"/>
                  <a:gd name="T34" fmla="*/ 2147483647 w 2700"/>
                  <a:gd name="T35" fmla="*/ 2147483647 h 2772"/>
                  <a:gd name="T36" fmla="*/ 2147483647 w 2700"/>
                  <a:gd name="T37" fmla="*/ 2147483647 h 2772"/>
                  <a:gd name="T38" fmla="*/ 2147483647 w 2700"/>
                  <a:gd name="T39" fmla="*/ 2147483647 h 2772"/>
                  <a:gd name="T40" fmla="*/ 2147483647 w 2700"/>
                  <a:gd name="T41" fmla="*/ 2147483647 h 2772"/>
                  <a:gd name="T42" fmla="*/ 2147483647 w 2700"/>
                  <a:gd name="T43" fmla="*/ 2147483647 h 2772"/>
                  <a:gd name="T44" fmla="*/ 2147483647 w 2700"/>
                  <a:gd name="T45" fmla="*/ 2147483647 h 2772"/>
                  <a:gd name="T46" fmla="*/ 2147483647 w 2700"/>
                  <a:gd name="T47" fmla="*/ 2147483647 h 2772"/>
                  <a:gd name="T48" fmla="*/ 2147483647 w 2700"/>
                  <a:gd name="T49" fmla="*/ 2147483647 h 2772"/>
                  <a:gd name="T50" fmla="*/ 2147483647 w 2700"/>
                  <a:gd name="T51" fmla="*/ 2147483647 h 2772"/>
                  <a:gd name="T52" fmla="*/ 2147483647 w 2700"/>
                  <a:gd name="T53" fmla="*/ 2147483647 h 2772"/>
                  <a:gd name="T54" fmla="*/ 2147483647 w 2700"/>
                  <a:gd name="T55" fmla="*/ 2147483647 h 2772"/>
                  <a:gd name="T56" fmla="*/ 2147483647 w 2700"/>
                  <a:gd name="T57" fmla="*/ 2147483647 h 2772"/>
                  <a:gd name="T58" fmla="*/ 2147483647 w 2700"/>
                  <a:gd name="T59" fmla="*/ 2147483647 h 2772"/>
                  <a:gd name="T60" fmla="*/ 2147483647 w 2700"/>
                  <a:gd name="T61" fmla="*/ 2147483647 h 2772"/>
                  <a:gd name="T62" fmla="*/ 2147483647 w 2700"/>
                  <a:gd name="T63" fmla="*/ 2147483647 h 2772"/>
                  <a:gd name="T64" fmla="*/ 2147483647 w 2700"/>
                  <a:gd name="T65" fmla="*/ 2147483647 h 2772"/>
                  <a:gd name="T66" fmla="*/ 2147483647 w 2700"/>
                  <a:gd name="T67" fmla="*/ 2147483647 h 2772"/>
                  <a:gd name="T68" fmla="*/ 2147483647 w 2700"/>
                  <a:gd name="T69" fmla="*/ 2147483647 h 2772"/>
                  <a:gd name="T70" fmla="*/ 2147483647 w 2700"/>
                  <a:gd name="T71" fmla="*/ 2147483647 h 2772"/>
                  <a:gd name="T72" fmla="*/ 2147483647 w 2700"/>
                  <a:gd name="T73" fmla="*/ 2147483647 h 2772"/>
                  <a:gd name="T74" fmla="*/ 2147483647 w 2700"/>
                  <a:gd name="T75" fmla="*/ 2147483647 h 2772"/>
                  <a:gd name="T76" fmla="*/ 2147483647 w 2700"/>
                  <a:gd name="T77" fmla="*/ 2147483647 h 2772"/>
                  <a:gd name="T78" fmla="*/ 2147483647 w 2700"/>
                  <a:gd name="T79" fmla="*/ 2147483647 h 2772"/>
                  <a:gd name="T80" fmla="*/ 2147483647 w 2700"/>
                  <a:gd name="T81" fmla="*/ 2147483647 h 2772"/>
                  <a:gd name="T82" fmla="*/ 2147483647 w 2700"/>
                  <a:gd name="T83" fmla="*/ 2147483647 h 2772"/>
                  <a:gd name="T84" fmla="*/ 2147483647 w 2700"/>
                  <a:gd name="T85" fmla="*/ 2147483647 h 2772"/>
                  <a:gd name="T86" fmla="*/ 2147483647 w 2700"/>
                  <a:gd name="T87" fmla="*/ 2147483647 h 2772"/>
                  <a:gd name="T88" fmla="*/ 2147483647 w 2700"/>
                  <a:gd name="T89" fmla="*/ 2147483647 h 2772"/>
                  <a:gd name="T90" fmla="*/ 2147483647 w 2700"/>
                  <a:gd name="T91" fmla="*/ 2147483647 h 2772"/>
                  <a:gd name="T92" fmla="*/ 2147483647 w 2700"/>
                  <a:gd name="T93" fmla="*/ 2147483647 h 2772"/>
                  <a:gd name="T94" fmla="*/ 2147483647 w 2700"/>
                  <a:gd name="T95" fmla="*/ 2147483647 h 2772"/>
                  <a:gd name="T96" fmla="*/ 2147483647 w 2700"/>
                  <a:gd name="T97" fmla="*/ 2147483647 h 2772"/>
                  <a:gd name="T98" fmla="*/ 2147483647 w 2700"/>
                  <a:gd name="T99" fmla="*/ 2147483647 h 2772"/>
                  <a:gd name="T100" fmla="*/ 2147483647 w 2700"/>
                  <a:gd name="T101" fmla="*/ 2147483647 h 2772"/>
                  <a:gd name="T102" fmla="*/ 2147483647 w 2700"/>
                  <a:gd name="T103" fmla="*/ 2147483647 h 2772"/>
                  <a:gd name="T104" fmla="*/ 2147483647 w 2700"/>
                  <a:gd name="T105" fmla="*/ 2147483647 h 2772"/>
                  <a:gd name="T106" fmla="*/ 2147483647 w 2700"/>
                  <a:gd name="T107" fmla="*/ 2147483647 h 2772"/>
                  <a:gd name="T108" fmla="*/ 2147483647 w 2700"/>
                  <a:gd name="T109" fmla="*/ 2147483647 h 2772"/>
                  <a:gd name="T110" fmla="*/ 2147483647 w 2700"/>
                  <a:gd name="T111" fmla="*/ 2147483647 h 2772"/>
                  <a:gd name="T112" fmla="*/ 2147483647 w 2700"/>
                  <a:gd name="T113" fmla="*/ 2147483647 h 2772"/>
                  <a:gd name="T114" fmla="*/ 2147483647 w 2700"/>
                  <a:gd name="T115" fmla="*/ 2147483647 h 2772"/>
                  <a:gd name="T116" fmla="*/ 2147483647 w 2700"/>
                  <a:gd name="T117" fmla="*/ 2147483647 h 2772"/>
                  <a:gd name="T118" fmla="*/ 2147483647 w 2700"/>
                  <a:gd name="T119" fmla="*/ 2147483647 h 2772"/>
                  <a:gd name="T120" fmla="*/ 2147483647 w 2700"/>
                  <a:gd name="T121" fmla="*/ 2147483647 h 2772"/>
                  <a:gd name="T122" fmla="*/ 2147483647 w 2700"/>
                  <a:gd name="T123" fmla="*/ 2147483647 h 27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700" h="2772">
                    <a:moveTo>
                      <a:pt x="156" y="1614"/>
                    </a:moveTo>
                    <a:lnTo>
                      <a:pt x="162" y="1614"/>
                    </a:lnTo>
                    <a:lnTo>
                      <a:pt x="162" y="1620"/>
                    </a:lnTo>
                    <a:lnTo>
                      <a:pt x="156" y="1620"/>
                    </a:lnTo>
                    <a:lnTo>
                      <a:pt x="156" y="1614"/>
                    </a:lnTo>
                    <a:close/>
                    <a:moveTo>
                      <a:pt x="156" y="1608"/>
                    </a:moveTo>
                    <a:lnTo>
                      <a:pt x="156" y="1614"/>
                    </a:lnTo>
                    <a:lnTo>
                      <a:pt x="157" y="1614"/>
                    </a:lnTo>
                    <a:lnTo>
                      <a:pt x="156" y="1608"/>
                    </a:lnTo>
                    <a:close/>
                    <a:moveTo>
                      <a:pt x="150" y="1608"/>
                    </a:moveTo>
                    <a:lnTo>
                      <a:pt x="156" y="1608"/>
                    </a:lnTo>
                    <a:lnTo>
                      <a:pt x="150" y="1608"/>
                    </a:lnTo>
                    <a:close/>
                    <a:moveTo>
                      <a:pt x="150" y="1602"/>
                    </a:moveTo>
                    <a:lnTo>
                      <a:pt x="150" y="1608"/>
                    </a:lnTo>
                    <a:lnTo>
                      <a:pt x="151" y="1608"/>
                    </a:lnTo>
                    <a:lnTo>
                      <a:pt x="150" y="1602"/>
                    </a:lnTo>
                    <a:close/>
                    <a:moveTo>
                      <a:pt x="1032" y="36"/>
                    </a:moveTo>
                    <a:lnTo>
                      <a:pt x="1038" y="42"/>
                    </a:lnTo>
                    <a:lnTo>
                      <a:pt x="1050" y="42"/>
                    </a:lnTo>
                    <a:lnTo>
                      <a:pt x="1056" y="48"/>
                    </a:lnTo>
                    <a:lnTo>
                      <a:pt x="1062" y="48"/>
                    </a:lnTo>
                    <a:lnTo>
                      <a:pt x="1068" y="48"/>
                    </a:lnTo>
                    <a:lnTo>
                      <a:pt x="1068" y="54"/>
                    </a:lnTo>
                    <a:lnTo>
                      <a:pt x="1074" y="54"/>
                    </a:lnTo>
                    <a:lnTo>
                      <a:pt x="1080" y="54"/>
                    </a:lnTo>
                    <a:lnTo>
                      <a:pt x="1086" y="54"/>
                    </a:lnTo>
                    <a:lnTo>
                      <a:pt x="1086" y="60"/>
                    </a:lnTo>
                    <a:lnTo>
                      <a:pt x="1092" y="66"/>
                    </a:lnTo>
                    <a:lnTo>
                      <a:pt x="1092" y="72"/>
                    </a:lnTo>
                    <a:lnTo>
                      <a:pt x="1104" y="78"/>
                    </a:lnTo>
                    <a:lnTo>
                      <a:pt x="1110" y="84"/>
                    </a:lnTo>
                    <a:lnTo>
                      <a:pt x="1116" y="84"/>
                    </a:lnTo>
                    <a:lnTo>
                      <a:pt x="1122" y="90"/>
                    </a:lnTo>
                    <a:lnTo>
                      <a:pt x="1122" y="96"/>
                    </a:lnTo>
                    <a:lnTo>
                      <a:pt x="1128" y="102"/>
                    </a:lnTo>
                    <a:lnTo>
                      <a:pt x="1134" y="108"/>
                    </a:lnTo>
                    <a:lnTo>
                      <a:pt x="1134" y="114"/>
                    </a:lnTo>
                    <a:lnTo>
                      <a:pt x="1134" y="120"/>
                    </a:lnTo>
                    <a:lnTo>
                      <a:pt x="1140" y="126"/>
                    </a:lnTo>
                    <a:lnTo>
                      <a:pt x="1140" y="132"/>
                    </a:lnTo>
                    <a:lnTo>
                      <a:pt x="1140" y="126"/>
                    </a:lnTo>
                    <a:lnTo>
                      <a:pt x="1146" y="126"/>
                    </a:lnTo>
                    <a:lnTo>
                      <a:pt x="1146" y="132"/>
                    </a:lnTo>
                    <a:lnTo>
                      <a:pt x="1152" y="132"/>
                    </a:lnTo>
                    <a:lnTo>
                      <a:pt x="1146" y="138"/>
                    </a:lnTo>
                    <a:lnTo>
                      <a:pt x="1146" y="144"/>
                    </a:lnTo>
                    <a:lnTo>
                      <a:pt x="1146" y="150"/>
                    </a:lnTo>
                    <a:lnTo>
                      <a:pt x="1152" y="150"/>
                    </a:lnTo>
                    <a:lnTo>
                      <a:pt x="1158" y="156"/>
                    </a:lnTo>
                    <a:lnTo>
                      <a:pt x="1158" y="162"/>
                    </a:lnTo>
                    <a:lnTo>
                      <a:pt x="1158" y="168"/>
                    </a:lnTo>
                    <a:lnTo>
                      <a:pt x="1164" y="168"/>
                    </a:lnTo>
                    <a:lnTo>
                      <a:pt x="1170" y="174"/>
                    </a:lnTo>
                    <a:lnTo>
                      <a:pt x="1170" y="180"/>
                    </a:lnTo>
                    <a:lnTo>
                      <a:pt x="1164" y="180"/>
                    </a:lnTo>
                    <a:lnTo>
                      <a:pt x="1170" y="186"/>
                    </a:lnTo>
                    <a:lnTo>
                      <a:pt x="1176" y="186"/>
                    </a:lnTo>
                    <a:lnTo>
                      <a:pt x="1176" y="192"/>
                    </a:lnTo>
                    <a:lnTo>
                      <a:pt x="1182" y="198"/>
                    </a:lnTo>
                    <a:lnTo>
                      <a:pt x="1182" y="204"/>
                    </a:lnTo>
                    <a:lnTo>
                      <a:pt x="1182" y="210"/>
                    </a:lnTo>
                    <a:lnTo>
                      <a:pt x="1188" y="210"/>
                    </a:lnTo>
                    <a:lnTo>
                      <a:pt x="1194" y="210"/>
                    </a:lnTo>
                    <a:lnTo>
                      <a:pt x="1194" y="216"/>
                    </a:lnTo>
                    <a:lnTo>
                      <a:pt x="1194" y="222"/>
                    </a:lnTo>
                    <a:lnTo>
                      <a:pt x="1200" y="222"/>
                    </a:lnTo>
                    <a:lnTo>
                      <a:pt x="1200" y="216"/>
                    </a:lnTo>
                    <a:lnTo>
                      <a:pt x="1200" y="222"/>
                    </a:lnTo>
                    <a:lnTo>
                      <a:pt x="1200" y="228"/>
                    </a:lnTo>
                    <a:lnTo>
                      <a:pt x="1200" y="234"/>
                    </a:lnTo>
                    <a:lnTo>
                      <a:pt x="1206" y="228"/>
                    </a:lnTo>
                    <a:lnTo>
                      <a:pt x="1212" y="228"/>
                    </a:lnTo>
                    <a:lnTo>
                      <a:pt x="1218" y="228"/>
                    </a:lnTo>
                    <a:lnTo>
                      <a:pt x="1218" y="234"/>
                    </a:lnTo>
                    <a:lnTo>
                      <a:pt x="1212" y="234"/>
                    </a:lnTo>
                    <a:lnTo>
                      <a:pt x="1206" y="234"/>
                    </a:lnTo>
                    <a:lnTo>
                      <a:pt x="1206" y="246"/>
                    </a:lnTo>
                    <a:lnTo>
                      <a:pt x="1206" y="252"/>
                    </a:lnTo>
                    <a:lnTo>
                      <a:pt x="1212" y="258"/>
                    </a:lnTo>
                    <a:lnTo>
                      <a:pt x="1224" y="270"/>
                    </a:lnTo>
                    <a:lnTo>
                      <a:pt x="1224" y="276"/>
                    </a:lnTo>
                    <a:lnTo>
                      <a:pt x="1218" y="276"/>
                    </a:lnTo>
                    <a:lnTo>
                      <a:pt x="1218" y="282"/>
                    </a:lnTo>
                    <a:lnTo>
                      <a:pt x="1212" y="282"/>
                    </a:lnTo>
                    <a:lnTo>
                      <a:pt x="1212" y="288"/>
                    </a:lnTo>
                    <a:lnTo>
                      <a:pt x="1218" y="288"/>
                    </a:lnTo>
                    <a:lnTo>
                      <a:pt x="1224" y="294"/>
                    </a:lnTo>
                    <a:lnTo>
                      <a:pt x="1218" y="306"/>
                    </a:lnTo>
                    <a:lnTo>
                      <a:pt x="1218" y="312"/>
                    </a:lnTo>
                    <a:lnTo>
                      <a:pt x="1224" y="312"/>
                    </a:lnTo>
                    <a:lnTo>
                      <a:pt x="1230" y="318"/>
                    </a:lnTo>
                    <a:lnTo>
                      <a:pt x="1236" y="324"/>
                    </a:lnTo>
                    <a:lnTo>
                      <a:pt x="1236" y="336"/>
                    </a:lnTo>
                    <a:lnTo>
                      <a:pt x="1242" y="336"/>
                    </a:lnTo>
                    <a:lnTo>
                      <a:pt x="1242" y="342"/>
                    </a:lnTo>
                    <a:lnTo>
                      <a:pt x="1242" y="348"/>
                    </a:lnTo>
                    <a:lnTo>
                      <a:pt x="1242" y="354"/>
                    </a:lnTo>
                    <a:lnTo>
                      <a:pt x="1254" y="348"/>
                    </a:lnTo>
                    <a:lnTo>
                      <a:pt x="1254" y="360"/>
                    </a:lnTo>
                    <a:lnTo>
                      <a:pt x="1254" y="366"/>
                    </a:lnTo>
                    <a:lnTo>
                      <a:pt x="1260" y="366"/>
                    </a:lnTo>
                    <a:lnTo>
                      <a:pt x="1260" y="372"/>
                    </a:lnTo>
                    <a:lnTo>
                      <a:pt x="1260" y="378"/>
                    </a:lnTo>
                    <a:lnTo>
                      <a:pt x="1260" y="384"/>
                    </a:lnTo>
                    <a:lnTo>
                      <a:pt x="1260" y="390"/>
                    </a:lnTo>
                    <a:lnTo>
                      <a:pt x="1266" y="390"/>
                    </a:lnTo>
                    <a:lnTo>
                      <a:pt x="1266" y="396"/>
                    </a:lnTo>
                    <a:lnTo>
                      <a:pt x="1272" y="396"/>
                    </a:lnTo>
                    <a:lnTo>
                      <a:pt x="1272" y="402"/>
                    </a:lnTo>
                    <a:lnTo>
                      <a:pt x="1266" y="408"/>
                    </a:lnTo>
                    <a:lnTo>
                      <a:pt x="1266" y="414"/>
                    </a:lnTo>
                    <a:lnTo>
                      <a:pt x="1272" y="426"/>
                    </a:lnTo>
                    <a:lnTo>
                      <a:pt x="1266" y="432"/>
                    </a:lnTo>
                    <a:lnTo>
                      <a:pt x="1272" y="438"/>
                    </a:lnTo>
                    <a:lnTo>
                      <a:pt x="1272" y="444"/>
                    </a:lnTo>
                    <a:lnTo>
                      <a:pt x="1272" y="450"/>
                    </a:lnTo>
                    <a:lnTo>
                      <a:pt x="1266" y="450"/>
                    </a:lnTo>
                    <a:lnTo>
                      <a:pt x="1272" y="456"/>
                    </a:lnTo>
                    <a:lnTo>
                      <a:pt x="1278" y="456"/>
                    </a:lnTo>
                    <a:lnTo>
                      <a:pt x="1278" y="462"/>
                    </a:lnTo>
                    <a:lnTo>
                      <a:pt x="1278" y="468"/>
                    </a:lnTo>
                    <a:lnTo>
                      <a:pt x="1272" y="468"/>
                    </a:lnTo>
                    <a:lnTo>
                      <a:pt x="1272" y="474"/>
                    </a:lnTo>
                    <a:lnTo>
                      <a:pt x="1266" y="474"/>
                    </a:lnTo>
                    <a:lnTo>
                      <a:pt x="1266" y="480"/>
                    </a:lnTo>
                    <a:lnTo>
                      <a:pt x="1266" y="492"/>
                    </a:lnTo>
                    <a:lnTo>
                      <a:pt x="1260" y="498"/>
                    </a:lnTo>
                    <a:lnTo>
                      <a:pt x="1260" y="504"/>
                    </a:lnTo>
                    <a:lnTo>
                      <a:pt x="1254" y="510"/>
                    </a:lnTo>
                    <a:lnTo>
                      <a:pt x="1248" y="510"/>
                    </a:lnTo>
                    <a:lnTo>
                      <a:pt x="1248" y="516"/>
                    </a:lnTo>
                    <a:lnTo>
                      <a:pt x="1242" y="522"/>
                    </a:lnTo>
                    <a:lnTo>
                      <a:pt x="1236" y="528"/>
                    </a:lnTo>
                    <a:lnTo>
                      <a:pt x="1236" y="534"/>
                    </a:lnTo>
                    <a:lnTo>
                      <a:pt x="1236" y="540"/>
                    </a:lnTo>
                    <a:lnTo>
                      <a:pt x="1230" y="540"/>
                    </a:lnTo>
                    <a:lnTo>
                      <a:pt x="1230" y="552"/>
                    </a:lnTo>
                    <a:lnTo>
                      <a:pt x="1224" y="552"/>
                    </a:lnTo>
                    <a:lnTo>
                      <a:pt x="1224" y="558"/>
                    </a:lnTo>
                    <a:lnTo>
                      <a:pt x="1218" y="558"/>
                    </a:lnTo>
                    <a:lnTo>
                      <a:pt x="1218" y="564"/>
                    </a:lnTo>
                    <a:lnTo>
                      <a:pt x="1212" y="564"/>
                    </a:lnTo>
                    <a:lnTo>
                      <a:pt x="1206" y="576"/>
                    </a:lnTo>
                    <a:lnTo>
                      <a:pt x="1206" y="588"/>
                    </a:lnTo>
                    <a:lnTo>
                      <a:pt x="1206" y="594"/>
                    </a:lnTo>
                    <a:lnTo>
                      <a:pt x="1206" y="606"/>
                    </a:lnTo>
                    <a:lnTo>
                      <a:pt x="1212" y="612"/>
                    </a:lnTo>
                    <a:lnTo>
                      <a:pt x="1212" y="618"/>
                    </a:lnTo>
                    <a:lnTo>
                      <a:pt x="1218" y="624"/>
                    </a:lnTo>
                    <a:lnTo>
                      <a:pt x="1218" y="630"/>
                    </a:lnTo>
                    <a:lnTo>
                      <a:pt x="1218" y="642"/>
                    </a:lnTo>
                    <a:lnTo>
                      <a:pt x="1212" y="648"/>
                    </a:lnTo>
                    <a:lnTo>
                      <a:pt x="1212" y="654"/>
                    </a:lnTo>
                    <a:lnTo>
                      <a:pt x="1218" y="666"/>
                    </a:lnTo>
                    <a:lnTo>
                      <a:pt x="1218" y="672"/>
                    </a:lnTo>
                    <a:lnTo>
                      <a:pt x="1218" y="678"/>
                    </a:lnTo>
                    <a:lnTo>
                      <a:pt x="1218" y="684"/>
                    </a:lnTo>
                    <a:lnTo>
                      <a:pt x="1218" y="690"/>
                    </a:lnTo>
                    <a:lnTo>
                      <a:pt x="1224" y="690"/>
                    </a:lnTo>
                    <a:lnTo>
                      <a:pt x="1224" y="696"/>
                    </a:lnTo>
                    <a:lnTo>
                      <a:pt x="1224" y="702"/>
                    </a:lnTo>
                    <a:lnTo>
                      <a:pt x="1230" y="702"/>
                    </a:lnTo>
                    <a:lnTo>
                      <a:pt x="1236" y="702"/>
                    </a:lnTo>
                    <a:lnTo>
                      <a:pt x="1236" y="714"/>
                    </a:lnTo>
                    <a:lnTo>
                      <a:pt x="1236" y="720"/>
                    </a:lnTo>
                    <a:lnTo>
                      <a:pt x="1242" y="720"/>
                    </a:lnTo>
                    <a:lnTo>
                      <a:pt x="1242" y="714"/>
                    </a:lnTo>
                    <a:lnTo>
                      <a:pt x="1248" y="708"/>
                    </a:lnTo>
                    <a:lnTo>
                      <a:pt x="1254" y="708"/>
                    </a:lnTo>
                    <a:lnTo>
                      <a:pt x="1260" y="708"/>
                    </a:lnTo>
                    <a:lnTo>
                      <a:pt x="1260" y="702"/>
                    </a:lnTo>
                    <a:lnTo>
                      <a:pt x="1266" y="702"/>
                    </a:lnTo>
                    <a:lnTo>
                      <a:pt x="1266" y="696"/>
                    </a:lnTo>
                    <a:lnTo>
                      <a:pt x="1272" y="696"/>
                    </a:lnTo>
                    <a:lnTo>
                      <a:pt x="1278" y="690"/>
                    </a:lnTo>
                    <a:lnTo>
                      <a:pt x="1284" y="690"/>
                    </a:lnTo>
                    <a:lnTo>
                      <a:pt x="1290" y="684"/>
                    </a:lnTo>
                    <a:lnTo>
                      <a:pt x="1296" y="684"/>
                    </a:lnTo>
                    <a:lnTo>
                      <a:pt x="1302" y="684"/>
                    </a:lnTo>
                    <a:lnTo>
                      <a:pt x="1308" y="684"/>
                    </a:lnTo>
                    <a:lnTo>
                      <a:pt x="1314" y="684"/>
                    </a:lnTo>
                    <a:lnTo>
                      <a:pt x="1320" y="684"/>
                    </a:lnTo>
                    <a:lnTo>
                      <a:pt x="1326" y="690"/>
                    </a:lnTo>
                    <a:lnTo>
                      <a:pt x="1326" y="696"/>
                    </a:lnTo>
                    <a:lnTo>
                      <a:pt x="1332" y="696"/>
                    </a:lnTo>
                    <a:lnTo>
                      <a:pt x="1338" y="702"/>
                    </a:lnTo>
                    <a:lnTo>
                      <a:pt x="1344" y="702"/>
                    </a:lnTo>
                    <a:lnTo>
                      <a:pt x="1356" y="702"/>
                    </a:lnTo>
                    <a:lnTo>
                      <a:pt x="1374" y="708"/>
                    </a:lnTo>
                    <a:lnTo>
                      <a:pt x="1380" y="708"/>
                    </a:lnTo>
                    <a:lnTo>
                      <a:pt x="1380" y="702"/>
                    </a:lnTo>
                    <a:lnTo>
                      <a:pt x="1392" y="696"/>
                    </a:lnTo>
                    <a:lnTo>
                      <a:pt x="1398" y="696"/>
                    </a:lnTo>
                    <a:lnTo>
                      <a:pt x="1404" y="696"/>
                    </a:lnTo>
                    <a:lnTo>
                      <a:pt x="1410" y="696"/>
                    </a:lnTo>
                    <a:lnTo>
                      <a:pt x="1416" y="696"/>
                    </a:lnTo>
                    <a:lnTo>
                      <a:pt x="1422" y="696"/>
                    </a:lnTo>
                    <a:lnTo>
                      <a:pt x="1428" y="690"/>
                    </a:lnTo>
                    <a:lnTo>
                      <a:pt x="1434" y="690"/>
                    </a:lnTo>
                    <a:lnTo>
                      <a:pt x="1440" y="690"/>
                    </a:lnTo>
                    <a:lnTo>
                      <a:pt x="1446" y="690"/>
                    </a:lnTo>
                    <a:lnTo>
                      <a:pt x="1452" y="690"/>
                    </a:lnTo>
                    <a:lnTo>
                      <a:pt x="1458" y="690"/>
                    </a:lnTo>
                    <a:lnTo>
                      <a:pt x="1464" y="690"/>
                    </a:lnTo>
                    <a:lnTo>
                      <a:pt x="1470" y="696"/>
                    </a:lnTo>
                    <a:lnTo>
                      <a:pt x="1476" y="696"/>
                    </a:lnTo>
                    <a:lnTo>
                      <a:pt x="1482" y="696"/>
                    </a:lnTo>
                    <a:lnTo>
                      <a:pt x="1488" y="696"/>
                    </a:lnTo>
                    <a:lnTo>
                      <a:pt x="1494" y="696"/>
                    </a:lnTo>
                    <a:lnTo>
                      <a:pt x="1500" y="696"/>
                    </a:lnTo>
                    <a:lnTo>
                      <a:pt x="1506" y="696"/>
                    </a:lnTo>
                    <a:lnTo>
                      <a:pt x="1512" y="696"/>
                    </a:lnTo>
                    <a:lnTo>
                      <a:pt x="1518" y="702"/>
                    </a:lnTo>
                    <a:lnTo>
                      <a:pt x="1524" y="702"/>
                    </a:lnTo>
                    <a:lnTo>
                      <a:pt x="1524" y="696"/>
                    </a:lnTo>
                    <a:lnTo>
                      <a:pt x="1530" y="702"/>
                    </a:lnTo>
                    <a:lnTo>
                      <a:pt x="1530" y="696"/>
                    </a:lnTo>
                    <a:lnTo>
                      <a:pt x="1536" y="696"/>
                    </a:lnTo>
                    <a:lnTo>
                      <a:pt x="1542" y="696"/>
                    </a:lnTo>
                    <a:lnTo>
                      <a:pt x="1554" y="684"/>
                    </a:lnTo>
                    <a:lnTo>
                      <a:pt x="1560" y="684"/>
                    </a:lnTo>
                    <a:lnTo>
                      <a:pt x="1560" y="678"/>
                    </a:lnTo>
                    <a:lnTo>
                      <a:pt x="1566" y="678"/>
                    </a:lnTo>
                    <a:lnTo>
                      <a:pt x="1566" y="672"/>
                    </a:lnTo>
                    <a:lnTo>
                      <a:pt x="1566" y="666"/>
                    </a:lnTo>
                    <a:lnTo>
                      <a:pt x="1566" y="660"/>
                    </a:lnTo>
                    <a:lnTo>
                      <a:pt x="1566" y="648"/>
                    </a:lnTo>
                    <a:lnTo>
                      <a:pt x="1560" y="648"/>
                    </a:lnTo>
                    <a:lnTo>
                      <a:pt x="1560" y="642"/>
                    </a:lnTo>
                    <a:lnTo>
                      <a:pt x="1566" y="636"/>
                    </a:lnTo>
                    <a:lnTo>
                      <a:pt x="1572" y="630"/>
                    </a:lnTo>
                    <a:lnTo>
                      <a:pt x="1578" y="630"/>
                    </a:lnTo>
                    <a:lnTo>
                      <a:pt x="1584" y="630"/>
                    </a:lnTo>
                    <a:lnTo>
                      <a:pt x="1590" y="630"/>
                    </a:lnTo>
                    <a:lnTo>
                      <a:pt x="1602" y="630"/>
                    </a:lnTo>
                    <a:lnTo>
                      <a:pt x="1608" y="630"/>
                    </a:lnTo>
                    <a:lnTo>
                      <a:pt x="1614" y="630"/>
                    </a:lnTo>
                    <a:lnTo>
                      <a:pt x="1620" y="630"/>
                    </a:lnTo>
                    <a:lnTo>
                      <a:pt x="1632" y="624"/>
                    </a:lnTo>
                    <a:lnTo>
                      <a:pt x="1638" y="618"/>
                    </a:lnTo>
                    <a:lnTo>
                      <a:pt x="1644" y="618"/>
                    </a:lnTo>
                    <a:lnTo>
                      <a:pt x="1650" y="612"/>
                    </a:lnTo>
                    <a:lnTo>
                      <a:pt x="1650" y="606"/>
                    </a:lnTo>
                    <a:lnTo>
                      <a:pt x="1656" y="600"/>
                    </a:lnTo>
                    <a:lnTo>
                      <a:pt x="1662" y="588"/>
                    </a:lnTo>
                    <a:lnTo>
                      <a:pt x="1668" y="588"/>
                    </a:lnTo>
                    <a:lnTo>
                      <a:pt x="1668" y="582"/>
                    </a:lnTo>
                    <a:lnTo>
                      <a:pt x="1674" y="582"/>
                    </a:lnTo>
                    <a:lnTo>
                      <a:pt x="1674" y="576"/>
                    </a:lnTo>
                    <a:lnTo>
                      <a:pt x="1680" y="576"/>
                    </a:lnTo>
                    <a:lnTo>
                      <a:pt x="1680" y="570"/>
                    </a:lnTo>
                    <a:lnTo>
                      <a:pt x="1680" y="564"/>
                    </a:lnTo>
                    <a:lnTo>
                      <a:pt x="1686" y="564"/>
                    </a:lnTo>
                    <a:lnTo>
                      <a:pt x="1686" y="558"/>
                    </a:lnTo>
                    <a:lnTo>
                      <a:pt x="1686" y="552"/>
                    </a:lnTo>
                    <a:lnTo>
                      <a:pt x="1686" y="546"/>
                    </a:lnTo>
                    <a:lnTo>
                      <a:pt x="1692" y="546"/>
                    </a:lnTo>
                    <a:lnTo>
                      <a:pt x="1686" y="540"/>
                    </a:lnTo>
                    <a:lnTo>
                      <a:pt x="1692" y="534"/>
                    </a:lnTo>
                    <a:lnTo>
                      <a:pt x="1698" y="534"/>
                    </a:lnTo>
                    <a:lnTo>
                      <a:pt x="1698" y="528"/>
                    </a:lnTo>
                    <a:lnTo>
                      <a:pt x="1704" y="522"/>
                    </a:lnTo>
                    <a:lnTo>
                      <a:pt x="1710" y="522"/>
                    </a:lnTo>
                    <a:lnTo>
                      <a:pt x="1716" y="516"/>
                    </a:lnTo>
                    <a:lnTo>
                      <a:pt x="1722" y="516"/>
                    </a:lnTo>
                    <a:lnTo>
                      <a:pt x="1728" y="510"/>
                    </a:lnTo>
                    <a:lnTo>
                      <a:pt x="1734" y="510"/>
                    </a:lnTo>
                    <a:lnTo>
                      <a:pt x="1740" y="510"/>
                    </a:lnTo>
                    <a:lnTo>
                      <a:pt x="1740" y="504"/>
                    </a:lnTo>
                    <a:lnTo>
                      <a:pt x="1740" y="498"/>
                    </a:lnTo>
                    <a:lnTo>
                      <a:pt x="1746" y="498"/>
                    </a:lnTo>
                    <a:lnTo>
                      <a:pt x="1752" y="492"/>
                    </a:lnTo>
                    <a:lnTo>
                      <a:pt x="1746" y="486"/>
                    </a:lnTo>
                    <a:lnTo>
                      <a:pt x="1752" y="486"/>
                    </a:lnTo>
                    <a:lnTo>
                      <a:pt x="1752" y="480"/>
                    </a:lnTo>
                    <a:lnTo>
                      <a:pt x="1758" y="474"/>
                    </a:lnTo>
                    <a:lnTo>
                      <a:pt x="1764" y="480"/>
                    </a:lnTo>
                    <a:lnTo>
                      <a:pt x="1770" y="474"/>
                    </a:lnTo>
                    <a:lnTo>
                      <a:pt x="1770" y="468"/>
                    </a:lnTo>
                    <a:lnTo>
                      <a:pt x="1782" y="474"/>
                    </a:lnTo>
                    <a:lnTo>
                      <a:pt x="1788" y="474"/>
                    </a:lnTo>
                    <a:lnTo>
                      <a:pt x="1794" y="474"/>
                    </a:lnTo>
                    <a:lnTo>
                      <a:pt x="1800" y="474"/>
                    </a:lnTo>
                    <a:lnTo>
                      <a:pt x="1800" y="468"/>
                    </a:lnTo>
                    <a:lnTo>
                      <a:pt x="1806" y="462"/>
                    </a:lnTo>
                    <a:lnTo>
                      <a:pt x="1806" y="456"/>
                    </a:lnTo>
                    <a:lnTo>
                      <a:pt x="1806" y="450"/>
                    </a:lnTo>
                    <a:lnTo>
                      <a:pt x="1812" y="450"/>
                    </a:lnTo>
                    <a:lnTo>
                      <a:pt x="1812" y="444"/>
                    </a:lnTo>
                    <a:lnTo>
                      <a:pt x="1818" y="444"/>
                    </a:lnTo>
                    <a:lnTo>
                      <a:pt x="1818" y="438"/>
                    </a:lnTo>
                    <a:lnTo>
                      <a:pt x="1836" y="438"/>
                    </a:lnTo>
                    <a:lnTo>
                      <a:pt x="1842" y="540"/>
                    </a:lnTo>
                    <a:lnTo>
                      <a:pt x="1836" y="546"/>
                    </a:lnTo>
                    <a:lnTo>
                      <a:pt x="1836" y="564"/>
                    </a:lnTo>
                    <a:lnTo>
                      <a:pt x="1842" y="570"/>
                    </a:lnTo>
                    <a:lnTo>
                      <a:pt x="1842" y="588"/>
                    </a:lnTo>
                    <a:lnTo>
                      <a:pt x="1842" y="594"/>
                    </a:lnTo>
                    <a:lnTo>
                      <a:pt x="1848" y="594"/>
                    </a:lnTo>
                    <a:lnTo>
                      <a:pt x="1854" y="594"/>
                    </a:lnTo>
                    <a:lnTo>
                      <a:pt x="1860" y="594"/>
                    </a:lnTo>
                    <a:lnTo>
                      <a:pt x="1860" y="588"/>
                    </a:lnTo>
                    <a:lnTo>
                      <a:pt x="1866" y="588"/>
                    </a:lnTo>
                    <a:lnTo>
                      <a:pt x="1872" y="588"/>
                    </a:lnTo>
                    <a:lnTo>
                      <a:pt x="1872" y="594"/>
                    </a:lnTo>
                    <a:lnTo>
                      <a:pt x="1884" y="588"/>
                    </a:lnTo>
                    <a:lnTo>
                      <a:pt x="1890" y="594"/>
                    </a:lnTo>
                    <a:lnTo>
                      <a:pt x="1890" y="600"/>
                    </a:lnTo>
                    <a:lnTo>
                      <a:pt x="1896" y="600"/>
                    </a:lnTo>
                    <a:lnTo>
                      <a:pt x="1902" y="600"/>
                    </a:lnTo>
                    <a:lnTo>
                      <a:pt x="1908" y="600"/>
                    </a:lnTo>
                    <a:lnTo>
                      <a:pt x="1914" y="600"/>
                    </a:lnTo>
                    <a:lnTo>
                      <a:pt x="1914" y="612"/>
                    </a:lnTo>
                    <a:lnTo>
                      <a:pt x="1920" y="612"/>
                    </a:lnTo>
                    <a:lnTo>
                      <a:pt x="1920" y="606"/>
                    </a:lnTo>
                    <a:lnTo>
                      <a:pt x="1926" y="606"/>
                    </a:lnTo>
                    <a:lnTo>
                      <a:pt x="1932" y="618"/>
                    </a:lnTo>
                    <a:lnTo>
                      <a:pt x="1938" y="624"/>
                    </a:lnTo>
                    <a:lnTo>
                      <a:pt x="1944" y="624"/>
                    </a:lnTo>
                    <a:lnTo>
                      <a:pt x="1950" y="624"/>
                    </a:lnTo>
                    <a:lnTo>
                      <a:pt x="1950" y="630"/>
                    </a:lnTo>
                    <a:lnTo>
                      <a:pt x="1944" y="642"/>
                    </a:lnTo>
                    <a:lnTo>
                      <a:pt x="1938" y="654"/>
                    </a:lnTo>
                    <a:lnTo>
                      <a:pt x="1944" y="660"/>
                    </a:lnTo>
                    <a:lnTo>
                      <a:pt x="1950" y="666"/>
                    </a:lnTo>
                    <a:lnTo>
                      <a:pt x="1938" y="672"/>
                    </a:lnTo>
                    <a:lnTo>
                      <a:pt x="1938" y="690"/>
                    </a:lnTo>
                    <a:lnTo>
                      <a:pt x="1944" y="702"/>
                    </a:lnTo>
                    <a:lnTo>
                      <a:pt x="1944" y="708"/>
                    </a:lnTo>
                    <a:lnTo>
                      <a:pt x="1944" y="720"/>
                    </a:lnTo>
                    <a:lnTo>
                      <a:pt x="1956" y="732"/>
                    </a:lnTo>
                    <a:lnTo>
                      <a:pt x="1956" y="738"/>
                    </a:lnTo>
                    <a:lnTo>
                      <a:pt x="1950" y="744"/>
                    </a:lnTo>
                    <a:lnTo>
                      <a:pt x="1938" y="744"/>
                    </a:lnTo>
                    <a:lnTo>
                      <a:pt x="1932" y="750"/>
                    </a:lnTo>
                    <a:lnTo>
                      <a:pt x="1932" y="762"/>
                    </a:lnTo>
                    <a:lnTo>
                      <a:pt x="1932" y="774"/>
                    </a:lnTo>
                    <a:lnTo>
                      <a:pt x="1938" y="792"/>
                    </a:lnTo>
                    <a:lnTo>
                      <a:pt x="1938" y="798"/>
                    </a:lnTo>
                    <a:lnTo>
                      <a:pt x="1944" y="804"/>
                    </a:lnTo>
                    <a:lnTo>
                      <a:pt x="1944" y="810"/>
                    </a:lnTo>
                    <a:lnTo>
                      <a:pt x="1956" y="804"/>
                    </a:lnTo>
                    <a:lnTo>
                      <a:pt x="1962" y="804"/>
                    </a:lnTo>
                    <a:lnTo>
                      <a:pt x="1968" y="804"/>
                    </a:lnTo>
                    <a:lnTo>
                      <a:pt x="1968" y="816"/>
                    </a:lnTo>
                    <a:lnTo>
                      <a:pt x="1974" y="816"/>
                    </a:lnTo>
                    <a:lnTo>
                      <a:pt x="1980" y="822"/>
                    </a:lnTo>
                    <a:lnTo>
                      <a:pt x="1986" y="828"/>
                    </a:lnTo>
                    <a:lnTo>
                      <a:pt x="1998" y="840"/>
                    </a:lnTo>
                    <a:lnTo>
                      <a:pt x="2004" y="852"/>
                    </a:lnTo>
                    <a:lnTo>
                      <a:pt x="2010" y="852"/>
                    </a:lnTo>
                    <a:lnTo>
                      <a:pt x="2016" y="852"/>
                    </a:lnTo>
                    <a:lnTo>
                      <a:pt x="2028" y="852"/>
                    </a:lnTo>
                    <a:lnTo>
                      <a:pt x="2040" y="858"/>
                    </a:lnTo>
                    <a:lnTo>
                      <a:pt x="2046" y="864"/>
                    </a:lnTo>
                    <a:lnTo>
                      <a:pt x="2058" y="870"/>
                    </a:lnTo>
                    <a:lnTo>
                      <a:pt x="2064" y="876"/>
                    </a:lnTo>
                    <a:lnTo>
                      <a:pt x="2070" y="870"/>
                    </a:lnTo>
                    <a:lnTo>
                      <a:pt x="2076" y="870"/>
                    </a:lnTo>
                    <a:lnTo>
                      <a:pt x="2082" y="876"/>
                    </a:lnTo>
                    <a:lnTo>
                      <a:pt x="2082" y="882"/>
                    </a:lnTo>
                    <a:lnTo>
                      <a:pt x="2082" y="888"/>
                    </a:lnTo>
                    <a:lnTo>
                      <a:pt x="2082" y="894"/>
                    </a:lnTo>
                    <a:lnTo>
                      <a:pt x="2100" y="894"/>
                    </a:lnTo>
                    <a:lnTo>
                      <a:pt x="2112" y="894"/>
                    </a:lnTo>
                    <a:lnTo>
                      <a:pt x="2118" y="894"/>
                    </a:lnTo>
                    <a:lnTo>
                      <a:pt x="2130" y="906"/>
                    </a:lnTo>
                    <a:lnTo>
                      <a:pt x="2148" y="912"/>
                    </a:lnTo>
                    <a:lnTo>
                      <a:pt x="2160" y="918"/>
                    </a:lnTo>
                    <a:lnTo>
                      <a:pt x="2166" y="918"/>
                    </a:lnTo>
                    <a:lnTo>
                      <a:pt x="2178" y="894"/>
                    </a:lnTo>
                    <a:lnTo>
                      <a:pt x="2184" y="894"/>
                    </a:lnTo>
                    <a:lnTo>
                      <a:pt x="2202" y="900"/>
                    </a:lnTo>
                    <a:lnTo>
                      <a:pt x="2208" y="900"/>
                    </a:lnTo>
                    <a:lnTo>
                      <a:pt x="2208" y="894"/>
                    </a:lnTo>
                    <a:lnTo>
                      <a:pt x="2214" y="894"/>
                    </a:lnTo>
                    <a:lnTo>
                      <a:pt x="2214" y="888"/>
                    </a:lnTo>
                    <a:lnTo>
                      <a:pt x="2202" y="888"/>
                    </a:lnTo>
                    <a:lnTo>
                      <a:pt x="2202" y="882"/>
                    </a:lnTo>
                    <a:lnTo>
                      <a:pt x="2202" y="876"/>
                    </a:lnTo>
                    <a:lnTo>
                      <a:pt x="2208" y="870"/>
                    </a:lnTo>
                    <a:lnTo>
                      <a:pt x="2226" y="876"/>
                    </a:lnTo>
                    <a:lnTo>
                      <a:pt x="2232" y="876"/>
                    </a:lnTo>
                    <a:lnTo>
                      <a:pt x="2238" y="876"/>
                    </a:lnTo>
                    <a:lnTo>
                      <a:pt x="2238" y="870"/>
                    </a:lnTo>
                    <a:lnTo>
                      <a:pt x="2232" y="870"/>
                    </a:lnTo>
                    <a:lnTo>
                      <a:pt x="2232" y="864"/>
                    </a:lnTo>
                    <a:lnTo>
                      <a:pt x="2232" y="858"/>
                    </a:lnTo>
                    <a:lnTo>
                      <a:pt x="2232" y="852"/>
                    </a:lnTo>
                    <a:lnTo>
                      <a:pt x="2238" y="846"/>
                    </a:lnTo>
                    <a:lnTo>
                      <a:pt x="2238" y="840"/>
                    </a:lnTo>
                    <a:lnTo>
                      <a:pt x="2262" y="852"/>
                    </a:lnTo>
                    <a:lnTo>
                      <a:pt x="2250" y="876"/>
                    </a:lnTo>
                    <a:lnTo>
                      <a:pt x="2250" y="936"/>
                    </a:lnTo>
                    <a:lnTo>
                      <a:pt x="2268" y="942"/>
                    </a:lnTo>
                    <a:lnTo>
                      <a:pt x="2262" y="978"/>
                    </a:lnTo>
                    <a:lnTo>
                      <a:pt x="2274" y="984"/>
                    </a:lnTo>
                    <a:lnTo>
                      <a:pt x="2316" y="972"/>
                    </a:lnTo>
                    <a:lnTo>
                      <a:pt x="2364" y="966"/>
                    </a:lnTo>
                    <a:lnTo>
                      <a:pt x="2370" y="972"/>
                    </a:lnTo>
                    <a:lnTo>
                      <a:pt x="2370" y="978"/>
                    </a:lnTo>
                    <a:lnTo>
                      <a:pt x="2370" y="984"/>
                    </a:lnTo>
                    <a:lnTo>
                      <a:pt x="2370" y="996"/>
                    </a:lnTo>
                    <a:lnTo>
                      <a:pt x="2370" y="1002"/>
                    </a:lnTo>
                    <a:lnTo>
                      <a:pt x="2370" y="1008"/>
                    </a:lnTo>
                    <a:lnTo>
                      <a:pt x="2370" y="1014"/>
                    </a:lnTo>
                    <a:lnTo>
                      <a:pt x="2358" y="1020"/>
                    </a:lnTo>
                    <a:lnTo>
                      <a:pt x="2358" y="1026"/>
                    </a:lnTo>
                    <a:lnTo>
                      <a:pt x="2346" y="1038"/>
                    </a:lnTo>
                    <a:lnTo>
                      <a:pt x="2352" y="1044"/>
                    </a:lnTo>
                    <a:lnTo>
                      <a:pt x="2358" y="1050"/>
                    </a:lnTo>
                    <a:lnTo>
                      <a:pt x="2364" y="1050"/>
                    </a:lnTo>
                    <a:lnTo>
                      <a:pt x="2370" y="1050"/>
                    </a:lnTo>
                    <a:lnTo>
                      <a:pt x="2370" y="1056"/>
                    </a:lnTo>
                    <a:lnTo>
                      <a:pt x="2382" y="1062"/>
                    </a:lnTo>
                    <a:lnTo>
                      <a:pt x="2382" y="1068"/>
                    </a:lnTo>
                    <a:lnTo>
                      <a:pt x="2376" y="1068"/>
                    </a:lnTo>
                    <a:lnTo>
                      <a:pt x="2370" y="1080"/>
                    </a:lnTo>
                    <a:lnTo>
                      <a:pt x="2370" y="1086"/>
                    </a:lnTo>
                    <a:lnTo>
                      <a:pt x="2376" y="1086"/>
                    </a:lnTo>
                    <a:lnTo>
                      <a:pt x="2388" y="1098"/>
                    </a:lnTo>
                    <a:lnTo>
                      <a:pt x="2394" y="1104"/>
                    </a:lnTo>
                    <a:lnTo>
                      <a:pt x="2400" y="1104"/>
                    </a:lnTo>
                    <a:lnTo>
                      <a:pt x="2406" y="1098"/>
                    </a:lnTo>
                    <a:lnTo>
                      <a:pt x="2406" y="1092"/>
                    </a:lnTo>
                    <a:lnTo>
                      <a:pt x="2412" y="1092"/>
                    </a:lnTo>
                    <a:lnTo>
                      <a:pt x="2412" y="1086"/>
                    </a:lnTo>
                    <a:lnTo>
                      <a:pt x="2412" y="1080"/>
                    </a:lnTo>
                    <a:lnTo>
                      <a:pt x="2418" y="1080"/>
                    </a:lnTo>
                    <a:lnTo>
                      <a:pt x="2424" y="1080"/>
                    </a:lnTo>
                    <a:lnTo>
                      <a:pt x="2424" y="1074"/>
                    </a:lnTo>
                    <a:lnTo>
                      <a:pt x="2424" y="1068"/>
                    </a:lnTo>
                    <a:lnTo>
                      <a:pt x="2430" y="1068"/>
                    </a:lnTo>
                    <a:lnTo>
                      <a:pt x="2430" y="1062"/>
                    </a:lnTo>
                    <a:lnTo>
                      <a:pt x="2430" y="1056"/>
                    </a:lnTo>
                    <a:lnTo>
                      <a:pt x="2430" y="1050"/>
                    </a:lnTo>
                    <a:lnTo>
                      <a:pt x="2424" y="1044"/>
                    </a:lnTo>
                    <a:lnTo>
                      <a:pt x="2430" y="1038"/>
                    </a:lnTo>
                    <a:lnTo>
                      <a:pt x="2430" y="1032"/>
                    </a:lnTo>
                    <a:lnTo>
                      <a:pt x="2436" y="1032"/>
                    </a:lnTo>
                    <a:lnTo>
                      <a:pt x="2436" y="1026"/>
                    </a:lnTo>
                    <a:lnTo>
                      <a:pt x="2436" y="1020"/>
                    </a:lnTo>
                    <a:lnTo>
                      <a:pt x="2442" y="1020"/>
                    </a:lnTo>
                    <a:lnTo>
                      <a:pt x="2448" y="1020"/>
                    </a:lnTo>
                    <a:lnTo>
                      <a:pt x="2448" y="1014"/>
                    </a:lnTo>
                    <a:lnTo>
                      <a:pt x="2454" y="1008"/>
                    </a:lnTo>
                    <a:lnTo>
                      <a:pt x="2448" y="1002"/>
                    </a:lnTo>
                    <a:lnTo>
                      <a:pt x="2448" y="996"/>
                    </a:lnTo>
                    <a:lnTo>
                      <a:pt x="2454" y="996"/>
                    </a:lnTo>
                    <a:lnTo>
                      <a:pt x="2454" y="990"/>
                    </a:lnTo>
                    <a:lnTo>
                      <a:pt x="2454" y="984"/>
                    </a:lnTo>
                    <a:lnTo>
                      <a:pt x="2454" y="978"/>
                    </a:lnTo>
                    <a:lnTo>
                      <a:pt x="2448" y="978"/>
                    </a:lnTo>
                    <a:lnTo>
                      <a:pt x="2448" y="972"/>
                    </a:lnTo>
                    <a:lnTo>
                      <a:pt x="2442" y="966"/>
                    </a:lnTo>
                    <a:lnTo>
                      <a:pt x="2442" y="960"/>
                    </a:lnTo>
                    <a:lnTo>
                      <a:pt x="2448" y="954"/>
                    </a:lnTo>
                    <a:lnTo>
                      <a:pt x="2448" y="948"/>
                    </a:lnTo>
                    <a:lnTo>
                      <a:pt x="2454" y="948"/>
                    </a:lnTo>
                    <a:lnTo>
                      <a:pt x="2466" y="948"/>
                    </a:lnTo>
                    <a:lnTo>
                      <a:pt x="2466" y="942"/>
                    </a:lnTo>
                    <a:lnTo>
                      <a:pt x="2472" y="936"/>
                    </a:lnTo>
                    <a:lnTo>
                      <a:pt x="2472" y="942"/>
                    </a:lnTo>
                    <a:lnTo>
                      <a:pt x="2472" y="948"/>
                    </a:lnTo>
                    <a:lnTo>
                      <a:pt x="2478" y="954"/>
                    </a:lnTo>
                    <a:lnTo>
                      <a:pt x="2478" y="960"/>
                    </a:lnTo>
                    <a:lnTo>
                      <a:pt x="2478" y="966"/>
                    </a:lnTo>
                    <a:lnTo>
                      <a:pt x="2484" y="966"/>
                    </a:lnTo>
                    <a:lnTo>
                      <a:pt x="2496" y="966"/>
                    </a:lnTo>
                    <a:lnTo>
                      <a:pt x="2514" y="966"/>
                    </a:lnTo>
                    <a:lnTo>
                      <a:pt x="2538" y="966"/>
                    </a:lnTo>
                    <a:lnTo>
                      <a:pt x="2550" y="966"/>
                    </a:lnTo>
                    <a:lnTo>
                      <a:pt x="2550" y="972"/>
                    </a:lnTo>
                    <a:lnTo>
                      <a:pt x="2544" y="978"/>
                    </a:lnTo>
                    <a:lnTo>
                      <a:pt x="2538" y="984"/>
                    </a:lnTo>
                    <a:lnTo>
                      <a:pt x="2538" y="990"/>
                    </a:lnTo>
                    <a:lnTo>
                      <a:pt x="2532" y="996"/>
                    </a:lnTo>
                    <a:lnTo>
                      <a:pt x="2526" y="1002"/>
                    </a:lnTo>
                    <a:lnTo>
                      <a:pt x="2520" y="1008"/>
                    </a:lnTo>
                    <a:lnTo>
                      <a:pt x="2514" y="1014"/>
                    </a:lnTo>
                    <a:lnTo>
                      <a:pt x="2514" y="1020"/>
                    </a:lnTo>
                    <a:lnTo>
                      <a:pt x="2508" y="1026"/>
                    </a:lnTo>
                    <a:lnTo>
                      <a:pt x="2502" y="1026"/>
                    </a:lnTo>
                    <a:lnTo>
                      <a:pt x="2502" y="1032"/>
                    </a:lnTo>
                    <a:lnTo>
                      <a:pt x="2496" y="1038"/>
                    </a:lnTo>
                    <a:lnTo>
                      <a:pt x="2490" y="1038"/>
                    </a:lnTo>
                    <a:lnTo>
                      <a:pt x="2490" y="1044"/>
                    </a:lnTo>
                    <a:lnTo>
                      <a:pt x="2496" y="1050"/>
                    </a:lnTo>
                    <a:lnTo>
                      <a:pt x="2496" y="1056"/>
                    </a:lnTo>
                    <a:lnTo>
                      <a:pt x="2502" y="1056"/>
                    </a:lnTo>
                    <a:lnTo>
                      <a:pt x="2502" y="1062"/>
                    </a:lnTo>
                    <a:lnTo>
                      <a:pt x="2502" y="1068"/>
                    </a:lnTo>
                    <a:lnTo>
                      <a:pt x="2508" y="1074"/>
                    </a:lnTo>
                    <a:lnTo>
                      <a:pt x="2508" y="1080"/>
                    </a:lnTo>
                    <a:lnTo>
                      <a:pt x="2514" y="1080"/>
                    </a:lnTo>
                    <a:lnTo>
                      <a:pt x="2514" y="1086"/>
                    </a:lnTo>
                    <a:lnTo>
                      <a:pt x="2514" y="1092"/>
                    </a:lnTo>
                    <a:lnTo>
                      <a:pt x="2520" y="1098"/>
                    </a:lnTo>
                    <a:lnTo>
                      <a:pt x="2526" y="1104"/>
                    </a:lnTo>
                    <a:lnTo>
                      <a:pt x="2532" y="1104"/>
                    </a:lnTo>
                    <a:lnTo>
                      <a:pt x="2532" y="1098"/>
                    </a:lnTo>
                    <a:lnTo>
                      <a:pt x="2538" y="1098"/>
                    </a:lnTo>
                    <a:lnTo>
                      <a:pt x="2544" y="1110"/>
                    </a:lnTo>
                    <a:lnTo>
                      <a:pt x="2544" y="1116"/>
                    </a:lnTo>
                    <a:lnTo>
                      <a:pt x="2544" y="1122"/>
                    </a:lnTo>
                    <a:lnTo>
                      <a:pt x="2538" y="1122"/>
                    </a:lnTo>
                    <a:lnTo>
                      <a:pt x="2538" y="1128"/>
                    </a:lnTo>
                    <a:lnTo>
                      <a:pt x="2538" y="1134"/>
                    </a:lnTo>
                    <a:lnTo>
                      <a:pt x="2538" y="1140"/>
                    </a:lnTo>
                    <a:lnTo>
                      <a:pt x="2532" y="1146"/>
                    </a:lnTo>
                    <a:lnTo>
                      <a:pt x="2532" y="1152"/>
                    </a:lnTo>
                    <a:lnTo>
                      <a:pt x="2520" y="1152"/>
                    </a:lnTo>
                    <a:lnTo>
                      <a:pt x="2520" y="1164"/>
                    </a:lnTo>
                    <a:lnTo>
                      <a:pt x="2508" y="1164"/>
                    </a:lnTo>
                    <a:lnTo>
                      <a:pt x="2508" y="1170"/>
                    </a:lnTo>
                    <a:lnTo>
                      <a:pt x="2514" y="1170"/>
                    </a:lnTo>
                    <a:lnTo>
                      <a:pt x="2514" y="1176"/>
                    </a:lnTo>
                    <a:lnTo>
                      <a:pt x="2520" y="1176"/>
                    </a:lnTo>
                    <a:lnTo>
                      <a:pt x="2520" y="1182"/>
                    </a:lnTo>
                    <a:lnTo>
                      <a:pt x="2520" y="1188"/>
                    </a:lnTo>
                    <a:lnTo>
                      <a:pt x="2514" y="1194"/>
                    </a:lnTo>
                    <a:lnTo>
                      <a:pt x="2514" y="1200"/>
                    </a:lnTo>
                    <a:lnTo>
                      <a:pt x="2514" y="1206"/>
                    </a:lnTo>
                    <a:lnTo>
                      <a:pt x="2514" y="1212"/>
                    </a:lnTo>
                    <a:lnTo>
                      <a:pt x="2514" y="1218"/>
                    </a:lnTo>
                    <a:lnTo>
                      <a:pt x="2508" y="1218"/>
                    </a:lnTo>
                    <a:lnTo>
                      <a:pt x="2508" y="1224"/>
                    </a:lnTo>
                    <a:lnTo>
                      <a:pt x="2502" y="1230"/>
                    </a:lnTo>
                    <a:lnTo>
                      <a:pt x="2496" y="1236"/>
                    </a:lnTo>
                    <a:lnTo>
                      <a:pt x="2502" y="1242"/>
                    </a:lnTo>
                    <a:lnTo>
                      <a:pt x="2496" y="1248"/>
                    </a:lnTo>
                    <a:lnTo>
                      <a:pt x="2496" y="1254"/>
                    </a:lnTo>
                    <a:lnTo>
                      <a:pt x="2496" y="1260"/>
                    </a:lnTo>
                    <a:lnTo>
                      <a:pt x="2496" y="1266"/>
                    </a:lnTo>
                    <a:lnTo>
                      <a:pt x="2496" y="1272"/>
                    </a:lnTo>
                    <a:lnTo>
                      <a:pt x="2490" y="1278"/>
                    </a:lnTo>
                    <a:lnTo>
                      <a:pt x="2496" y="1284"/>
                    </a:lnTo>
                    <a:lnTo>
                      <a:pt x="2502" y="1284"/>
                    </a:lnTo>
                    <a:lnTo>
                      <a:pt x="2508" y="1284"/>
                    </a:lnTo>
                    <a:lnTo>
                      <a:pt x="2508" y="1290"/>
                    </a:lnTo>
                    <a:lnTo>
                      <a:pt x="2502" y="1296"/>
                    </a:lnTo>
                    <a:lnTo>
                      <a:pt x="2502" y="1302"/>
                    </a:lnTo>
                    <a:lnTo>
                      <a:pt x="2502" y="1308"/>
                    </a:lnTo>
                    <a:lnTo>
                      <a:pt x="2496" y="1308"/>
                    </a:lnTo>
                    <a:lnTo>
                      <a:pt x="2496" y="1314"/>
                    </a:lnTo>
                    <a:lnTo>
                      <a:pt x="2490" y="1320"/>
                    </a:lnTo>
                    <a:lnTo>
                      <a:pt x="2490" y="1326"/>
                    </a:lnTo>
                    <a:lnTo>
                      <a:pt x="2490" y="1332"/>
                    </a:lnTo>
                    <a:lnTo>
                      <a:pt x="2484" y="1332"/>
                    </a:lnTo>
                    <a:lnTo>
                      <a:pt x="2484" y="1338"/>
                    </a:lnTo>
                    <a:lnTo>
                      <a:pt x="2484" y="1344"/>
                    </a:lnTo>
                    <a:lnTo>
                      <a:pt x="2478" y="1350"/>
                    </a:lnTo>
                    <a:lnTo>
                      <a:pt x="2478" y="1356"/>
                    </a:lnTo>
                    <a:lnTo>
                      <a:pt x="2472" y="1362"/>
                    </a:lnTo>
                    <a:lnTo>
                      <a:pt x="2472" y="1368"/>
                    </a:lnTo>
                    <a:lnTo>
                      <a:pt x="2472" y="1374"/>
                    </a:lnTo>
                    <a:lnTo>
                      <a:pt x="2466" y="1374"/>
                    </a:lnTo>
                    <a:lnTo>
                      <a:pt x="2466" y="1380"/>
                    </a:lnTo>
                    <a:lnTo>
                      <a:pt x="2460" y="1386"/>
                    </a:lnTo>
                    <a:lnTo>
                      <a:pt x="2460" y="1392"/>
                    </a:lnTo>
                    <a:lnTo>
                      <a:pt x="2454" y="1398"/>
                    </a:lnTo>
                    <a:lnTo>
                      <a:pt x="2454" y="1404"/>
                    </a:lnTo>
                    <a:lnTo>
                      <a:pt x="2454" y="1410"/>
                    </a:lnTo>
                    <a:lnTo>
                      <a:pt x="2448" y="1416"/>
                    </a:lnTo>
                    <a:lnTo>
                      <a:pt x="2448" y="1422"/>
                    </a:lnTo>
                    <a:lnTo>
                      <a:pt x="2442" y="1428"/>
                    </a:lnTo>
                    <a:lnTo>
                      <a:pt x="2442" y="1434"/>
                    </a:lnTo>
                    <a:lnTo>
                      <a:pt x="2436" y="1440"/>
                    </a:lnTo>
                    <a:lnTo>
                      <a:pt x="2436" y="1446"/>
                    </a:lnTo>
                    <a:lnTo>
                      <a:pt x="2430" y="1452"/>
                    </a:lnTo>
                    <a:lnTo>
                      <a:pt x="2430" y="1458"/>
                    </a:lnTo>
                    <a:lnTo>
                      <a:pt x="2430" y="1464"/>
                    </a:lnTo>
                    <a:lnTo>
                      <a:pt x="2424" y="1470"/>
                    </a:lnTo>
                    <a:lnTo>
                      <a:pt x="2418" y="1476"/>
                    </a:lnTo>
                    <a:lnTo>
                      <a:pt x="2418" y="1482"/>
                    </a:lnTo>
                    <a:lnTo>
                      <a:pt x="2418" y="1488"/>
                    </a:lnTo>
                    <a:lnTo>
                      <a:pt x="2412" y="1488"/>
                    </a:lnTo>
                    <a:lnTo>
                      <a:pt x="2412" y="1494"/>
                    </a:lnTo>
                    <a:lnTo>
                      <a:pt x="2412" y="1500"/>
                    </a:lnTo>
                    <a:lnTo>
                      <a:pt x="2406" y="1506"/>
                    </a:lnTo>
                    <a:lnTo>
                      <a:pt x="2406" y="1512"/>
                    </a:lnTo>
                    <a:lnTo>
                      <a:pt x="2400" y="1512"/>
                    </a:lnTo>
                    <a:lnTo>
                      <a:pt x="2400" y="1518"/>
                    </a:lnTo>
                    <a:lnTo>
                      <a:pt x="2400" y="1524"/>
                    </a:lnTo>
                    <a:lnTo>
                      <a:pt x="2394" y="1530"/>
                    </a:lnTo>
                    <a:lnTo>
                      <a:pt x="2394" y="1536"/>
                    </a:lnTo>
                    <a:lnTo>
                      <a:pt x="2388" y="1542"/>
                    </a:lnTo>
                    <a:lnTo>
                      <a:pt x="2388" y="1548"/>
                    </a:lnTo>
                    <a:lnTo>
                      <a:pt x="2388" y="1554"/>
                    </a:lnTo>
                    <a:lnTo>
                      <a:pt x="2382" y="1554"/>
                    </a:lnTo>
                    <a:lnTo>
                      <a:pt x="2382" y="1560"/>
                    </a:lnTo>
                    <a:lnTo>
                      <a:pt x="2376" y="1566"/>
                    </a:lnTo>
                    <a:lnTo>
                      <a:pt x="2376" y="1572"/>
                    </a:lnTo>
                    <a:lnTo>
                      <a:pt x="2376" y="1578"/>
                    </a:lnTo>
                    <a:lnTo>
                      <a:pt x="2370" y="1578"/>
                    </a:lnTo>
                    <a:lnTo>
                      <a:pt x="2370" y="1584"/>
                    </a:lnTo>
                    <a:lnTo>
                      <a:pt x="2370" y="1590"/>
                    </a:lnTo>
                    <a:lnTo>
                      <a:pt x="2364" y="1596"/>
                    </a:lnTo>
                    <a:lnTo>
                      <a:pt x="2364" y="1602"/>
                    </a:lnTo>
                    <a:lnTo>
                      <a:pt x="2358" y="1608"/>
                    </a:lnTo>
                    <a:lnTo>
                      <a:pt x="2358" y="1614"/>
                    </a:lnTo>
                    <a:lnTo>
                      <a:pt x="2358" y="1620"/>
                    </a:lnTo>
                    <a:lnTo>
                      <a:pt x="2352" y="1620"/>
                    </a:lnTo>
                    <a:lnTo>
                      <a:pt x="2352" y="1626"/>
                    </a:lnTo>
                    <a:lnTo>
                      <a:pt x="2346" y="1632"/>
                    </a:lnTo>
                    <a:lnTo>
                      <a:pt x="2352" y="1638"/>
                    </a:lnTo>
                    <a:lnTo>
                      <a:pt x="2352" y="1644"/>
                    </a:lnTo>
                    <a:lnTo>
                      <a:pt x="2352" y="1650"/>
                    </a:lnTo>
                    <a:lnTo>
                      <a:pt x="2352" y="1656"/>
                    </a:lnTo>
                    <a:lnTo>
                      <a:pt x="2358" y="1656"/>
                    </a:lnTo>
                    <a:lnTo>
                      <a:pt x="2358" y="1662"/>
                    </a:lnTo>
                    <a:lnTo>
                      <a:pt x="2364" y="1662"/>
                    </a:lnTo>
                    <a:lnTo>
                      <a:pt x="2364" y="1668"/>
                    </a:lnTo>
                    <a:lnTo>
                      <a:pt x="2364" y="1674"/>
                    </a:lnTo>
                    <a:lnTo>
                      <a:pt x="2370" y="1674"/>
                    </a:lnTo>
                    <a:lnTo>
                      <a:pt x="2370" y="1680"/>
                    </a:lnTo>
                    <a:lnTo>
                      <a:pt x="2376" y="1680"/>
                    </a:lnTo>
                    <a:lnTo>
                      <a:pt x="2382" y="1680"/>
                    </a:lnTo>
                    <a:lnTo>
                      <a:pt x="2388" y="1680"/>
                    </a:lnTo>
                    <a:lnTo>
                      <a:pt x="2388" y="1686"/>
                    </a:lnTo>
                    <a:lnTo>
                      <a:pt x="2394" y="1686"/>
                    </a:lnTo>
                    <a:lnTo>
                      <a:pt x="2394" y="1692"/>
                    </a:lnTo>
                    <a:lnTo>
                      <a:pt x="2400" y="1692"/>
                    </a:lnTo>
                    <a:lnTo>
                      <a:pt x="2406" y="1692"/>
                    </a:lnTo>
                    <a:lnTo>
                      <a:pt x="2412" y="1698"/>
                    </a:lnTo>
                    <a:lnTo>
                      <a:pt x="2412" y="1704"/>
                    </a:lnTo>
                    <a:lnTo>
                      <a:pt x="2418" y="1704"/>
                    </a:lnTo>
                    <a:lnTo>
                      <a:pt x="2418" y="1710"/>
                    </a:lnTo>
                    <a:lnTo>
                      <a:pt x="2424" y="1710"/>
                    </a:lnTo>
                    <a:lnTo>
                      <a:pt x="2424" y="1716"/>
                    </a:lnTo>
                    <a:lnTo>
                      <a:pt x="2430" y="1716"/>
                    </a:lnTo>
                    <a:lnTo>
                      <a:pt x="2436" y="1716"/>
                    </a:lnTo>
                    <a:lnTo>
                      <a:pt x="2442" y="1716"/>
                    </a:lnTo>
                    <a:lnTo>
                      <a:pt x="2442" y="1722"/>
                    </a:lnTo>
                    <a:lnTo>
                      <a:pt x="2442" y="1728"/>
                    </a:lnTo>
                    <a:lnTo>
                      <a:pt x="2442" y="1734"/>
                    </a:lnTo>
                    <a:lnTo>
                      <a:pt x="2448" y="1734"/>
                    </a:lnTo>
                    <a:lnTo>
                      <a:pt x="2448" y="1740"/>
                    </a:lnTo>
                    <a:lnTo>
                      <a:pt x="2454" y="1740"/>
                    </a:lnTo>
                    <a:lnTo>
                      <a:pt x="2454" y="1746"/>
                    </a:lnTo>
                    <a:lnTo>
                      <a:pt x="2460" y="1746"/>
                    </a:lnTo>
                    <a:lnTo>
                      <a:pt x="2466" y="1746"/>
                    </a:lnTo>
                    <a:lnTo>
                      <a:pt x="2472" y="1746"/>
                    </a:lnTo>
                    <a:lnTo>
                      <a:pt x="2478" y="1746"/>
                    </a:lnTo>
                    <a:lnTo>
                      <a:pt x="2484" y="1752"/>
                    </a:lnTo>
                    <a:lnTo>
                      <a:pt x="2484" y="1758"/>
                    </a:lnTo>
                    <a:lnTo>
                      <a:pt x="2484" y="1764"/>
                    </a:lnTo>
                    <a:lnTo>
                      <a:pt x="2490" y="1764"/>
                    </a:lnTo>
                    <a:lnTo>
                      <a:pt x="2490" y="1770"/>
                    </a:lnTo>
                    <a:lnTo>
                      <a:pt x="2490" y="1776"/>
                    </a:lnTo>
                    <a:lnTo>
                      <a:pt x="2496" y="1776"/>
                    </a:lnTo>
                    <a:lnTo>
                      <a:pt x="2496" y="1782"/>
                    </a:lnTo>
                    <a:lnTo>
                      <a:pt x="2496" y="1788"/>
                    </a:lnTo>
                    <a:lnTo>
                      <a:pt x="2502" y="1788"/>
                    </a:lnTo>
                    <a:lnTo>
                      <a:pt x="2502" y="1794"/>
                    </a:lnTo>
                    <a:lnTo>
                      <a:pt x="2502" y="1800"/>
                    </a:lnTo>
                    <a:lnTo>
                      <a:pt x="2508" y="1800"/>
                    </a:lnTo>
                    <a:lnTo>
                      <a:pt x="2508" y="1806"/>
                    </a:lnTo>
                    <a:lnTo>
                      <a:pt x="2508" y="1812"/>
                    </a:lnTo>
                    <a:lnTo>
                      <a:pt x="2514" y="1812"/>
                    </a:lnTo>
                    <a:lnTo>
                      <a:pt x="2520" y="1812"/>
                    </a:lnTo>
                    <a:lnTo>
                      <a:pt x="2520" y="1818"/>
                    </a:lnTo>
                    <a:lnTo>
                      <a:pt x="2526" y="1818"/>
                    </a:lnTo>
                    <a:lnTo>
                      <a:pt x="2526" y="1824"/>
                    </a:lnTo>
                    <a:lnTo>
                      <a:pt x="2526" y="1830"/>
                    </a:lnTo>
                    <a:lnTo>
                      <a:pt x="2532" y="1830"/>
                    </a:lnTo>
                    <a:lnTo>
                      <a:pt x="2532" y="1836"/>
                    </a:lnTo>
                    <a:lnTo>
                      <a:pt x="2538" y="1842"/>
                    </a:lnTo>
                    <a:lnTo>
                      <a:pt x="2544" y="1842"/>
                    </a:lnTo>
                    <a:lnTo>
                      <a:pt x="2544" y="1848"/>
                    </a:lnTo>
                    <a:lnTo>
                      <a:pt x="2550" y="1848"/>
                    </a:lnTo>
                    <a:lnTo>
                      <a:pt x="2550" y="1854"/>
                    </a:lnTo>
                    <a:lnTo>
                      <a:pt x="2556" y="1860"/>
                    </a:lnTo>
                    <a:lnTo>
                      <a:pt x="2556" y="1866"/>
                    </a:lnTo>
                    <a:lnTo>
                      <a:pt x="2562" y="1866"/>
                    </a:lnTo>
                    <a:lnTo>
                      <a:pt x="2562" y="1872"/>
                    </a:lnTo>
                    <a:lnTo>
                      <a:pt x="2568" y="1872"/>
                    </a:lnTo>
                    <a:lnTo>
                      <a:pt x="2568" y="1878"/>
                    </a:lnTo>
                    <a:lnTo>
                      <a:pt x="2574" y="1878"/>
                    </a:lnTo>
                    <a:lnTo>
                      <a:pt x="2574" y="1884"/>
                    </a:lnTo>
                    <a:lnTo>
                      <a:pt x="2580" y="1884"/>
                    </a:lnTo>
                    <a:lnTo>
                      <a:pt x="2586" y="1884"/>
                    </a:lnTo>
                    <a:lnTo>
                      <a:pt x="2586" y="1890"/>
                    </a:lnTo>
                    <a:lnTo>
                      <a:pt x="2586" y="1896"/>
                    </a:lnTo>
                    <a:lnTo>
                      <a:pt x="2592" y="1902"/>
                    </a:lnTo>
                    <a:lnTo>
                      <a:pt x="2592" y="1908"/>
                    </a:lnTo>
                    <a:lnTo>
                      <a:pt x="2598" y="1908"/>
                    </a:lnTo>
                    <a:lnTo>
                      <a:pt x="2604" y="1908"/>
                    </a:lnTo>
                    <a:lnTo>
                      <a:pt x="2604" y="1914"/>
                    </a:lnTo>
                    <a:lnTo>
                      <a:pt x="2610" y="1914"/>
                    </a:lnTo>
                    <a:lnTo>
                      <a:pt x="2616" y="1920"/>
                    </a:lnTo>
                    <a:lnTo>
                      <a:pt x="2622" y="1920"/>
                    </a:lnTo>
                    <a:lnTo>
                      <a:pt x="2622" y="1926"/>
                    </a:lnTo>
                    <a:lnTo>
                      <a:pt x="2622" y="1932"/>
                    </a:lnTo>
                    <a:lnTo>
                      <a:pt x="2628" y="1932"/>
                    </a:lnTo>
                    <a:lnTo>
                      <a:pt x="2628" y="1938"/>
                    </a:lnTo>
                    <a:lnTo>
                      <a:pt x="2634" y="1938"/>
                    </a:lnTo>
                    <a:lnTo>
                      <a:pt x="2640" y="1938"/>
                    </a:lnTo>
                    <a:lnTo>
                      <a:pt x="2646" y="1938"/>
                    </a:lnTo>
                    <a:lnTo>
                      <a:pt x="2652" y="1938"/>
                    </a:lnTo>
                    <a:lnTo>
                      <a:pt x="2658" y="1938"/>
                    </a:lnTo>
                    <a:lnTo>
                      <a:pt x="2658" y="1944"/>
                    </a:lnTo>
                    <a:lnTo>
                      <a:pt x="2664" y="1944"/>
                    </a:lnTo>
                    <a:lnTo>
                      <a:pt x="2664" y="1950"/>
                    </a:lnTo>
                    <a:lnTo>
                      <a:pt x="2670" y="1950"/>
                    </a:lnTo>
                    <a:lnTo>
                      <a:pt x="2670" y="1956"/>
                    </a:lnTo>
                    <a:lnTo>
                      <a:pt x="2676" y="1956"/>
                    </a:lnTo>
                    <a:lnTo>
                      <a:pt x="2676" y="1962"/>
                    </a:lnTo>
                    <a:lnTo>
                      <a:pt x="2682" y="2016"/>
                    </a:lnTo>
                    <a:lnTo>
                      <a:pt x="2700" y="2022"/>
                    </a:lnTo>
                    <a:lnTo>
                      <a:pt x="2694" y="2034"/>
                    </a:lnTo>
                    <a:lnTo>
                      <a:pt x="2688" y="2040"/>
                    </a:lnTo>
                    <a:lnTo>
                      <a:pt x="2682" y="2040"/>
                    </a:lnTo>
                    <a:lnTo>
                      <a:pt x="2682" y="2046"/>
                    </a:lnTo>
                    <a:lnTo>
                      <a:pt x="2694" y="2058"/>
                    </a:lnTo>
                    <a:lnTo>
                      <a:pt x="2694" y="2064"/>
                    </a:lnTo>
                    <a:lnTo>
                      <a:pt x="2694" y="2070"/>
                    </a:lnTo>
                    <a:lnTo>
                      <a:pt x="2688" y="2076"/>
                    </a:lnTo>
                    <a:lnTo>
                      <a:pt x="2682" y="2088"/>
                    </a:lnTo>
                    <a:lnTo>
                      <a:pt x="2688" y="2100"/>
                    </a:lnTo>
                    <a:lnTo>
                      <a:pt x="2676" y="2112"/>
                    </a:lnTo>
                    <a:lnTo>
                      <a:pt x="2670" y="2112"/>
                    </a:lnTo>
                    <a:lnTo>
                      <a:pt x="2676" y="2124"/>
                    </a:lnTo>
                    <a:lnTo>
                      <a:pt x="2664" y="2136"/>
                    </a:lnTo>
                    <a:lnTo>
                      <a:pt x="2658" y="2136"/>
                    </a:lnTo>
                    <a:lnTo>
                      <a:pt x="2652" y="2142"/>
                    </a:lnTo>
                    <a:lnTo>
                      <a:pt x="2652" y="2160"/>
                    </a:lnTo>
                    <a:lnTo>
                      <a:pt x="2646" y="2166"/>
                    </a:lnTo>
                    <a:lnTo>
                      <a:pt x="2604" y="2160"/>
                    </a:lnTo>
                    <a:lnTo>
                      <a:pt x="2598" y="2166"/>
                    </a:lnTo>
                    <a:lnTo>
                      <a:pt x="2556" y="2184"/>
                    </a:lnTo>
                    <a:lnTo>
                      <a:pt x="2532" y="2184"/>
                    </a:lnTo>
                    <a:lnTo>
                      <a:pt x="2526" y="2196"/>
                    </a:lnTo>
                    <a:lnTo>
                      <a:pt x="2502" y="2202"/>
                    </a:lnTo>
                    <a:lnTo>
                      <a:pt x="2502" y="2220"/>
                    </a:lnTo>
                    <a:lnTo>
                      <a:pt x="2490" y="2214"/>
                    </a:lnTo>
                    <a:lnTo>
                      <a:pt x="2478" y="2226"/>
                    </a:lnTo>
                    <a:lnTo>
                      <a:pt x="2460" y="2226"/>
                    </a:lnTo>
                    <a:lnTo>
                      <a:pt x="2454" y="2232"/>
                    </a:lnTo>
                    <a:lnTo>
                      <a:pt x="2436" y="2226"/>
                    </a:lnTo>
                    <a:lnTo>
                      <a:pt x="2412" y="2226"/>
                    </a:lnTo>
                    <a:lnTo>
                      <a:pt x="2412" y="2232"/>
                    </a:lnTo>
                    <a:lnTo>
                      <a:pt x="2412" y="2250"/>
                    </a:lnTo>
                    <a:lnTo>
                      <a:pt x="2400" y="2256"/>
                    </a:lnTo>
                    <a:lnTo>
                      <a:pt x="2406" y="2262"/>
                    </a:lnTo>
                    <a:lnTo>
                      <a:pt x="2400" y="2280"/>
                    </a:lnTo>
                    <a:lnTo>
                      <a:pt x="2400" y="2286"/>
                    </a:lnTo>
                    <a:lnTo>
                      <a:pt x="2400" y="2292"/>
                    </a:lnTo>
                    <a:lnTo>
                      <a:pt x="2400" y="2304"/>
                    </a:lnTo>
                    <a:lnTo>
                      <a:pt x="2400" y="2328"/>
                    </a:lnTo>
                    <a:lnTo>
                      <a:pt x="2394" y="2334"/>
                    </a:lnTo>
                    <a:lnTo>
                      <a:pt x="2340" y="2334"/>
                    </a:lnTo>
                    <a:lnTo>
                      <a:pt x="2340" y="2340"/>
                    </a:lnTo>
                    <a:lnTo>
                      <a:pt x="2334" y="2346"/>
                    </a:lnTo>
                    <a:lnTo>
                      <a:pt x="2328" y="2352"/>
                    </a:lnTo>
                    <a:lnTo>
                      <a:pt x="2322" y="2352"/>
                    </a:lnTo>
                    <a:lnTo>
                      <a:pt x="2298" y="2340"/>
                    </a:lnTo>
                    <a:lnTo>
                      <a:pt x="2292" y="2346"/>
                    </a:lnTo>
                    <a:lnTo>
                      <a:pt x="2292" y="2352"/>
                    </a:lnTo>
                    <a:lnTo>
                      <a:pt x="2298" y="2358"/>
                    </a:lnTo>
                    <a:lnTo>
                      <a:pt x="2274" y="2364"/>
                    </a:lnTo>
                    <a:lnTo>
                      <a:pt x="2262" y="2340"/>
                    </a:lnTo>
                    <a:lnTo>
                      <a:pt x="2262" y="2334"/>
                    </a:lnTo>
                    <a:lnTo>
                      <a:pt x="2238" y="2334"/>
                    </a:lnTo>
                    <a:lnTo>
                      <a:pt x="2238" y="2352"/>
                    </a:lnTo>
                    <a:lnTo>
                      <a:pt x="2226" y="2358"/>
                    </a:lnTo>
                    <a:lnTo>
                      <a:pt x="2220" y="2370"/>
                    </a:lnTo>
                    <a:lnTo>
                      <a:pt x="2214" y="2370"/>
                    </a:lnTo>
                    <a:lnTo>
                      <a:pt x="2208" y="2358"/>
                    </a:lnTo>
                    <a:lnTo>
                      <a:pt x="2196" y="2352"/>
                    </a:lnTo>
                    <a:lnTo>
                      <a:pt x="2202" y="2346"/>
                    </a:lnTo>
                    <a:lnTo>
                      <a:pt x="2202" y="2340"/>
                    </a:lnTo>
                    <a:lnTo>
                      <a:pt x="2178" y="2328"/>
                    </a:lnTo>
                    <a:lnTo>
                      <a:pt x="2172" y="2316"/>
                    </a:lnTo>
                    <a:lnTo>
                      <a:pt x="2142" y="2316"/>
                    </a:lnTo>
                    <a:lnTo>
                      <a:pt x="2136" y="2316"/>
                    </a:lnTo>
                    <a:lnTo>
                      <a:pt x="2130" y="2316"/>
                    </a:lnTo>
                    <a:lnTo>
                      <a:pt x="2130" y="2328"/>
                    </a:lnTo>
                    <a:lnTo>
                      <a:pt x="2118" y="2328"/>
                    </a:lnTo>
                    <a:lnTo>
                      <a:pt x="2112" y="2334"/>
                    </a:lnTo>
                    <a:lnTo>
                      <a:pt x="2100" y="2328"/>
                    </a:lnTo>
                    <a:lnTo>
                      <a:pt x="2082" y="2328"/>
                    </a:lnTo>
                    <a:lnTo>
                      <a:pt x="2076" y="2334"/>
                    </a:lnTo>
                    <a:lnTo>
                      <a:pt x="2058" y="2334"/>
                    </a:lnTo>
                    <a:lnTo>
                      <a:pt x="2040" y="2346"/>
                    </a:lnTo>
                    <a:lnTo>
                      <a:pt x="2034" y="2370"/>
                    </a:lnTo>
                    <a:lnTo>
                      <a:pt x="2028" y="2382"/>
                    </a:lnTo>
                    <a:lnTo>
                      <a:pt x="2028" y="2388"/>
                    </a:lnTo>
                    <a:lnTo>
                      <a:pt x="1992" y="2424"/>
                    </a:lnTo>
                    <a:lnTo>
                      <a:pt x="1986" y="2430"/>
                    </a:lnTo>
                    <a:lnTo>
                      <a:pt x="1974" y="2412"/>
                    </a:lnTo>
                    <a:lnTo>
                      <a:pt x="1974" y="2406"/>
                    </a:lnTo>
                    <a:lnTo>
                      <a:pt x="1980" y="2394"/>
                    </a:lnTo>
                    <a:lnTo>
                      <a:pt x="1950" y="2388"/>
                    </a:lnTo>
                    <a:lnTo>
                      <a:pt x="1932" y="2394"/>
                    </a:lnTo>
                    <a:lnTo>
                      <a:pt x="1920" y="2388"/>
                    </a:lnTo>
                    <a:lnTo>
                      <a:pt x="1920" y="2376"/>
                    </a:lnTo>
                    <a:lnTo>
                      <a:pt x="1896" y="2388"/>
                    </a:lnTo>
                    <a:lnTo>
                      <a:pt x="1884" y="2370"/>
                    </a:lnTo>
                    <a:lnTo>
                      <a:pt x="1860" y="2376"/>
                    </a:lnTo>
                    <a:lnTo>
                      <a:pt x="1836" y="2370"/>
                    </a:lnTo>
                    <a:lnTo>
                      <a:pt x="1848" y="2346"/>
                    </a:lnTo>
                    <a:lnTo>
                      <a:pt x="1836" y="2340"/>
                    </a:lnTo>
                    <a:lnTo>
                      <a:pt x="1830" y="2328"/>
                    </a:lnTo>
                    <a:lnTo>
                      <a:pt x="1812" y="2322"/>
                    </a:lnTo>
                    <a:lnTo>
                      <a:pt x="1758" y="2292"/>
                    </a:lnTo>
                    <a:lnTo>
                      <a:pt x="1752" y="2298"/>
                    </a:lnTo>
                    <a:lnTo>
                      <a:pt x="1752" y="2310"/>
                    </a:lnTo>
                    <a:lnTo>
                      <a:pt x="1746" y="2316"/>
                    </a:lnTo>
                    <a:lnTo>
                      <a:pt x="1740" y="2340"/>
                    </a:lnTo>
                    <a:lnTo>
                      <a:pt x="1722" y="2364"/>
                    </a:lnTo>
                    <a:lnTo>
                      <a:pt x="1722" y="2400"/>
                    </a:lnTo>
                    <a:lnTo>
                      <a:pt x="1698" y="2388"/>
                    </a:lnTo>
                    <a:lnTo>
                      <a:pt x="1704" y="2400"/>
                    </a:lnTo>
                    <a:lnTo>
                      <a:pt x="1704" y="2406"/>
                    </a:lnTo>
                    <a:lnTo>
                      <a:pt x="1704" y="2412"/>
                    </a:lnTo>
                    <a:lnTo>
                      <a:pt x="1698" y="2412"/>
                    </a:lnTo>
                    <a:lnTo>
                      <a:pt x="1704" y="2430"/>
                    </a:lnTo>
                    <a:lnTo>
                      <a:pt x="1698" y="2436"/>
                    </a:lnTo>
                    <a:lnTo>
                      <a:pt x="1698" y="2442"/>
                    </a:lnTo>
                    <a:lnTo>
                      <a:pt x="1698" y="2448"/>
                    </a:lnTo>
                    <a:lnTo>
                      <a:pt x="1704" y="2448"/>
                    </a:lnTo>
                    <a:lnTo>
                      <a:pt x="1716" y="2460"/>
                    </a:lnTo>
                    <a:lnTo>
                      <a:pt x="1704" y="2484"/>
                    </a:lnTo>
                    <a:lnTo>
                      <a:pt x="1698" y="2466"/>
                    </a:lnTo>
                    <a:lnTo>
                      <a:pt x="1680" y="2472"/>
                    </a:lnTo>
                    <a:lnTo>
                      <a:pt x="1680" y="2508"/>
                    </a:lnTo>
                    <a:lnTo>
                      <a:pt x="1662" y="2514"/>
                    </a:lnTo>
                    <a:lnTo>
                      <a:pt x="1656" y="2526"/>
                    </a:lnTo>
                    <a:lnTo>
                      <a:pt x="1638" y="2532"/>
                    </a:lnTo>
                    <a:lnTo>
                      <a:pt x="1614" y="2520"/>
                    </a:lnTo>
                    <a:lnTo>
                      <a:pt x="1608" y="2514"/>
                    </a:lnTo>
                    <a:lnTo>
                      <a:pt x="1602" y="2508"/>
                    </a:lnTo>
                    <a:lnTo>
                      <a:pt x="1584" y="2526"/>
                    </a:lnTo>
                    <a:lnTo>
                      <a:pt x="1566" y="2514"/>
                    </a:lnTo>
                    <a:lnTo>
                      <a:pt x="1548" y="2520"/>
                    </a:lnTo>
                    <a:lnTo>
                      <a:pt x="1548" y="2550"/>
                    </a:lnTo>
                    <a:lnTo>
                      <a:pt x="1536" y="2556"/>
                    </a:lnTo>
                    <a:lnTo>
                      <a:pt x="1524" y="2556"/>
                    </a:lnTo>
                    <a:lnTo>
                      <a:pt x="1512" y="2568"/>
                    </a:lnTo>
                    <a:lnTo>
                      <a:pt x="1506" y="2568"/>
                    </a:lnTo>
                    <a:lnTo>
                      <a:pt x="1488" y="2574"/>
                    </a:lnTo>
                    <a:lnTo>
                      <a:pt x="1476" y="2574"/>
                    </a:lnTo>
                    <a:lnTo>
                      <a:pt x="1476" y="2580"/>
                    </a:lnTo>
                    <a:lnTo>
                      <a:pt x="1476" y="2592"/>
                    </a:lnTo>
                    <a:lnTo>
                      <a:pt x="1470" y="2592"/>
                    </a:lnTo>
                    <a:lnTo>
                      <a:pt x="1464" y="2598"/>
                    </a:lnTo>
                    <a:lnTo>
                      <a:pt x="1452" y="2604"/>
                    </a:lnTo>
                    <a:lnTo>
                      <a:pt x="1452" y="2610"/>
                    </a:lnTo>
                    <a:lnTo>
                      <a:pt x="1446" y="2616"/>
                    </a:lnTo>
                    <a:lnTo>
                      <a:pt x="1446" y="2622"/>
                    </a:lnTo>
                    <a:lnTo>
                      <a:pt x="1440" y="2640"/>
                    </a:lnTo>
                    <a:lnTo>
                      <a:pt x="1446" y="2658"/>
                    </a:lnTo>
                    <a:lnTo>
                      <a:pt x="1398" y="2670"/>
                    </a:lnTo>
                    <a:lnTo>
                      <a:pt x="1386" y="2664"/>
                    </a:lnTo>
                    <a:lnTo>
                      <a:pt x="1350" y="2676"/>
                    </a:lnTo>
                    <a:lnTo>
                      <a:pt x="1338" y="2688"/>
                    </a:lnTo>
                    <a:lnTo>
                      <a:pt x="1338" y="2694"/>
                    </a:lnTo>
                    <a:lnTo>
                      <a:pt x="1344" y="2706"/>
                    </a:lnTo>
                    <a:lnTo>
                      <a:pt x="1350" y="2724"/>
                    </a:lnTo>
                    <a:lnTo>
                      <a:pt x="1344" y="2748"/>
                    </a:lnTo>
                    <a:lnTo>
                      <a:pt x="1326" y="2760"/>
                    </a:lnTo>
                    <a:lnTo>
                      <a:pt x="1320" y="2766"/>
                    </a:lnTo>
                    <a:lnTo>
                      <a:pt x="1302" y="2766"/>
                    </a:lnTo>
                    <a:lnTo>
                      <a:pt x="1284" y="2772"/>
                    </a:lnTo>
                    <a:lnTo>
                      <a:pt x="1272" y="2754"/>
                    </a:lnTo>
                    <a:lnTo>
                      <a:pt x="1254" y="2772"/>
                    </a:lnTo>
                    <a:lnTo>
                      <a:pt x="1242" y="2772"/>
                    </a:lnTo>
                    <a:lnTo>
                      <a:pt x="1236" y="2772"/>
                    </a:lnTo>
                    <a:lnTo>
                      <a:pt x="1224" y="2760"/>
                    </a:lnTo>
                    <a:lnTo>
                      <a:pt x="1218" y="2766"/>
                    </a:lnTo>
                    <a:lnTo>
                      <a:pt x="1212" y="2748"/>
                    </a:lnTo>
                    <a:lnTo>
                      <a:pt x="1206" y="2742"/>
                    </a:lnTo>
                    <a:lnTo>
                      <a:pt x="1194" y="2724"/>
                    </a:lnTo>
                    <a:lnTo>
                      <a:pt x="1182" y="2724"/>
                    </a:lnTo>
                    <a:lnTo>
                      <a:pt x="1176" y="2718"/>
                    </a:lnTo>
                    <a:lnTo>
                      <a:pt x="1170" y="2718"/>
                    </a:lnTo>
                    <a:lnTo>
                      <a:pt x="1164" y="2718"/>
                    </a:lnTo>
                    <a:lnTo>
                      <a:pt x="1164" y="2688"/>
                    </a:lnTo>
                    <a:lnTo>
                      <a:pt x="1158" y="2676"/>
                    </a:lnTo>
                    <a:lnTo>
                      <a:pt x="1146" y="2670"/>
                    </a:lnTo>
                    <a:lnTo>
                      <a:pt x="1134" y="2634"/>
                    </a:lnTo>
                    <a:lnTo>
                      <a:pt x="1128" y="2610"/>
                    </a:lnTo>
                    <a:lnTo>
                      <a:pt x="1128" y="2592"/>
                    </a:lnTo>
                    <a:lnTo>
                      <a:pt x="1140" y="2598"/>
                    </a:lnTo>
                    <a:lnTo>
                      <a:pt x="1152" y="2586"/>
                    </a:lnTo>
                    <a:lnTo>
                      <a:pt x="1146" y="2574"/>
                    </a:lnTo>
                    <a:lnTo>
                      <a:pt x="1164" y="2556"/>
                    </a:lnTo>
                    <a:lnTo>
                      <a:pt x="1176" y="2562"/>
                    </a:lnTo>
                    <a:lnTo>
                      <a:pt x="1170" y="2538"/>
                    </a:lnTo>
                    <a:lnTo>
                      <a:pt x="1158" y="2532"/>
                    </a:lnTo>
                    <a:lnTo>
                      <a:pt x="1158" y="2526"/>
                    </a:lnTo>
                    <a:lnTo>
                      <a:pt x="1152" y="2520"/>
                    </a:lnTo>
                    <a:lnTo>
                      <a:pt x="1146" y="2526"/>
                    </a:lnTo>
                    <a:lnTo>
                      <a:pt x="1134" y="2532"/>
                    </a:lnTo>
                    <a:lnTo>
                      <a:pt x="1128" y="2544"/>
                    </a:lnTo>
                    <a:lnTo>
                      <a:pt x="1116" y="2544"/>
                    </a:lnTo>
                    <a:lnTo>
                      <a:pt x="1110" y="2562"/>
                    </a:lnTo>
                    <a:lnTo>
                      <a:pt x="1086" y="2586"/>
                    </a:lnTo>
                    <a:lnTo>
                      <a:pt x="1062" y="2592"/>
                    </a:lnTo>
                    <a:lnTo>
                      <a:pt x="1062" y="2586"/>
                    </a:lnTo>
                    <a:lnTo>
                      <a:pt x="1050" y="2586"/>
                    </a:lnTo>
                    <a:lnTo>
                      <a:pt x="1050" y="2592"/>
                    </a:lnTo>
                    <a:lnTo>
                      <a:pt x="1038" y="2604"/>
                    </a:lnTo>
                    <a:lnTo>
                      <a:pt x="1026" y="2598"/>
                    </a:lnTo>
                    <a:lnTo>
                      <a:pt x="1020" y="2610"/>
                    </a:lnTo>
                    <a:lnTo>
                      <a:pt x="1026" y="2616"/>
                    </a:lnTo>
                    <a:lnTo>
                      <a:pt x="1008" y="2622"/>
                    </a:lnTo>
                    <a:lnTo>
                      <a:pt x="1002" y="2610"/>
                    </a:lnTo>
                    <a:lnTo>
                      <a:pt x="996" y="2616"/>
                    </a:lnTo>
                    <a:lnTo>
                      <a:pt x="996" y="2634"/>
                    </a:lnTo>
                    <a:lnTo>
                      <a:pt x="990" y="2652"/>
                    </a:lnTo>
                    <a:lnTo>
                      <a:pt x="990" y="2658"/>
                    </a:lnTo>
                    <a:lnTo>
                      <a:pt x="990" y="2664"/>
                    </a:lnTo>
                    <a:lnTo>
                      <a:pt x="996" y="2670"/>
                    </a:lnTo>
                    <a:lnTo>
                      <a:pt x="996" y="2676"/>
                    </a:lnTo>
                    <a:lnTo>
                      <a:pt x="978" y="2694"/>
                    </a:lnTo>
                    <a:lnTo>
                      <a:pt x="960" y="2664"/>
                    </a:lnTo>
                    <a:lnTo>
                      <a:pt x="966" y="2628"/>
                    </a:lnTo>
                    <a:lnTo>
                      <a:pt x="960" y="2622"/>
                    </a:lnTo>
                    <a:lnTo>
                      <a:pt x="960" y="2616"/>
                    </a:lnTo>
                    <a:lnTo>
                      <a:pt x="954" y="2610"/>
                    </a:lnTo>
                    <a:lnTo>
                      <a:pt x="948" y="2604"/>
                    </a:lnTo>
                    <a:lnTo>
                      <a:pt x="948" y="2598"/>
                    </a:lnTo>
                    <a:lnTo>
                      <a:pt x="942" y="2592"/>
                    </a:lnTo>
                    <a:lnTo>
                      <a:pt x="936" y="2568"/>
                    </a:lnTo>
                    <a:lnTo>
                      <a:pt x="942" y="2562"/>
                    </a:lnTo>
                    <a:lnTo>
                      <a:pt x="960" y="2550"/>
                    </a:lnTo>
                    <a:lnTo>
                      <a:pt x="960" y="2544"/>
                    </a:lnTo>
                    <a:lnTo>
                      <a:pt x="960" y="2538"/>
                    </a:lnTo>
                    <a:lnTo>
                      <a:pt x="960" y="2532"/>
                    </a:lnTo>
                    <a:lnTo>
                      <a:pt x="954" y="2526"/>
                    </a:lnTo>
                    <a:lnTo>
                      <a:pt x="954" y="2520"/>
                    </a:lnTo>
                    <a:lnTo>
                      <a:pt x="954" y="2514"/>
                    </a:lnTo>
                    <a:lnTo>
                      <a:pt x="954" y="2508"/>
                    </a:lnTo>
                    <a:lnTo>
                      <a:pt x="954" y="2502"/>
                    </a:lnTo>
                    <a:lnTo>
                      <a:pt x="954" y="2496"/>
                    </a:lnTo>
                    <a:lnTo>
                      <a:pt x="948" y="2496"/>
                    </a:lnTo>
                    <a:lnTo>
                      <a:pt x="942" y="2490"/>
                    </a:lnTo>
                    <a:lnTo>
                      <a:pt x="936" y="2484"/>
                    </a:lnTo>
                    <a:lnTo>
                      <a:pt x="930" y="2484"/>
                    </a:lnTo>
                    <a:lnTo>
                      <a:pt x="924" y="2484"/>
                    </a:lnTo>
                    <a:lnTo>
                      <a:pt x="918" y="2484"/>
                    </a:lnTo>
                    <a:lnTo>
                      <a:pt x="918" y="2478"/>
                    </a:lnTo>
                    <a:lnTo>
                      <a:pt x="912" y="2478"/>
                    </a:lnTo>
                    <a:lnTo>
                      <a:pt x="912" y="2484"/>
                    </a:lnTo>
                    <a:lnTo>
                      <a:pt x="906" y="2478"/>
                    </a:lnTo>
                    <a:lnTo>
                      <a:pt x="906" y="2466"/>
                    </a:lnTo>
                    <a:lnTo>
                      <a:pt x="900" y="2466"/>
                    </a:lnTo>
                    <a:lnTo>
                      <a:pt x="900" y="2460"/>
                    </a:lnTo>
                    <a:lnTo>
                      <a:pt x="894" y="2460"/>
                    </a:lnTo>
                    <a:lnTo>
                      <a:pt x="888" y="2460"/>
                    </a:lnTo>
                    <a:lnTo>
                      <a:pt x="882" y="2460"/>
                    </a:lnTo>
                    <a:lnTo>
                      <a:pt x="888" y="2448"/>
                    </a:lnTo>
                    <a:lnTo>
                      <a:pt x="888" y="2442"/>
                    </a:lnTo>
                    <a:lnTo>
                      <a:pt x="888" y="2436"/>
                    </a:lnTo>
                    <a:lnTo>
                      <a:pt x="888" y="2430"/>
                    </a:lnTo>
                    <a:lnTo>
                      <a:pt x="888" y="2424"/>
                    </a:lnTo>
                    <a:lnTo>
                      <a:pt x="870" y="2448"/>
                    </a:lnTo>
                    <a:lnTo>
                      <a:pt x="864" y="2442"/>
                    </a:lnTo>
                    <a:lnTo>
                      <a:pt x="858" y="2442"/>
                    </a:lnTo>
                    <a:lnTo>
                      <a:pt x="852" y="2448"/>
                    </a:lnTo>
                    <a:lnTo>
                      <a:pt x="852" y="2442"/>
                    </a:lnTo>
                    <a:lnTo>
                      <a:pt x="846" y="2442"/>
                    </a:lnTo>
                    <a:lnTo>
                      <a:pt x="840" y="2436"/>
                    </a:lnTo>
                    <a:lnTo>
                      <a:pt x="834" y="2436"/>
                    </a:lnTo>
                    <a:lnTo>
                      <a:pt x="828" y="2436"/>
                    </a:lnTo>
                    <a:lnTo>
                      <a:pt x="822" y="2436"/>
                    </a:lnTo>
                    <a:lnTo>
                      <a:pt x="822" y="2430"/>
                    </a:lnTo>
                    <a:lnTo>
                      <a:pt x="822" y="2418"/>
                    </a:lnTo>
                    <a:lnTo>
                      <a:pt x="834" y="2400"/>
                    </a:lnTo>
                    <a:lnTo>
                      <a:pt x="834" y="2394"/>
                    </a:lnTo>
                    <a:lnTo>
                      <a:pt x="834" y="2388"/>
                    </a:lnTo>
                    <a:lnTo>
                      <a:pt x="834" y="2382"/>
                    </a:lnTo>
                    <a:lnTo>
                      <a:pt x="828" y="2370"/>
                    </a:lnTo>
                    <a:lnTo>
                      <a:pt x="822" y="2352"/>
                    </a:lnTo>
                    <a:lnTo>
                      <a:pt x="828" y="2352"/>
                    </a:lnTo>
                    <a:lnTo>
                      <a:pt x="822" y="2334"/>
                    </a:lnTo>
                    <a:lnTo>
                      <a:pt x="828" y="2328"/>
                    </a:lnTo>
                    <a:lnTo>
                      <a:pt x="822" y="2322"/>
                    </a:lnTo>
                    <a:lnTo>
                      <a:pt x="816" y="2322"/>
                    </a:lnTo>
                    <a:lnTo>
                      <a:pt x="822" y="2304"/>
                    </a:lnTo>
                    <a:lnTo>
                      <a:pt x="804" y="2304"/>
                    </a:lnTo>
                    <a:lnTo>
                      <a:pt x="810" y="2286"/>
                    </a:lnTo>
                    <a:lnTo>
                      <a:pt x="810" y="2262"/>
                    </a:lnTo>
                    <a:lnTo>
                      <a:pt x="792" y="2250"/>
                    </a:lnTo>
                    <a:lnTo>
                      <a:pt x="804" y="2232"/>
                    </a:lnTo>
                    <a:lnTo>
                      <a:pt x="786" y="2226"/>
                    </a:lnTo>
                    <a:lnTo>
                      <a:pt x="780" y="2208"/>
                    </a:lnTo>
                    <a:lnTo>
                      <a:pt x="780" y="2172"/>
                    </a:lnTo>
                    <a:lnTo>
                      <a:pt x="762" y="2148"/>
                    </a:lnTo>
                    <a:lnTo>
                      <a:pt x="768" y="2130"/>
                    </a:lnTo>
                    <a:lnTo>
                      <a:pt x="786" y="2112"/>
                    </a:lnTo>
                    <a:lnTo>
                      <a:pt x="756" y="2094"/>
                    </a:lnTo>
                    <a:lnTo>
                      <a:pt x="780" y="2088"/>
                    </a:lnTo>
                    <a:lnTo>
                      <a:pt x="774" y="2052"/>
                    </a:lnTo>
                    <a:lnTo>
                      <a:pt x="774" y="2040"/>
                    </a:lnTo>
                    <a:lnTo>
                      <a:pt x="744" y="2040"/>
                    </a:lnTo>
                    <a:lnTo>
                      <a:pt x="720" y="2022"/>
                    </a:lnTo>
                    <a:lnTo>
                      <a:pt x="726" y="2010"/>
                    </a:lnTo>
                    <a:lnTo>
                      <a:pt x="714" y="1992"/>
                    </a:lnTo>
                    <a:lnTo>
                      <a:pt x="684" y="1986"/>
                    </a:lnTo>
                    <a:lnTo>
                      <a:pt x="654" y="1950"/>
                    </a:lnTo>
                    <a:lnTo>
                      <a:pt x="636" y="1956"/>
                    </a:lnTo>
                    <a:lnTo>
                      <a:pt x="636" y="1974"/>
                    </a:lnTo>
                    <a:lnTo>
                      <a:pt x="642" y="1998"/>
                    </a:lnTo>
                    <a:lnTo>
                      <a:pt x="606" y="1956"/>
                    </a:lnTo>
                    <a:lnTo>
                      <a:pt x="612" y="1980"/>
                    </a:lnTo>
                    <a:lnTo>
                      <a:pt x="606" y="1998"/>
                    </a:lnTo>
                    <a:lnTo>
                      <a:pt x="600" y="2028"/>
                    </a:lnTo>
                    <a:lnTo>
                      <a:pt x="588" y="2052"/>
                    </a:lnTo>
                    <a:lnTo>
                      <a:pt x="576" y="2082"/>
                    </a:lnTo>
                    <a:lnTo>
                      <a:pt x="558" y="2082"/>
                    </a:lnTo>
                    <a:lnTo>
                      <a:pt x="552" y="2088"/>
                    </a:lnTo>
                    <a:lnTo>
                      <a:pt x="546" y="2094"/>
                    </a:lnTo>
                    <a:lnTo>
                      <a:pt x="528" y="2076"/>
                    </a:lnTo>
                    <a:lnTo>
                      <a:pt x="522" y="2076"/>
                    </a:lnTo>
                    <a:lnTo>
                      <a:pt x="516" y="2076"/>
                    </a:lnTo>
                    <a:lnTo>
                      <a:pt x="516" y="2070"/>
                    </a:lnTo>
                    <a:lnTo>
                      <a:pt x="510" y="2076"/>
                    </a:lnTo>
                    <a:lnTo>
                      <a:pt x="498" y="2076"/>
                    </a:lnTo>
                    <a:lnTo>
                      <a:pt x="498" y="2118"/>
                    </a:lnTo>
                    <a:lnTo>
                      <a:pt x="462" y="2124"/>
                    </a:lnTo>
                    <a:lnTo>
                      <a:pt x="480" y="2154"/>
                    </a:lnTo>
                    <a:lnTo>
                      <a:pt x="450" y="2178"/>
                    </a:lnTo>
                    <a:lnTo>
                      <a:pt x="456" y="2196"/>
                    </a:lnTo>
                    <a:lnTo>
                      <a:pt x="456" y="2214"/>
                    </a:lnTo>
                    <a:lnTo>
                      <a:pt x="438" y="2202"/>
                    </a:lnTo>
                    <a:lnTo>
                      <a:pt x="438" y="2196"/>
                    </a:lnTo>
                    <a:lnTo>
                      <a:pt x="432" y="2196"/>
                    </a:lnTo>
                    <a:lnTo>
                      <a:pt x="432" y="2190"/>
                    </a:lnTo>
                    <a:lnTo>
                      <a:pt x="426" y="2190"/>
                    </a:lnTo>
                    <a:lnTo>
                      <a:pt x="426" y="2184"/>
                    </a:lnTo>
                    <a:lnTo>
                      <a:pt x="426" y="2178"/>
                    </a:lnTo>
                    <a:lnTo>
                      <a:pt x="420" y="2178"/>
                    </a:lnTo>
                    <a:lnTo>
                      <a:pt x="420" y="2172"/>
                    </a:lnTo>
                    <a:lnTo>
                      <a:pt x="420" y="2166"/>
                    </a:lnTo>
                    <a:lnTo>
                      <a:pt x="414" y="2166"/>
                    </a:lnTo>
                    <a:lnTo>
                      <a:pt x="414" y="2160"/>
                    </a:lnTo>
                    <a:lnTo>
                      <a:pt x="414" y="2154"/>
                    </a:lnTo>
                    <a:lnTo>
                      <a:pt x="408" y="2154"/>
                    </a:lnTo>
                    <a:lnTo>
                      <a:pt x="408" y="2148"/>
                    </a:lnTo>
                    <a:lnTo>
                      <a:pt x="408" y="2142"/>
                    </a:lnTo>
                    <a:lnTo>
                      <a:pt x="402" y="2142"/>
                    </a:lnTo>
                    <a:lnTo>
                      <a:pt x="402" y="2136"/>
                    </a:lnTo>
                    <a:lnTo>
                      <a:pt x="402" y="2142"/>
                    </a:lnTo>
                    <a:lnTo>
                      <a:pt x="402" y="2136"/>
                    </a:lnTo>
                    <a:lnTo>
                      <a:pt x="396" y="2136"/>
                    </a:lnTo>
                    <a:lnTo>
                      <a:pt x="396" y="2130"/>
                    </a:lnTo>
                    <a:lnTo>
                      <a:pt x="390" y="2130"/>
                    </a:lnTo>
                    <a:lnTo>
                      <a:pt x="390" y="2124"/>
                    </a:lnTo>
                    <a:lnTo>
                      <a:pt x="384" y="2124"/>
                    </a:lnTo>
                    <a:lnTo>
                      <a:pt x="390" y="2124"/>
                    </a:lnTo>
                    <a:lnTo>
                      <a:pt x="384" y="2124"/>
                    </a:lnTo>
                    <a:lnTo>
                      <a:pt x="390" y="2124"/>
                    </a:lnTo>
                    <a:lnTo>
                      <a:pt x="390" y="2118"/>
                    </a:lnTo>
                    <a:lnTo>
                      <a:pt x="384" y="2118"/>
                    </a:lnTo>
                    <a:lnTo>
                      <a:pt x="384" y="2112"/>
                    </a:lnTo>
                    <a:lnTo>
                      <a:pt x="378" y="2112"/>
                    </a:lnTo>
                    <a:lnTo>
                      <a:pt x="378" y="2106"/>
                    </a:lnTo>
                    <a:lnTo>
                      <a:pt x="384" y="2106"/>
                    </a:lnTo>
                    <a:lnTo>
                      <a:pt x="384" y="2100"/>
                    </a:lnTo>
                    <a:lnTo>
                      <a:pt x="384" y="2106"/>
                    </a:lnTo>
                    <a:lnTo>
                      <a:pt x="378" y="2106"/>
                    </a:lnTo>
                    <a:lnTo>
                      <a:pt x="378" y="2100"/>
                    </a:lnTo>
                    <a:lnTo>
                      <a:pt x="372" y="2100"/>
                    </a:lnTo>
                    <a:lnTo>
                      <a:pt x="372" y="2094"/>
                    </a:lnTo>
                    <a:lnTo>
                      <a:pt x="372" y="2088"/>
                    </a:lnTo>
                    <a:lnTo>
                      <a:pt x="366" y="2088"/>
                    </a:lnTo>
                    <a:lnTo>
                      <a:pt x="366" y="2082"/>
                    </a:lnTo>
                    <a:lnTo>
                      <a:pt x="366" y="2076"/>
                    </a:lnTo>
                    <a:lnTo>
                      <a:pt x="366" y="2070"/>
                    </a:lnTo>
                    <a:lnTo>
                      <a:pt x="360" y="2070"/>
                    </a:lnTo>
                    <a:lnTo>
                      <a:pt x="360" y="2064"/>
                    </a:lnTo>
                    <a:lnTo>
                      <a:pt x="354" y="2064"/>
                    </a:lnTo>
                    <a:lnTo>
                      <a:pt x="354" y="2058"/>
                    </a:lnTo>
                    <a:lnTo>
                      <a:pt x="348" y="2058"/>
                    </a:lnTo>
                    <a:lnTo>
                      <a:pt x="348" y="2052"/>
                    </a:lnTo>
                    <a:lnTo>
                      <a:pt x="348" y="2046"/>
                    </a:lnTo>
                    <a:lnTo>
                      <a:pt x="342" y="2046"/>
                    </a:lnTo>
                    <a:lnTo>
                      <a:pt x="342" y="2040"/>
                    </a:lnTo>
                    <a:lnTo>
                      <a:pt x="336" y="2040"/>
                    </a:lnTo>
                    <a:lnTo>
                      <a:pt x="336" y="2034"/>
                    </a:lnTo>
                    <a:lnTo>
                      <a:pt x="336" y="2028"/>
                    </a:lnTo>
                    <a:lnTo>
                      <a:pt x="336" y="2022"/>
                    </a:lnTo>
                    <a:lnTo>
                      <a:pt x="330" y="2022"/>
                    </a:lnTo>
                    <a:lnTo>
                      <a:pt x="330" y="2016"/>
                    </a:lnTo>
                    <a:lnTo>
                      <a:pt x="324" y="2016"/>
                    </a:lnTo>
                    <a:lnTo>
                      <a:pt x="324" y="2010"/>
                    </a:lnTo>
                    <a:lnTo>
                      <a:pt x="324" y="2004"/>
                    </a:lnTo>
                    <a:lnTo>
                      <a:pt x="324" y="1998"/>
                    </a:lnTo>
                    <a:lnTo>
                      <a:pt x="318" y="1998"/>
                    </a:lnTo>
                    <a:lnTo>
                      <a:pt x="318" y="1992"/>
                    </a:lnTo>
                    <a:lnTo>
                      <a:pt x="312" y="1992"/>
                    </a:lnTo>
                    <a:lnTo>
                      <a:pt x="312" y="1986"/>
                    </a:lnTo>
                    <a:lnTo>
                      <a:pt x="312" y="1992"/>
                    </a:lnTo>
                    <a:lnTo>
                      <a:pt x="312" y="1986"/>
                    </a:lnTo>
                    <a:lnTo>
                      <a:pt x="306" y="1986"/>
                    </a:lnTo>
                    <a:lnTo>
                      <a:pt x="312" y="1986"/>
                    </a:lnTo>
                    <a:lnTo>
                      <a:pt x="306" y="1986"/>
                    </a:lnTo>
                    <a:lnTo>
                      <a:pt x="312" y="1986"/>
                    </a:lnTo>
                    <a:lnTo>
                      <a:pt x="312" y="1980"/>
                    </a:lnTo>
                    <a:lnTo>
                      <a:pt x="306" y="1980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0" y="1968"/>
                    </a:lnTo>
                    <a:lnTo>
                      <a:pt x="300" y="1962"/>
                    </a:lnTo>
                    <a:lnTo>
                      <a:pt x="294" y="1962"/>
                    </a:lnTo>
                    <a:lnTo>
                      <a:pt x="294" y="1956"/>
                    </a:lnTo>
                    <a:lnTo>
                      <a:pt x="294" y="1950"/>
                    </a:lnTo>
                    <a:lnTo>
                      <a:pt x="288" y="1950"/>
                    </a:lnTo>
                    <a:lnTo>
                      <a:pt x="288" y="1944"/>
                    </a:lnTo>
                    <a:lnTo>
                      <a:pt x="282" y="1944"/>
                    </a:lnTo>
                    <a:lnTo>
                      <a:pt x="288" y="1944"/>
                    </a:lnTo>
                    <a:lnTo>
                      <a:pt x="282" y="1944"/>
                    </a:lnTo>
                    <a:lnTo>
                      <a:pt x="282" y="1938"/>
                    </a:lnTo>
                    <a:lnTo>
                      <a:pt x="282" y="1932"/>
                    </a:lnTo>
                    <a:lnTo>
                      <a:pt x="276" y="1932"/>
                    </a:lnTo>
                    <a:lnTo>
                      <a:pt x="276" y="1926"/>
                    </a:lnTo>
                    <a:lnTo>
                      <a:pt x="282" y="1926"/>
                    </a:lnTo>
                    <a:lnTo>
                      <a:pt x="276" y="1926"/>
                    </a:lnTo>
                    <a:lnTo>
                      <a:pt x="276" y="1920"/>
                    </a:lnTo>
                    <a:lnTo>
                      <a:pt x="276" y="1914"/>
                    </a:lnTo>
                    <a:lnTo>
                      <a:pt x="276" y="1908"/>
                    </a:lnTo>
                    <a:lnTo>
                      <a:pt x="270" y="1908"/>
                    </a:lnTo>
                    <a:lnTo>
                      <a:pt x="270" y="1902"/>
                    </a:lnTo>
                    <a:lnTo>
                      <a:pt x="264" y="1902"/>
                    </a:lnTo>
                    <a:lnTo>
                      <a:pt x="270" y="1902"/>
                    </a:lnTo>
                    <a:lnTo>
                      <a:pt x="270" y="1896"/>
                    </a:lnTo>
                    <a:lnTo>
                      <a:pt x="264" y="1896"/>
                    </a:lnTo>
                    <a:lnTo>
                      <a:pt x="264" y="1890"/>
                    </a:lnTo>
                    <a:lnTo>
                      <a:pt x="264" y="1884"/>
                    </a:lnTo>
                    <a:lnTo>
                      <a:pt x="264" y="1878"/>
                    </a:lnTo>
                    <a:lnTo>
                      <a:pt x="258" y="1878"/>
                    </a:lnTo>
                    <a:lnTo>
                      <a:pt x="258" y="1872"/>
                    </a:lnTo>
                    <a:lnTo>
                      <a:pt x="252" y="1872"/>
                    </a:lnTo>
                    <a:lnTo>
                      <a:pt x="252" y="1866"/>
                    </a:lnTo>
                    <a:lnTo>
                      <a:pt x="252" y="1860"/>
                    </a:lnTo>
                    <a:lnTo>
                      <a:pt x="246" y="1860"/>
                    </a:lnTo>
                    <a:lnTo>
                      <a:pt x="246" y="1854"/>
                    </a:lnTo>
                    <a:lnTo>
                      <a:pt x="252" y="1854"/>
                    </a:lnTo>
                    <a:lnTo>
                      <a:pt x="246" y="1854"/>
                    </a:lnTo>
                    <a:lnTo>
                      <a:pt x="246" y="1848"/>
                    </a:lnTo>
                    <a:lnTo>
                      <a:pt x="246" y="1842"/>
                    </a:lnTo>
                    <a:lnTo>
                      <a:pt x="246" y="1836"/>
                    </a:lnTo>
                    <a:lnTo>
                      <a:pt x="240" y="1836"/>
                    </a:lnTo>
                    <a:lnTo>
                      <a:pt x="240" y="1830"/>
                    </a:lnTo>
                    <a:lnTo>
                      <a:pt x="240" y="1824"/>
                    </a:lnTo>
                    <a:lnTo>
                      <a:pt x="240" y="1818"/>
                    </a:lnTo>
                    <a:lnTo>
                      <a:pt x="234" y="1818"/>
                    </a:lnTo>
                    <a:lnTo>
                      <a:pt x="234" y="1812"/>
                    </a:lnTo>
                    <a:lnTo>
                      <a:pt x="234" y="1806"/>
                    </a:lnTo>
                    <a:lnTo>
                      <a:pt x="228" y="1806"/>
                    </a:lnTo>
                    <a:lnTo>
                      <a:pt x="228" y="1800"/>
                    </a:lnTo>
                    <a:lnTo>
                      <a:pt x="222" y="1800"/>
                    </a:lnTo>
                    <a:lnTo>
                      <a:pt x="222" y="1794"/>
                    </a:lnTo>
                    <a:lnTo>
                      <a:pt x="222" y="1788"/>
                    </a:lnTo>
                    <a:lnTo>
                      <a:pt x="222" y="1782"/>
                    </a:lnTo>
                    <a:lnTo>
                      <a:pt x="216" y="1782"/>
                    </a:lnTo>
                    <a:lnTo>
                      <a:pt x="216" y="1776"/>
                    </a:lnTo>
                    <a:lnTo>
                      <a:pt x="216" y="1782"/>
                    </a:lnTo>
                    <a:lnTo>
                      <a:pt x="216" y="1776"/>
                    </a:lnTo>
                    <a:lnTo>
                      <a:pt x="216" y="1770"/>
                    </a:lnTo>
                    <a:lnTo>
                      <a:pt x="210" y="1770"/>
                    </a:lnTo>
                    <a:lnTo>
                      <a:pt x="210" y="1764"/>
                    </a:lnTo>
                    <a:lnTo>
                      <a:pt x="210" y="1758"/>
                    </a:lnTo>
                    <a:lnTo>
                      <a:pt x="210" y="1752"/>
                    </a:lnTo>
                    <a:lnTo>
                      <a:pt x="204" y="1752"/>
                    </a:lnTo>
                    <a:lnTo>
                      <a:pt x="204" y="1746"/>
                    </a:lnTo>
                    <a:lnTo>
                      <a:pt x="204" y="1740"/>
                    </a:lnTo>
                    <a:lnTo>
                      <a:pt x="204" y="1734"/>
                    </a:lnTo>
                    <a:lnTo>
                      <a:pt x="204" y="1728"/>
                    </a:lnTo>
                    <a:lnTo>
                      <a:pt x="204" y="1722"/>
                    </a:lnTo>
                    <a:lnTo>
                      <a:pt x="198" y="1722"/>
                    </a:lnTo>
                    <a:lnTo>
                      <a:pt x="198" y="1716"/>
                    </a:lnTo>
                    <a:lnTo>
                      <a:pt x="198" y="1710"/>
                    </a:lnTo>
                    <a:lnTo>
                      <a:pt x="198" y="1704"/>
                    </a:lnTo>
                    <a:lnTo>
                      <a:pt x="192" y="1704"/>
                    </a:lnTo>
                    <a:lnTo>
                      <a:pt x="192" y="1698"/>
                    </a:lnTo>
                    <a:lnTo>
                      <a:pt x="192" y="1692"/>
                    </a:lnTo>
                    <a:lnTo>
                      <a:pt x="186" y="1692"/>
                    </a:lnTo>
                    <a:lnTo>
                      <a:pt x="186" y="1686"/>
                    </a:lnTo>
                    <a:lnTo>
                      <a:pt x="180" y="1686"/>
                    </a:lnTo>
                    <a:lnTo>
                      <a:pt x="180" y="1680"/>
                    </a:lnTo>
                    <a:lnTo>
                      <a:pt x="186" y="1680"/>
                    </a:lnTo>
                    <a:lnTo>
                      <a:pt x="186" y="1674"/>
                    </a:lnTo>
                    <a:lnTo>
                      <a:pt x="180" y="1674"/>
                    </a:lnTo>
                    <a:lnTo>
                      <a:pt x="180" y="1668"/>
                    </a:lnTo>
                    <a:lnTo>
                      <a:pt x="180" y="1662"/>
                    </a:lnTo>
                    <a:lnTo>
                      <a:pt x="174" y="1662"/>
                    </a:lnTo>
                    <a:lnTo>
                      <a:pt x="174" y="1656"/>
                    </a:lnTo>
                    <a:lnTo>
                      <a:pt x="180" y="1656"/>
                    </a:lnTo>
                    <a:lnTo>
                      <a:pt x="174" y="1656"/>
                    </a:lnTo>
                    <a:lnTo>
                      <a:pt x="174" y="1650"/>
                    </a:lnTo>
                    <a:lnTo>
                      <a:pt x="174" y="1644"/>
                    </a:lnTo>
                    <a:lnTo>
                      <a:pt x="174" y="1638"/>
                    </a:lnTo>
                    <a:lnTo>
                      <a:pt x="168" y="1638"/>
                    </a:lnTo>
                    <a:lnTo>
                      <a:pt x="168" y="1632"/>
                    </a:lnTo>
                    <a:lnTo>
                      <a:pt x="162" y="1632"/>
                    </a:lnTo>
                    <a:lnTo>
                      <a:pt x="162" y="1626"/>
                    </a:lnTo>
                    <a:lnTo>
                      <a:pt x="162" y="1620"/>
                    </a:lnTo>
                    <a:lnTo>
                      <a:pt x="162" y="1614"/>
                    </a:lnTo>
                    <a:lnTo>
                      <a:pt x="156" y="1614"/>
                    </a:lnTo>
                    <a:lnTo>
                      <a:pt x="156" y="1608"/>
                    </a:lnTo>
                    <a:lnTo>
                      <a:pt x="150" y="1608"/>
                    </a:lnTo>
                    <a:lnTo>
                      <a:pt x="150" y="1602"/>
                    </a:lnTo>
                    <a:lnTo>
                      <a:pt x="144" y="1602"/>
                    </a:lnTo>
                    <a:lnTo>
                      <a:pt x="144" y="1596"/>
                    </a:lnTo>
                    <a:lnTo>
                      <a:pt x="144" y="1590"/>
                    </a:lnTo>
                    <a:lnTo>
                      <a:pt x="138" y="1590"/>
                    </a:lnTo>
                    <a:lnTo>
                      <a:pt x="138" y="1584"/>
                    </a:lnTo>
                    <a:lnTo>
                      <a:pt x="138" y="1590"/>
                    </a:lnTo>
                    <a:lnTo>
                      <a:pt x="144" y="1590"/>
                    </a:lnTo>
                    <a:lnTo>
                      <a:pt x="138" y="1590"/>
                    </a:lnTo>
                    <a:lnTo>
                      <a:pt x="138" y="1584"/>
                    </a:lnTo>
                    <a:lnTo>
                      <a:pt x="132" y="1584"/>
                    </a:lnTo>
                    <a:lnTo>
                      <a:pt x="132" y="1578"/>
                    </a:lnTo>
                    <a:lnTo>
                      <a:pt x="138" y="1578"/>
                    </a:lnTo>
                    <a:lnTo>
                      <a:pt x="138" y="1584"/>
                    </a:lnTo>
                    <a:lnTo>
                      <a:pt x="138" y="1578"/>
                    </a:lnTo>
                    <a:lnTo>
                      <a:pt x="132" y="1578"/>
                    </a:lnTo>
                    <a:lnTo>
                      <a:pt x="132" y="1572"/>
                    </a:lnTo>
                    <a:lnTo>
                      <a:pt x="132" y="1578"/>
                    </a:lnTo>
                    <a:lnTo>
                      <a:pt x="132" y="1572"/>
                    </a:lnTo>
                    <a:lnTo>
                      <a:pt x="132" y="1566"/>
                    </a:lnTo>
                    <a:lnTo>
                      <a:pt x="126" y="1566"/>
                    </a:lnTo>
                    <a:lnTo>
                      <a:pt x="126" y="1560"/>
                    </a:lnTo>
                    <a:lnTo>
                      <a:pt x="126" y="1554"/>
                    </a:lnTo>
                    <a:lnTo>
                      <a:pt x="126" y="1548"/>
                    </a:lnTo>
                    <a:lnTo>
                      <a:pt x="126" y="1542"/>
                    </a:lnTo>
                    <a:lnTo>
                      <a:pt x="120" y="1542"/>
                    </a:lnTo>
                    <a:lnTo>
                      <a:pt x="120" y="1536"/>
                    </a:lnTo>
                    <a:lnTo>
                      <a:pt x="120" y="1530"/>
                    </a:lnTo>
                    <a:lnTo>
                      <a:pt x="120" y="1524"/>
                    </a:lnTo>
                    <a:lnTo>
                      <a:pt x="114" y="1524"/>
                    </a:lnTo>
                    <a:lnTo>
                      <a:pt x="114" y="1518"/>
                    </a:lnTo>
                    <a:lnTo>
                      <a:pt x="108" y="1518"/>
                    </a:lnTo>
                    <a:lnTo>
                      <a:pt x="108" y="1512"/>
                    </a:lnTo>
                    <a:lnTo>
                      <a:pt x="108" y="1518"/>
                    </a:lnTo>
                    <a:lnTo>
                      <a:pt x="108" y="1512"/>
                    </a:lnTo>
                    <a:lnTo>
                      <a:pt x="102" y="1512"/>
                    </a:lnTo>
                    <a:lnTo>
                      <a:pt x="96" y="1512"/>
                    </a:lnTo>
                    <a:lnTo>
                      <a:pt x="96" y="1506"/>
                    </a:lnTo>
                    <a:lnTo>
                      <a:pt x="96" y="1512"/>
                    </a:lnTo>
                    <a:lnTo>
                      <a:pt x="96" y="1506"/>
                    </a:lnTo>
                    <a:lnTo>
                      <a:pt x="90" y="1506"/>
                    </a:lnTo>
                    <a:lnTo>
                      <a:pt x="90" y="1500"/>
                    </a:lnTo>
                    <a:lnTo>
                      <a:pt x="90" y="1494"/>
                    </a:lnTo>
                    <a:lnTo>
                      <a:pt x="84" y="1494"/>
                    </a:lnTo>
                    <a:lnTo>
                      <a:pt x="90" y="1494"/>
                    </a:lnTo>
                    <a:lnTo>
                      <a:pt x="84" y="1494"/>
                    </a:lnTo>
                    <a:lnTo>
                      <a:pt x="90" y="1494"/>
                    </a:lnTo>
                    <a:lnTo>
                      <a:pt x="90" y="1488"/>
                    </a:lnTo>
                    <a:lnTo>
                      <a:pt x="84" y="1488"/>
                    </a:lnTo>
                    <a:lnTo>
                      <a:pt x="84" y="1482"/>
                    </a:lnTo>
                    <a:lnTo>
                      <a:pt x="78" y="1482"/>
                    </a:lnTo>
                    <a:lnTo>
                      <a:pt x="78" y="1476"/>
                    </a:lnTo>
                    <a:lnTo>
                      <a:pt x="78" y="1470"/>
                    </a:lnTo>
                    <a:lnTo>
                      <a:pt x="72" y="1470"/>
                    </a:lnTo>
                    <a:lnTo>
                      <a:pt x="72" y="1464"/>
                    </a:lnTo>
                    <a:lnTo>
                      <a:pt x="66" y="1464"/>
                    </a:lnTo>
                    <a:lnTo>
                      <a:pt x="60" y="1464"/>
                    </a:lnTo>
                    <a:lnTo>
                      <a:pt x="60" y="1458"/>
                    </a:lnTo>
                    <a:lnTo>
                      <a:pt x="54" y="1458"/>
                    </a:lnTo>
                    <a:lnTo>
                      <a:pt x="48" y="1458"/>
                    </a:lnTo>
                    <a:lnTo>
                      <a:pt x="48" y="1452"/>
                    </a:lnTo>
                    <a:lnTo>
                      <a:pt x="48" y="1446"/>
                    </a:lnTo>
                    <a:lnTo>
                      <a:pt x="48" y="1440"/>
                    </a:lnTo>
                    <a:lnTo>
                      <a:pt x="42" y="1440"/>
                    </a:lnTo>
                    <a:lnTo>
                      <a:pt x="42" y="1434"/>
                    </a:lnTo>
                    <a:lnTo>
                      <a:pt x="42" y="1428"/>
                    </a:lnTo>
                    <a:lnTo>
                      <a:pt x="36" y="1428"/>
                    </a:lnTo>
                    <a:lnTo>
                      <a:pt x="36" y="1422"/>
                    </a:lnTo>
                    <a:lnTo>
                      <a:pt x="42" y="1422"/>
                    </a:lnTo>
                    <a:lnTo>
                      <a:pt x="36" y="1422"/>
                    </a:lnTo>
                    <a:lnTo>
                      <a:pt x="42" y="1422"/>
                    </a:lnTo>
                    <a:lnTo>
                      <a:pt x="36" y="1422"/>
                    </a:lnTo>
                    <a:lnTo>
                      <a:pt x="36" y="1416"/>
                    </a:lnTo>
                    <a:lnTo>
                      <a:pt x="36" y="1422"/>
                    </a:lnTo>
                    <a:lnTo>
                      <a:pt x="36" y="1416"/>
                    </a:lnTo>
                    <a:lnTo>
                      <a:pt x="36" y="1410"/>
                    </a:lnTo>
                    <a:lnTo>
                      <a:pt x="36" y="1404"/>
                    </a:lnTo>
                    <a:lnTo>
                      <a:pt x="30" y="1404"/>
                    </a:lnTo>
                    <a:lnTo>
                      <a:pt x="30" y="1398"/>
                    </a:lnTo>
                    <a:lnTo>
                      <a:pt x="24" y="1398"/>
                    </a:lnTo>
                    <a:lnTo>
                      <a:pt x="24" y="1392"/>
                    </a:lnTo>
                    <a:lnTo>
                      <a:pt x="18" y="1392"/>
                    </a:lnTo>
                    <a:lnTo>
                      <a:pt x="18" y="1386"/>
                    </a:lnTo>
                    <a:lnTo>
                      <a:pt x="12" y="1386"/>
                    </a:lnTo>
                    <a:lnTo>
                      <a:pt x="12" y="1380"/>
                    </a:lnTo>
                    <a:lnTo>
                      <a:pt x="6" y="1380"/>
                    </a:lnTo>
                    <a:lnTo>
                      <a:pt x="0" y="1380"/>
                    </a:lnTo>
                    <a:lnTo>
                      <a:pt x="6" y="1368"/>
                    </a:lnTo>
                    <a:lnTo>
                      <a:pt x="6" y="1362"/>
                    </a:lnTo>
                    <a:lnTo>
                      <a:pt x="6" y="1356"/>
                    </a:lnTo>
                    <a:lnTo>
                      <a:pt x="6" y="1350"/>
                    </a:lnTo>
                    <a:lnTo>
                      <a:pt x="18" y="1350"/>
                    </a:lnTo>
                    <a:lnTo>
                      <a:pt x="24" y="1350"/>
                    </a:lnTo>
                    <a:lnTo>
                      <a:pt x="30" y="1350"/>
                    </a:lnTo>
                    <a:lnTo>
                      <a:pt x="36" y="1344"/>
                    </a:lnTo>
                    <a:lnTo>
                      <a:pt x="42" y="1338"/>
                    </a:lnTo>
                    <a:lnTo>
                      <a:pt x="42" y="1332"/>
                    </a:lnTo>
                    <a:lnTo>
                      <a:pt x="48" y="1326"/>
                    </a:lnTo>
                    <a:lnTo>
                      <a:pt x="54" y="1320"/>
                    </a:lnTo>
                    <a:lnTo>
                      <a:pt x="60" y="1320"/>
                    </a:lnTo>
                    <a:lnTo>
                      <a:pt x="66" y="1320"/>
                    </a:lnTo>
                    <a:lnTo>
                      <a:pt x="66" y="1326"/>
                    </a:lnTo>
                    <a:lnTo>
                      <a:pt x="72" y="1326"/>
                    </a:lnTo>
                    <a:lnTo>
                      <a:pt x="78" y="1326"/>
                    </a:lnTo>
                    <a:lnTo>
                      <a:pt x="78" y="1320"/>
                    </a:lnTo>
                    <a:lnTo>
                      <a:pt x="84" y="1314"/>
                    </a:lnTo>
                    <a:lnTo>
                      <a:pt x="84" y="1308"/>
                    </a:lnTo>
                    <a:lnTo>
                      <a:pt x="90" y="1308"/>
                    </a:lnTo>
                    <a:lnTo>
                      <a:pt x="90" y="1302"/>
                    </a:lnTo>
                    <a:lnTo>
                      <a:pt x="84" y="1296"/>
                    </a:lnTo>
                    <a:lnTo>
                      <a:pt x="84" y="1290"/>
                    </a:lnTo>
                    <a:lnTo>
                      <a:pt x="90" y="1290"/>
                    </a:lnTo>
                    <a:lnTo>
                      <a:pt x="90" y="1284"/>
                    </a:lnTo>
                    <a:lnTo>
                      <a:pt x="96" y="1278"/>
                    </a:lnTo>
                    <a:lnTo>
                      <a:pt x="102" y="1278"/>
                    </a:lnTo>
                    <a:lnTo>
                      <a:pt x="96" y="1272"/>
                    </a:lnTo>
                    <a:lnTo>
                      <a:pt x="90" y="1272"/>
                    </a:lnTo>
                    <a:lnTo>
                      <a:pt x="90" y="1266"/>
                    </a:lnTo>
                    <a:lnTo>
                      <a:pt x="84" y="1260"/>
                    </a:lnTo>
                    <a:lnTo>
                      <a:pt x="78" y="1254"/>
                    </a:lnTo>
                    <a:lnTo>
                      <a:pt x="78" y="1248"/>
                    </a:lnTo>
                    <a:lnTo>
                      <a:pt x="84" y="1242"/>
                    </a:lnTo>
                    <a:lnTo>
                      <a:pt x="90" y="1248"/>
                    </a:lnTo>
                    <a:lnTo>
                      <a:pt x="96" y="1248"/>
                    </a:lnTo>
                    <a:lnTo>
                      <a:pt x="102" y="1248"/>
                    </a:lnTo>
                    <a:lnTo>
                      <a:pt x="102" y="1242"/>
                    </a:lnTo>
                    <a:lnTo>
                      <a:pt x="102" y="1236"/>
                    </a:lnTo>
                    <a:lnTo>
                      <a:pt x="96" y="1236"/>
                    </a:lnTo>
                    <a:lnTo>
                      <a:pt x="96" y="1230"/>
                    </a:lnTo>
                    <a:lnTo>
                      <a:pt x="102" y="1230"/>
                    </a:lnTo>
                    <a:lnTo>
                      <a:pt x="108" y="1224"/>
                    </a:lnTo>
                    <a:lnTo>
                      <a:pt x="108" y="1218"/>
                    </a:lnTo>
                    <a:lnTo>
                      <a:pt x="102" y="1218"/>
                    </a:lnTo>
                    <a:lnTo>
                      <a:pt x="102" y="1212"/>
                    </a:lnTo>
                    <a:lnTo>
                      <a:pt x="108" y="1212"/>
                    </a:lnTo>
                    <a:lnTo>
                      <a:pt x="114" y="1212"/>
                    </a:lnTo>
                    <a:lnTo>
                      <a:pt x="120" y="1212"/>
                    </a:lnTo>
                    <a:lnTo>
                      <a:pt x="114" y="1206"/>
                    </a:lnTo>
                    <a:lnTo>
                      <a:pt x="120" y="1200"/>
                    </a:lnTo>
                    <a:lnTo>
                      <a:pt x="114" y="1188"/>
                    </a:lnTo>
                    <a:lnTo>
                      <a:pt x="114" y="1182"/>
                    </a:lnTo>
                    <a:lnTo>
                      <a:pt x="120" y="1182"/>
                    </a:lnTo>
                    <a:lnTo>
                      <a:pt x="120" y="1176"/>
                    </a:lnTo>
                    <a:lnTo>
                      <a:pt x="126" y="1176"/>
                    </a:lnTo>
                    <a:lnTo>
                      <a:pt x="132" y="1176"/>
                    </a:lnTo>
                    <a:lnTo>
                      <a:pt x="138" y="1176"/>
                    </a:lnTo>
                    <a:lnTo>
                      <a:pt x="138" y="1170"/>
                    </a:lnTo>
                    <a:lnTo>
                      <a:pt x="144" y="1176"/>
                    </a:lnTo>
                    <a:lnTo>
                      <a:pt x="150" y="1176"/>
                    </a:lnTo>
                    <a:lnTo>
                      <a:pt x="156" y="1170"/>
                    </a:lnTo>
                    <a:lnTo>
                      <a:pt x="168" y="1164"/>
                    </a:lnTo>
                    <a:lnTo>
                      <a:pt x="174" y="1164"/>
                    </a:lnTo>
                    <a:lnTo>
                      <a:pt x="180" y="1164"/>
                    </a:lnTo>
                    <a:lnTo>
                      <a:pt x="180" y="1170"/>
                    </a:lnTo>
                    <a:lnTo>
                      <a:pt x="186" y="1170"/>
                    </a:lnTo>
                    <a:lnTo>
                      <a:pt x="186" y="1176"/>
                    </a:lnTo>
                    <a:lnTo>
                      <a:pt x="192" y="1182"/>
                    </a:lnTo>
                    <a:lnTo>
                      <a:pt x="198" y="1182"/>
                    </a:lnTo>
                    <a:lnTo>
                      <a:pt x="204" y="1182"/>
                    </a:lnTo>
                    <a:lnTo>
                      <a:pt x="204" y="1188"/>
                    </a:lnTo>
                    <a:lnTo>
                      <a:pt x="210" y="1188"/>
                    </a:lnTo>
                    <a:lnTo>
                      <a:pt x="210" y="1194"/>
                    </a:lnTo>
                    <a:lnTo>
                      <a:pt x="204" y="1206"/>
                    </a:lnTo>
                    <a:lnTo>
                      <a:pt x="204" y="1218"/>
                    </a:lnTo>
                    <a:lnTo>
                      <a:pt x="210" y="1224"/>
                    </a:lnTo>
                    <a:lnTo>
                      <a:pt x="216" y="1230"/>
                    </a:lnTo>
                    <a:lnTo>
                      <a:pt x="222" y="1230"/>
                    </a:lnTo>
                    <a:lnTo>
                      <a:pt x="228" y="1230"/>
                    </a:lnTo>
                    <a:lnTo>
                      <a:pt x="228" y="1224"/>
                    </a:lnTo>
                    <a:lnTo>
                      <a:pt x="228" y="1230"/>
                    </a:lnTo>
                    <a:lnTo>
                      <a:pt x="234" y="1230"/>
                    </a:lnTo>
                    <a:lnTo>
                      <a:pt x="240" y="1224"/>
                    </a:lnTo>
                    <a:lnTo>
                      <a:pt x="246" y="1218"/>
                    </a:lnTo>
                    <a:lnTo>
                      <a:pt x="252" y="1224"/>
                    </a:lnTo>
                    <a:lnTo>
                      <a:pt x="258" y="1224"/>
                    </a:lnTo>
                    <a:lnTo>
                      <a:pt x="258" y="1230"/>
                    </a:lnTo>
                    <a:lnTo>
                      <a:pt x="258" y="1236"/>
                    </a:lnTo>
                    <a:lnTo>
                      <a:pt x="264" y="1242"/>
                    </a:lnTo>
                    <a:lnTo>
                      <a:pt x="264" y="1248"/>
                    </a:lnTo>
                    <a:lnTo>
                      <a:pt x="264" y="1254"/>
                    </a:lnTo>
                    <a:lnTo>
                      <a:pt x="270" y="1254"/>
                    </a:lnTo>
                    <a:lnTo>
                      <a:pt x="270" y="1260"/>
                    </a:lnTo>
                    <a:lnTo>
                      <a:pt x="276" y="1260"/>
                    </a:lnTo>
                    <a:lnTo>
                      <a:pt x="276" y="1266"/>
                    </a:lnTo>
                    <a:lnTo>
                      <a:pt x="276" y="1272"/>
                    </a:lnTo>
                    <a:lnTo>
                      <a:pt x="276" y="1284"/>
                    </a:lnTo>
                    <a:lnTo>
                      <a:pt x="270" y="1290"/>
                    </a:lnTo>
                    <a:lnTo>
                      <a:pt x="264" y="1290"/>
                    </a:lnTo>
                    <a:lnTo>
                      <a:pt x="258" y="1296"/>
                    </a:lnTo>
                    <a:lnTo>
                      <a:pt x="258" y="1302"/>
                    </a:lnTo>
                    <a:lnTo>
                      <a:pt x="258" y="1308"/>
                    </a:lnTo>
                    <a:lnTo>
                      <a:pt x="258" y="1314"/>
                    </a:lnTo>
                    <a:lnTo>
                      <a:pt x="264" y="1314"/>
                    </a:lnTo>
                    <a:lnTo>
                      <a:pt x="270" y="1320"/>
                    </a:lnTo>
                    <a:lnTo>
                      <a:pt x="270" y="1326"/>
                    </a:lnTo>
                    <a:lnTo>
                      <a:pt x="270" y="1332"/>
                    </a:lnTo>
                    <a:lnTo>
                      <a:pt x="270" y="1338"/>
                    </a:lnTo>
                    <a:lnTo>
                      <a:pt x="276" y="1338"/>
                    </a:lnTo>
                    <a:lnTo>
                      <a:pt x="282" y="1338"/>
                    </a:lnTo>
                    <a:lnTo>
                      <a:pt x="288" y="1338"/>
                    </a:lnTo>
                    <a:lnTo>
                      <a:pt x="288" y="1344"/>
                    </a:lnTo>
                    <a:lnTo>
                      <a:pt x="288" y="1350"/>
                    </a:lnTo>
                    <a:lnTo>
                      <a:pt x="288" y="1356"/>
                    </a:lnTo>
                    <a:lnTo>
                      <a:pt x="288" y="1368"/>
                    </a:lnTo>
                    <a:lnTo>
                      <a:pt x="282" y="1374"/>
                    </a:lnTo>
                    <a:lnTo>
                      <a:pt x="282" y="1380"/>
                    </a:lnTo>
                    <a:lnTo>
                      <a:pt x="282" y="1386"/>
                    </a:lnTo>
                    <a:lnTo>
                      <a:pt x="288" y="1386"/>
                    </a:lnTo>
                    <a:lnTo>
                      <a:pt x="294" y="1386"/>
                    </a:lnTo>
                    <a:lnTo>
                      <a:pt x="300" y="1386"/>
                    </a:lnTo>
                    <a:lnTo>
                      <a:pt x="306" y="1380"/>
                    </a:lnTo>
                    <a:lnTo>
                      <a:pt x="306" y="1374"/>
                    </a:lnTo>
                    <a:lnTo>
                      <a:pt x="312" y="1380"/>
                    </a:lnTo>
                    <a:lnTo>
                      <a:pt x="324" y="1380"/>
                    </a:lnTo>
                    <a:lnTo>
                      <a:pt x="330" y="1374"/>
                    </a:lnTo>
                    <a:lnTo>
                      <a:pt x="336" y="1374"/>
                    </a:lnTo>
                    <a:lnTo>
                      <a:pt x="342" y="1380"/>
                    </a:lnTo>
                    <a:lnTo>
                      <a:pt x="342" y="1392"/>
                    </a:lnTo>
                    <a:lnTo>
                      <a:pt x="342" y="1398"/>
                    </a:lnTo>
                    <a:lnTo>
                      <a:pt x="348" y="1398"/>
                    </a:lnTo>
                    <a:lnTo>
                      <a:pt x="354" y="1398"/>
                    </a:lnTo>
                    <a:lnTo>
                      <a:pt x="360" y="1398"/>
                    </a:lnTo>
                    <a:lnTo>
                      <a:pt x="366" y="1398"/>
                    </a:lnTo>
                    <a:lnTo>
                      <a:pt x="372" y="1392"/>
                    </a:lnTo>
                    <a:lnTo>
                      <a:pt x="378" y="1398"/>
                    </a:lnTo>
                    <a:lnTo>
                      <a:pt x="384" y="1392"/>
                    </a:lnTo>
                    <a:lnTo>
                      <a:pt x="390" y="1392"/>
                    </a:lnTo>
                    <a:lnTo>
                      <a:pt x="390" y="1398"/>
                    </a:lnTo>
                    <a:lnTo>
                      <a:pt x="396" y="1398"/>
                    </a:lnTo>
                    <a:lnTo>
                      <a:pt x="396" y="1392"/>
                    </a:lnTo>
                    <a:lnTo>
                      <a:pt x="408" y="1392"/>
                    </a:lnTo>
                    <a:lnTo>
                      <a:pt x="414" y="1392"/>
                    </a:lnTo>
                    <a:lnTo>
                      <a:pt x="420" y="1392"/>
                    </a:lnTo>
                    <a:lnTo>
                      <a:pt x="426" y="1398"/>
                    </a:lnTo>
                    <a:lnTo>
                      <a:pt x="426" y="1392"/>
                    </a:lnTo>
                    <a:lnTo>
                      <a:pt x="432" y="1398"/>
                    </a:lnTo>
                    <a:lnTo>
                      <a:pt x="432" y="1392"/>
                    </a:lnTo>
                    <a:lnTo>
                      <a:pt x="438" y="1392"/>
                    </a:lnTo>
                    <a:lnTo>
                      <a:pt x="438" y="1398"/>
                    </a:lnTo>
                    <a:lnTo>
                      <a:pt x="444" y="1404"/>
                    </a:lnTo>
                    <a:lnTo>
                      <a:pt x="450" y="1398"/>
                    </a:lnTo>
                    <a:lnTo>
                      <a:pt x="450" y="1404"/>
                    </a:lnTo>
                    <a:lnTo>
                      <a:pt x="456" y="1410"/>
                    </a:lnTo>
                    <a:lnTo>
                      <a:pt x="462" y="1410"/>
                    </a:lnTo>
                    <a:lnTo>
                      <a:pt x="468" y="1416"/>
                    </a:lnTo>
                    <a:lnTo>
                      <a:pt x="468" y="1422"/>
                    </a:lnTo>
                    <a:lnTo>
                      <a:pt x="474" y="1428"/>
                    </a:lnTo>
                    <a:lnTo>
                      <a:pt x="480" y="1428"/>
                    </a:lnTo>
                    <a:lnTo>
                      <a:pt x="486" y="1428"/>
                    </a:lnTo>
                    <a:lnTo>
                      <a:pt x="498" y="1434"/>
                    </a:lnTo>
                    <a:lnTo>
                      <a:pt x="504" y="1434"/>
                    </a:lnTo>
                    <a:lnTo>
                      <a:pt x="510" y="1434"/>
                    </a:lnTo>
                    <a:lnTo>
                      <a:pt x="516" y="1434"/>
                    </a:lnTo>
                    <a:lnTo>
                      <a:pt x="516" y="1440"/>
                    </a:lnTo>
                    <a:lnTo>
                      <a:pt x="522" y="1440"/>
                    </a:lnTo>
                    <a:lnTo>
                      <a:pt x="528" y="1434"/>
                    </a:lnTo>
                    <a:lnTo>
                      <a:pt x="534" y="1434"/>
                    </a:lnTo>
                    <a:lnTo>
                      <a:pt x="540" y="1434"/>
                    </a:lnTo>
                    <a:lnTo>
                      <a:pt x="540" y="1428"/>
                    </a:lnTo>
                    <a:lnTo>
                      <a:pt x="546" y="1428"/>
                    </a:lnTo>
                    <a:lnTo>
                      <a:pt x="558" y="1428"/>
                    </a:lnTo>
                    <a:lnTo>
                      <a:pt x="564" y="1428"/>
                    </a:lnTo>
                    <a:lnTo>
                      <a:pt x="570" y="1428"/>
                    </a:lnTo>
                    <a:lnTo>
                      <a:pt x="576" y="1428"/>
                    </a:lnTo>
                    <a:lnTo>
                      <a:pt x="588" y="1434"/>
                    </a:lnTo>
                    <a:lnTo>
                      <a:pt x="594" y="1428"/>
                    </a:lnTo>
                    <a:lnTo>
                      <a:pt x="600" y="1428"/>
                    </a:lnTo>
                    <a:lnTo>
                      <a:pt x="606" y="1428"/>
                    </a:lnTo>
                    <a:lnTo>
                      <a:pt x="612" y="1428"/>
                    </a:lnTo>
                    <a:lnTo>
                      <a:pt x="618" y="1422"/>
                    </a:lnTo>
                    <a:lnTo>
                      <a:pt x="624" y="1422"/>
                    </a:lnTo>
                    <a:lnTo>
                      <a:pt x="624" y="1416"/>
                    </a:lnTo>
                    <a:lnTo>
                      <a:pt x="630" y="1416"/>
                    </a:lnTo>
                    <a:lnTo>
                      <a:pt x="636" y="1416"/>
                    </a:lnTo>
                    <a:lnTo>
                      <a:pt x="648" y="1410"/>
                    </a:lnTo>
                    <a:lnTo>
                      <a:pt x="654" y="1410"/>
                    </a:lnTo>
                    <a:lnTo>
                      <a:pt x="660" y="1410"/>
                    </a:lnTo>
                    <a:lnTo>
                      <a:pt x="672" y="1410"/>
                    </a:lnTo>
                    <a:lnTo>
                      <a:pt x="678" y="1404"/>
                    </a:lnTo>
                    <a:lnTo>
                      <a:pt x="684" y="1404"/>
                    </a:lnTo>
                    <a:lnTo>
                      <a:pt x="690" y="1410"/>
                    </a:lnTo>
                    <a:lnTo>
                      <a:pt x="696" y="1410"/>
                    </a:lnTo>
                    <a:lnTo>
                      <a:pt x="702" y="1404"/>
                    </a:lnTo>
                    <a:lnTo>
                      <a:pt x="708" y="1404"/>
                    </a:lnTo>
                    <a:lnTo>
                      <a:pt x="714" y="1410"/>
                    </a:lnTo>
                    <a:lnTo>
                      <a:pt x="720" y="1404"/>
                    </a:lnTo>
                    <a:lnTo>
                      <a:pt x="720" y="1410"/>
                    </a:lnTo>
                    <a:lnTo>
                      <a:pt x="726" y="1410"/>
                    </a:lnTo>
                    <a:lnTo>
                      <a:pt x="732" y="1410"/>
                    </a:lnTo>
                    <a:lnTo>
                      <a:pt x="738" y="1410"/>
                    </a:lnTo>
                    <a:lnTo>
                      <a:pt x="744" y="1410"/>
                    </a:lnTo>
                    <a:lnTo>
                      <a:pt x="750" y="1410"/>
                    </a:lnTo>
                    <a:lnTo>
                      <a:pt x="750" y="1416"/>
                    </a:lnTo>
                    <a:lnTo>
                      <a:pt x="756" y="1416"/>
                    </a:lnTo>
                    <a:lnTo>
                      <a:pt x="756" y="1422"/>
                    </a:lnTo>
                    <a:lnTo>
                      <a:pt x="762" y="1428"/>
                    </a:lnTo>
                    <a:lnTo>
                      <a:pt x="762" y="1434"/>
                    </a:lnTo>
                    <a:lnTo>
                      <a:pt x="768" y="1434"/>
                    </a:lnTo>
                    <a:lnTo>
                      <a:pt x="774" y="1434"/>
                    </a:lnTo>
                    <a:lnTo>
                      <a:pt x="780" y="1440"/>
                    </a:lnTo>
                    <a:lnTo>
                      <a:pt x="786" y="1440"/>
                    </a:lnTo>
                    <a:lnTo>
                      <a:pt x="792" y="1446"/>
                    </a:lnTo>
                    <a:lnTo>
                      <a:pt x="798" y="1446"/>
                    </a:lnTo>
                    <a:lnTo>
                      <a:pt x="798" y="1440"/>
                    </a:lnTo>
                    <a:lnTo>
                      <a:pt x="804" y="1440"/>
                    </a:lnTo>
                    <a:lnTo>
                      <a:pt x="810" y="1440"/>
                    </a:lnTo>
                    <a:lnTo>
                      <a:pt x="822" y="1434"/>
                    </a:lnTo>
                    <a:lnTo>
                      <a:pt x="822" y="1428"/>
                    </a:lnTo>
                    <a:lnTo>
                      <a:pt x="828" y="1428"/>
                    </a:lnTo>
                    <a:lnTo>
                      <a:pt x="828" y="1422"/>
                    </a:lnTo>
                    <a:lnTo>
                      <a:pt x="834" y="1422"/>
                    </a:lnTo>
                    <a:lnTo>
                      <a:pt x="840" y="1422"/>
                    </a:lnTo>
                    <a:lnTo>
                      <a:pt x="846" y="1422"/>
                    </a:lnTo>
                    <a:lnTo>
                      <a:pt x="846" y="1416"/>
                    </a:lnTo>
                    <a:lnTo>
                      <a:pt x="846" y="1410"/>
                    </a:lnTo>
                    <a:lnTo>
                      <a:pt x="840" y="1410"/>
                    </a:lnTo>
                    <a:lnTo>
                      <a:pt x="840" y="1404"/>
                    </a:lnTo>
                    <a:lnTo>
                      <a:pt x="834" y="1404"/>
                    </a:lnTo>
                    <a:lnTo>
                      <a:pt x="828" y="1392"/>
                    </a:lnTo>
                    <a:lnTo>
                      <a:pt x="828" y="1386"/>
                    </a:lnTo>
                    <a:lnTo>
                      <a:pt x="834" y="1374"/>
                    </a:lnTo>
                    <a:lnTo>
                      <a:pt x="834" y="1368"/>
                    </a:lnTo>
                    <a:lnTo>
                      <a:pt x="840" y="1362"/>
                    </a:lnTo>
                    <a:lnTo>
                      <a:pt x="846" y="1362"/>
                    </a:lnTo>
                    <a:lnTo>
                      <a:pt x="852" y="1362"/>
                    </a:lnTo>
                    <a:lnTo>
                      <a:pt x="858" y="1362"/>
                    </a:lnTo>
                    <a:lnTo>
                      <a:pt x="864" y="1362"/>
                    </a:lnTo>
                    <a:lnTo>
                      <a:pt x="870" y="1362"/>
                    </a:lnTo>
                    <a:lnTo>
                      <a:pt x="876" y="1362"/>
                    </a:lnTo>
                    <a:lnTo>
                      <a:pt x="882" y="1356"/>
                    </a:lnTo>
                    <a:lnTo>
                      <a:pt x="888" y="1356"/>
                    </a:lnTo>
                    <a:lnTo>
                      <a:pt x="894" y="1350"/>
                    </a:lnTo>
                    <a:lnTo>
                      <a:pt x="900" y="1344"/>
                    </a:lnTo>
                    <a:lnTo>
                      <a:pt x="900" y="1338"/>
                    </a:lnTo>
                    <a:lnTo>
                      <a:pt x="900" y="1332"/>
                    </a:lnTo>
                    <a:lnTo>
                      <a:pt x="906" y="1326"/>
                    </a:lnTo>
                    <a:lnTo>
                      <a:pt x="906" y="1314"/>
                    </a:lnTo>
                    <a:lnTo>
                      <a:pt x="906" y="1308"/>
                    </a:lnTo>
                    <a:lnTo>
                      <a:pt x="918" y="1302"/>
                    </a:lnTo>
                    <a:lnTo>
                      <a:pt x="918" y="1296"/>
                    </a:lnTo>
                    <a:lnTo>
                      <a:pt x="918" y="1290"/>
                    </a:lnTo>
                    <a:lnTo>
                      <a:pt x="924" y="1284"/>
                    </a:lnTo>
                    <a:lnTo>
                      <a:pt x="936" y="1284"/>
                    </a:lnTo>
                    <a:lnTo>
                      <a:pt x="942" y="1284"/>
                    </a:lnTo>
                    <a:lnTo>
                      <a:pt x="948" y="1284"/>
                    </a:lnTo>
                    <a:lnTo>
                      <a:pt x="954" y="1290"/>
                    </a:lnTo>
                    <a:lnTo>
                      <a:pt x="954" y="1284"/>
                    </a:lnTo>
                    <a:lnTo>
                      <a:pt x="960" y="1284"/>
                    </a:lnTo>
                    <a:lnTo>
                      <a:pt x="960" y="1278"/>
                    </a:lnTo>
                    <a:lnTo>
                      <a:pt x="972" y="1272"/>
                    </a:lnTo>
                    <a:lnTo>
                      <a:pt x="978" y="1272"/>
                    </a:lnTo>
                    <a:lnTo>
                      <a:pt x="984" y="1278"/>
                    </a:lnTo>
                    <a:lnTo>
                      <a:pt x="990" y="1278"/>
                    </a:lnTo>
                    <a:lnTo>
                      <a:pt x="996" y="1278"/>
                    </a:lnTo>
                    <a:lnTo>
                      <a:pt x="996" y="1272"/>
                    </a:lnTo>
                    <a:lnTo>
                      <a:pt x="1002" y="1266"/>
                    </a:lnTo>
                    <a:lnTo>
                      <a:pt x="1002" y="1260"/>
                    </a:lnTo>
                    <a:lnTo>
                      <a:pt x="1008" y="1260"/>
                    </a:lnTo>
                    <a:lnTo>
                      <a:pt x="1014" y="1254"/>
                    </a:lnTo>
                    <a:lnTo>
                      <a:pt x="1020" y="1254"/>
                    </a:lnTo>
                    <a:lnTo>
                      <a:pt x="1026" y="1254"/>
                    </a:lnTo>
                    <a:lnTo>
                      <a:pt x="1032" y="1254"/>
                    </a:lnTo>
                    <a:lnTo>
                      <a:pt x="1038" y="1248"/>
                    </a:lnTo>
                    <a:lnTo>
                      <a:pt x="1044" y="1248"/>
                    </a:lnTo>
                    <a:lnTo>
                      <a:pt x="1050" y="1248"/>
                    </a:lnTo>
                    <a:lnTo>
                      <a:pt x="1050" y="1242"/>
                    </a:lnTo>
                    <a:lnTo>
                      <a:pt x="1044" y="1200"/>
                    </a:lnTo>
                    <a:lnTo>
                      <a:pt x="1044" y="1158"/>
                    </a:lnTo>
                    <a:lnTo>
                      <a:pt x="1044" y="1116"/>
                    </a:lnTo>
                    <a:lnTo>
                      <a:pt x="1038" y="1068"/>
                    </a:lnTo>
                    <a:lnTo>
                      <a:pt x="1038" y="1026"/>
                    </a:lnTo>
                    <a:lnTo>
                      <a:pt x="1038" y="984"/>
                    </a:lnTo>
                    <a:lnTo>
                      <a:pt x="1038" y="942"/>
                    </a:lnTo>
                    <a:lnTo>
                      <a:pt x="1032" y="900"/>
                    </a:lnTo>
                    <a:lnTo>
                      <a:pt x="1032" y="888"/>
                    </a:lnTo>
                    <a:lnTo>
                      <a:pt x="1032" y="858"/>
                    </a:lnTo>
                    <a:lnTo>
                      <a:pt x="1032" y="810"/>
                    </a:lnTo>
                    <a:lnTo>
                      <a:pt x="1026" y="768"/>
                    </a:lnTo>
                    <a:lnTo>
                      <a:pt x="1026" y="726"/>
                    </a:lnTo>
                    <a:lnTo>
                      <a:pt x="1026" y="684"/>
                    </a:lnTo>
                    <a:lnTo>
                      <a:pt x="1026" y="642"/>
                    </a:lnTo>
                    <a:lnTo>
                      <a:pt x="1020" y="600"/>
                    </a:lnTo>
                    <a:lnTo>
                      <a:pt x="1020" y="558"/>
                    </a:lnTo>
                    <a:lnTo>
                      <a:pt x="1020" y="510"/>
                    </a:lnTo>
                    <a:lnTo>
                      <a:pt x="1020" y="468"/>
                    </a:lnTo>
                    <a:lnTo>
                      <a:pt x="1014" y="426"/>
                    </a:lnTo>
                    <a:lnTo>
                      <a:pt x="1014" y="384"/>
                    </a:lnTo>
                    <a:lnTo>
                      <a:pt x="1014" y="342"/>
                    </a:lnTo>
                    <a:lnTo>
                      <a:pt x="1014" y="312"/>
                    </a:lnTo>
                    <a:lnTo>
                      <a:pt x="1014" y="300"/>
                    </a:lnTo>
                    <a:lnTo>
                      <a:pt x="1008" y="294"/>
                    </a:lnTo>
                    <a:lnTo>
                      <a:pt x="1008" y="288"/>
                    </a:lnTo>
                    <a:lnTo>
                      <a:pt x="1008" y="282"/>
                    </a:lnTo>
                    <a:lnTo>
                      <a:pt x="1008" y="258"/>
                    </a:lnTo>
                    <a:lnTo>
                      <a:pt x="1008" y="252"/>
                    </a:lnTo>
                    <a:lnTo>
                      <a:pt x="1008" y="222"/>
                    </a:lnTo>
                    <a:lnTo>
                      <a:pt x="1008" y="210"/>
                    </a:lnTo>
                    <a:lnTo>
                      <a:pt x="1008" y="198"/>
                    </a:lnTo>
                    <a:lnTo>
                      <a:pt x="1008" y="168"/>
                    </a:lnTo>
                    <a:lnTo>
                      <a:pt x="1008" y="138"/>
                    </a:lnTo>
                    <a:lnTo>
                      <a:pt x="1002" y="126"/>
                    </a:lnTo>
                    <a:lnTo>
                      <a:pt x="1002" y="114"/>
                    </a:lnTo>
                    <a:lnTo>
                      <a:pt x="1002" y="84"/>
                    </a:lnTo>
                    <a:lnTo>
                      <a:pt x="1002" y="54"/>
                    </a:lnTo>
                    <a:lnTo>
                      <a:pt x="1002" y="42"/>
                    </a:lnTo>
                    <a:lnTo>
                      <a:pt x="1002" y="24"/>
                    </a:lnTo>
                    <a:lnTo>
                      <a:pt x="1002" y="0"/>
                    </a:lnTo>
                    <a:lnTo>
                      <a:pt x="1002" y="6"/>
                    </a:lnTo>
                    <a:lnTo>
                      <a:pt x="1008" y="6"/>
                    </a:lnTo>
                    <a:lnTo>
                      <a:pt x="1008" y="12"/>
                    </a:lnTo>
                    <a:lnTo>
                      <a:pt x="1014" y="12"/>
                    </a:lnTo>
                    <a:lnTo>
                      <a:pt x="1014" y="18"/>
                    </a:lnTo>
                    <a:lnTo>
                      <a:pt x="1020" y="18"/>
                    </a:lnTo>
                    <a:lnTo>
                      <a:pt x="1020" y="24"/>
                    </a:lnTo>
                    <a:lnTo>
                      <a:pt x="1026" y="24"/>
                    </a:lnTo>
                    <a:lnTo>
                      <a:pt x="1032" y="30"/>
                    </a:lnTo>
                    <a:lnTo>
                      <a:pt x="1032" y="3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03" name="Freeform 13"/>
              <p:cNvSpPr>
                <a:spLocks noChangeAspect="1" noEditPoints="1"/>
              </p:cNvSpPr>
              <p:nvPr/>
            </p:nvSpPr>
            <p:spPr bwMode="auto">
              <a:xfrm>
                <a:off x="3026781" y="5809212"/>
                <a:ext cx="214687" cy="168029"/>
              </a:xfrm>
              <a:custGeom>
                <a:avLst/>
                <a:gdLst>
                  <a:gd name="T0" fmla="*/ 2147483647 w 1878"/>
                  <a:gd name="T1" fmla="*/ 2147483647 h 1470"/>
                  <a:gd name="T2" fmla="*/ 2147483647 w 1878"/>
                  <a:gd name="T3" fmla="*/ 2147483647 h 1470"/>
                  <a:gd name="T4" fmla="*/ 2147483647 w 1878"/>
                  <a:gd name="T5" fmla="*/ 2147483647 h 1470"/>
                  <a:gd name="T6" fmla="*/ 2147483647 w 1878"/>
                  <a:gd name="T7" fmla="*/ 2147483647 h 1470"/>
                  <a:gd name="T8" fmla="*/ 2147483647 w 1878"/>
                  <a:gd name="T9" fmla="*/ 2147483647 h 1470"/>
                  <a:gd name="T10" fmla="*/ 2147483647 w 1878"/>
                  <a:gd name="T11" fmla="*/ 2147483647 h 1470"/>
                  <a:gd name="T12" fmla="*/ 2147483647 w 1878"/>
                  <a:gd name="T13" fmla="*/ 2147483647 h 1470"/>
                  <a:gd name="T14" fmla="*/ 2147483647 w 1878"/>
                  <a:gd name="T15" fmla="*/ 2147483647 h 1470"/>
                  <a:gd name="T16" fmla="*/ 2147483647 w 1878"/>
                  <a:gd name="T17" fmla="*/ 2147483647 h 1470"/>
                  <a:gd name="T18" fmla="*/ 2147483647 w 1878"/>
                  <a:gd name="T19" fmla="*/ 2147483647 h 1470"/>
                  <a:gd name="T20" fmla="*/ 2147483647 w 1878"/>
                  <a:gd name="T21" fmla="*/ 2147483647 h 1470"/>
                  <a:gd name="T22" fmla="*/ 2147483647 w 1878"/>
                  <a:gd name="T23" fmla="*/ 2147483647 h 1470"/>
                  <a:gd name="T24" fmla="*/ 2147483647 w 1878"/>
                  <a:gd name="T25" fmla="*/ 2147483647 h 1470"/>
                  <a:gd name="T26" fmla="*/ 2147483647 w 1878"/>
                  <a:gd name="T27" fmla="*/ 2147483647 h 1470"/>
                  <a:gd name="T28" fmla="*/ 2147483647 w 1878"/>
                  <a:gd name="T29" fmla="*/ 2147483647 h 1470"/>
                  <a:gd name="T30" fmla="*/ 2147483647 w 1878"/>
                  <a:gd name="T31" fmla="*/ 2147483647 h 1470"/>
                  <a:gd name="T32" fmla="*/ 2147483647 w 1878"/>
                  <a:gd name="T33" fmla="*/ 2147483647 h 1470"/>
                  <a:gd name="T34" fmla="*/ 2147483647 w 1878"/>
                  <a:gd name="T35" fmla="*/ 2147483647 h 1470"/>
                  <a:gd name="T36" fmla="*/ 2147483647 w 1878"/>
                  <a:gd name="T37" fmla="*/ 2147483647 h 1470"/>
                  <a:gd name="T38" fmla="*/ 2147483647 w 1878"/>
                  <a:gd name="T39" fmla="*/ 2147483647 h 1470"/>
                  <a:gd name="T40" fmla="*/ 2147483647 w 1878"/>
                  <a:gd name="T41" fmla="*/ 2147483647 h 1470"/>
                  <a:gd name="T42" fmla="*/ 2147483647 w 1878"/>
                  <a:gd name="T43" fmla="*/ 2147483647 h 1470"/>
                  <a:gd name="T44" fmla="*/ 2147483647 w 1878"/>
                  <a:gd name="T45" fmla="*/ 2147483647 h 1470"/>
                  <a:gd name="T46" fmla="*/ 2147483647 w 1878"/>
                  <a:gd name="T47" fmla="*/ 2147483647 h 1470"/>
                  <a:gd name="T48" fmla="*/ 2147483647 w 1878"/>
                  <a:gd name="T49" fmla="*/ 2147483647 h 1470"/>
                  <a:gd name="T50" fmla="*/ 2147483647 w 1878"/>
                  <a:gd name="T51" fmla="*/ 2147483647 h 1470"/>
                  <a:gd name="T52" fmla="*/ 2147483647 w 1878"/>
                  <a:gd name="T53" fmla="*/ 2147483647 h 1470"/>
                  <a:gd name="T54" fmla="*/ 2147483647 w 1878"/>
                  <a:gd name="T55" fmla="*/ 2147483647 h 1470"/>
                  <a:gd name="T56" fmla="*/ 2147483647 w 1878"/>
                  <a:gd name="T57" fmla="*/ 2147483647 h 1470"/>
                  <a:gd name="T58" fmla="*/ 2147483647 w 1878"/>
                  <a:gd name="T59" fmla="*/ 2147483647 h 1470"/>
                  <a:gd name="T60" fmla="*/ 2147483647 w 1878"/>
                  <a:gd name="T61" fmla="*/ 2147483647 h 1470"/>
                  <a:gd name="T62" fmla="*/ 2147483647 w 1878"/>
                  <a:gd name="T63" fmla="*/ 2147483647 h 1470"/>
                  <a:gd name="T64" fmla="*/ 2147483647 w 1878"/>
                  <a:gd name="T65" fmla="*/ 2147483647 h 1470"/>
                  <a:gd name="T66" fmla="*/ 2147483647 w 1878"/>
                  <a:gd name="T67" fmla="*/ 2147483647 h 1470"/>
                  <a:gd name="T68" fmla="*/ 2147483647 w 1878"/>
                  <a:gd name="T69" fmla="*/ 2147483647 h 1470"/>
                  <a:gd name="T70" fmla="*/ 2147483647 w 1878"/>
                  <a:gd name="T71" fmla="*/ 2147483647 h 1470"/>
                  <a:gd name="T72" fmla="*/ 2147483647 w 1878"/>
                  <a:gd name="T73" fmla="*/ 2147483647 h 1470"/>
                  <a:gd name="T74" fmla="*/ 2147483647 w 1878"/>
                  <a:gd name="T75" fmla="*/ 2147483647 h 1470"/>
                  <a:gd name="T76" fmla="*/ 2147483647 w 1878"/>
                  <a:gd name="T77" fmla="*/ 2147483647 h 1470"/>
                  <a:gd name="T78" fmla="*/ 2147483647 w 1878"/>
                  <a:gd name="T79" fmla="*/ 2147483647 h 1470"/>
                  <a:gd name="T80" fmla="*/ 2147483647 w 1878"/>
                  <a:gd name="T81" fmla="*/ 2147483647 h 1470"/>
                  <a:gd name="T82" fmla="*/ 2147483647 w 1878"/>
                  <a:gd name="T83" fmla="*/ 2147483647 h 1470"/>
                  <a:gd name="T84" fmla="*/ 2147483647 w 1878"/>
                  <a:gd name="T85" fmla="*/ 2147483647 h 1470"/>
                  <a:gd name="T86" fmla="*/ 2147483647 w 1878"/>
                  <a:gd name="T87" fmla="*/ 2147483647 h 1470"/>
                  <a:gd name="T88" fmla="*/ 2147483647 w 1878"/>
                  <a:gd name="T89" fmla="*/ 2147483647 h 1470"/>
                  <a:gd name="T90" fmla="*/ 2147483647 w 1878"/>
                  <a:gd name="T91" fmla="*/ 2147483647 h 1470"/>
                  <a:gd name="T92" fmla="*/ 2147483647 w 1878"/>
                  <a:gd name="T93" fmla="*/ 2147483647 h 1470"/>
                  <a:gd name="T94" fmla="*/ 2147483647 w 1878"/>
                  <a:gd name="T95" fmla="*/ 2147483647 h 1470"/>
                  <a:gd name="T96" fmla="*/ 2147483647 w 1878"/>
                  <a:gd name="T97" fmla="*/ 2147483647 h 1470"/>
                  <a:gd name="T98" fmla="*/ 2147483647 w 1878"/>
                  <a:gd name="T99" fmla="*/ 2147483647 h 1470"/>
                  <a:gd name="T100" fmla="*/ 2147483647 w 1878"/>
                  <a:gd name="T101" fmla="*/ 2147483647 h 1470"/>
                  <a:gd name="T102" fmla="*/ 2147483647 w 1878"/>
                  <a:gd name="T103" fmla="*/ 2147483647 h 1470"/>
                  <a:gd name="T104" fmla="*/ 2147483647 w 1878"/>
                  <a:gd name="T105" fmla="*/ 2147483647 h 1470"/>
                  <a:gd name="T106" fmla="*/ 2147483647 w 1878"/>
                  <a:gd name="T107" fmla="*/ 2147483647 h 1470"/>
                  <a:gd name="T108" fmla="*/ 2147483647 w 1878"/>
                  <a:gd name="T109" fmla="*/ 2147483647 h 1470"/>
                  <a:gd name="T110" fmla="*/ 2147483647 w 1878"/>
                  <a:gd name="T111" fmla="*/ 2147483647 h 1470"/>
                  <a:gd name="T112" fmla="*/ 2147483647 w 1878"/>
                  <a:gd name="T113" fmla="*/ 2147483647 h 1470"/>
                  <a:gd name="T114" fmla="*/ 2147483647 w 1878"/>
                  <a:gd name="T115" fmla="*/ 2147483647 h 1470"/>
                  <a:gd name="T116" fmla="*/ 2147483647 w 1878"/>
                  <a:gd name="T117" fmla="*/ 2147483647 h 1470"/>
                  <a:gd name="T118" fmla="*/ 2147483647 w 1878"/>
                  <a:gd name="T119" fmla="*/ 2147483647 h 1470"/>
                  <a:gd name="T120" fmla="*/ 2147483647 w 1878"/>
                  <a:gd name="T121" fmla="*/ 2147483647 h 147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78" h="1470">
                    <a:moveTo>
                      <a:pt x="1548" y="1182"/>
                    </a:moveTo>
                    <a:lnTo>
                      <a:pt x="1554" y="1182"/>
                    </a:lnTo>
                    <a:lnTo>
                      <a:pt x="1548" y="1182"/>
                    </a:lnTo>
                    <a:close/>
                    <a:moveTo>
                      <a:pt x="1554" y="1176"/>
                    </a:moveTo>
                    <a:lnTo>
                      <a:pt x="1560" y="1176"/>
                    </a:lnTo>
                    <a:lnTo>
                      <a:pt x="1560" y="1182"/>
                    </a:lnTo>
                    <a:lnTo>
                      <a:pt x="1554" y="1182"/>
                    </a:lnTo>
                    <a:lnTo>
                      <a:pt x="1554" y="1176"/>
                    </a:lnTo>
                    <a:close/>
                    <a:moveTo>
                      <a:pt x="1650" y="1164"/>
                    </a:moveTo>
                    <a:lnTo>
                      <a:pt x="1656" y="1164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0" y="1164"/>
                    </a:lnTo>
                    <a:close/>
                    <a:moveTo>
                      <a:pt x="228" y="1140"/>
                    </a:moveTo>
                    <a:lnTo>
                      <a:pt x="240" y="1140"/>
                    </a:lnTo>
                    <a:lnTo>
                      <a:pt x="240" y="1152"/>
                    </a:lnTo>
                    <a:lnTo>
                      <a:pt x="228" y="1152"/>
                    </a:lnTo>
                    <a:lnTo>
                      <a:pt x="228" y="1140"/>
                    </a:lnTo>
                    <a:close/>
                    <a:moveTo>
                      <a:pt x="144" y="1014"/>
                    </a:moveTo>
                    <a:lnTo>
                      <a:pt x="150" y="1014"/>
                    </a:lnTo>
                    <a:lnTo>
                      <a:pt x="150" y="1026"/>
                    </a:lnTo>
                    <a:lnTo>
                      <a:pt x="144" y="1026"/>
                    </a:lnTo>
                    <a:lnTo>
                      <a:pt x="144" y="1014"/>
                    </a:lnTo>
                    <a:close/>
                    <a:moveTo>
                      <a:pt x="144" y="942"/>
                    </a:moveTo>
                    <a:lnTo>
                      <a:pt x="150" y="942"/>
                    </a:lnTo>
                    <a:lnTo>
                      <a:pt x="144" y="942"/>
                    </a:lnTo>
                    <a:close/>
                    <a:moveTo>
                      <a:pt x="108" y="930"/>
                    </a:moveTo>
                    <a:lnTo>
                      <a:pt x="114" y="930"/>
                    </a:lnTo>
                    <a:lnTo>
                      <a:pt x="108" y="930"/>
                    </a:lnTo>
                    <a:close/>
                    <a:moveTo>
                      <a:pt x="120" y="906"/>
                    </a:moveTo>
                    <a:lnTo>
                      <a:pt x="120" y="912"/>
                    </a:lnTo>
                    <a:lnTo>
                      <a:pt x="121" y="912"/>
                    </a:lnTo>
                    <a:lnTo>
                      <a:pt x="120" y="906"/>
                    </a:lnTo>
                    <a:close/>
                    <a:moveTo>
                      <a:pt x="114" y="906"/>
                    </a:moveTo>
                    <a:lnTo>
                      <a:pt x="120" y="906"/>
                    </a:lnTo>
                    <a:lnTo>
                      <a:pt x="114" y="906"/>
                    </a:lnTo>
                    <a:close/>
                    <a:moveTo>
                      <a:pt x="90" y="894"/>
                    </a:moveTo>
                    <a:lnTo>
                      <a:pt x="96" y="894"/>
                    </a:lnTo>
                    <a:lnTo>
                      <a:pt x="96" y="900"/>
                    </a:lnTo>
                    <a:lnTo>
                      <a:pt x="90" y="900"/>
                    </a:lnTo>
                    <a:lnTo>
                      <a:pt x="90" y="894"/>
                    </a:lnTo>
                    <a:close/>
                    <a:moveTo>
                      <a:pt x="90" y="894"/>
                    </a:moveTo>
                    <a:lnTo>
                      <a:pt x="96" y="894"/>
                    </a:lnTo>
                    <a:lnTo>
                      <a:pt x="90" y="894"/>
                    </a:lnTo>
                    <a:close/>
                    <a:moveTo>
                      <a:pt x="72" y="792"/>
                    </a:moveTo>
                    <a:lnTo>
                      <a:pt x="78" y="792"/>
                    </a:lnTo>
                    <a:lnTo>
                      <a:pt x="72" y="792"/>
                    </a:lnTo>
                    <a:close/>
                    <a:moveTo>
                      <a:pt x="66" y="792"/>
                    </a:moveTo>
                    <a:lnTo>
                      <a:pt x="72" y="792"/>
                    </a:lnTo>
                    <a:lnTo>
                      <a:pt x="66" y="792"/>
                    </a:lnTo>
                    <a:close/>
                    <a:moveTo>
                      <a:pt x="276" y="42"/>
                    </a:moveTo>
                    <a:lnTo>
                      <a:pt x="288" y="60"/>
                    </a:lnTo>
                    <a:lnTo>
                      <a:pt x="282" y="72"/>
                    </a:lnTo>
                    <a:lnTo>
                      <a:pt x="306" y="90"/>
                    </a:lnTo>
                    <a:lnTo>
                      <a:pt x="336" y="90"/>
                    </a:lnTo>
                    <a:lnTo>
                      <a:pt x="336" y="102"/>
                    </a:lnTo>
                    <a:lnTo>
                      <a:pt x="342" y="138"/>
                    </a:lnTo>
                    <a:lnTo>
                      <a:pt x="318" y="144"/>
                    </a:lnTo>
                    <a:lnTo>
                      <a:pt x="348" y="162"/>
                    </a:lnTo>
                    <a:lnTo>
                      <a:pt x="330" y="180"/>
                    </a:lnTo>
                    <a:lnTo>
                      <a:pt x="324" y="198"/>
                    </a:lnTo>
                    <a:lnTo>
                      <a:pt x="342" y="222"/>
                    </a:lnTo>
                    <a:lnTo>
                      <a:pt x="342" y="258"/>
                    </a:lnTo>
                    <a:lnTo>
                      <a:pt x="348" y="276"/>
                    </a:lnTo>
                    <a:lnTo>
                      <a:pt x="366" y="282"/>
                    </a:lnTo>
                    <a:lnTo>
                      <a:pt x="354" y="300"/>
                    </a:lnTo>
                    <a:lnTo>
                      <a:pt x="372" y="312"/>
                    </a:lnTo>
                    <a:lnTo>
                      <a:pt x="372" y="336"/>
                    </a:lnTo>
                    <a:lnTo>
                      <a:pt x="366" y="354"/>
                    </a:lnTo>
                    <a:lnTo>
                      <a:pt x="384" y="354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0" y="378"/>
                    </a:lnTo>
                    <a:lnTo>
                      <a:pt x="384" y="384"/>
                    </a:lnTo>
                    <a:lnTo>
                      <a:pt x="390" y="402"/>
                    </a:lnTo>
                    <a:lnTo>
                      <a:pt x="384" y="402"/>
                    </a:lnTo>
                    <a:lnTo>
                      <a:pt x="390" y="420"/>
                    </a:lnTo>
                    <a:lnTo>
                      <a:pt x="396" y="432"/>
                    </a:lnTo>
                    <a:lnTo>
                      <a:pt x="396" y="438"/>
                    </a:lnTo>
                    <a:lnTo>
                      <a:pt x="396" y="444"/>
                    </a:lnTo>
                    <a:lnTo>
                      <a:pt x="396" y="450"/>
                    </a:lnTo>
                    <a:lnTo>
                      <a:pt x="384" y="468"/>
                    </a:lnTo>
                    <a:lnTo>
                      <a:pt x="384" y="480"/>
                    </a:lnTo>
                    <a:lnTo>
                      <a:pt x="384" y="486"/>
                    </a:lnTo>
                    <a:lnTo>
                      <a:pt x="390" y="486"/>
                    </a:lnTo>
                    <a:lnTo>
                      <a:pt x="396" y="486"/>
                    </a:lnTo>
                    <a:lnTo>
                      <a:pt x="402" y="486"/>
                    </a:lnTo>
                    <a:lnTo>
                      <a:pt x="408" y="492"/>
                    </a:lnTo>
                    <a:lnTo>
                      <a:pt x="414" y="492"/>
                    </a:lnTo>
                    <a:lnTo>
                      <a:pt x="414" y="498"/>
                    </a:lnTo>
                    <a:lnTo>
                      <a:pt x="420" y="492"/>
                    </a:lnTo>
                    <a:lnTo>
                      <a:pt x="426" y="492"/>
                    </a:lnTo>
                    <a:lnTo>
                      <a:pt x="432" y="498"/>
                    </a:lnTo>
                    <a:lnTo>
                      <a:pt x="450" y="474"/>
                    </a:lnTo>
                    <a:lnTo>
                      <a:pt x="450" y="480"/>
                    </a:lnTo>
                    <a:lnTo>
                      <a:pt x="450" y="486"/>
                    </a:lnTo>
                    <a:lnTo>
                      <a:pt x="450" y="492"/>
                    </a:lnTo>
                    <a:lnTo>
                      <a:pt x="450" y="498"/>
                    </a:lnTo>
                    <a:lnTo>
                      <a:pt x="444" y="510"/>
                    </a:lnTo>
                    <a:lnTo>
                      <a:pt x="450" y="510"/>
                    </a:lnTo>
                    <a:lnTo>
                      <a:pt x="456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68" y="516"/>
                    </a:lnTo>
                    <a:lnTo>
                      <a:pt x="468" y="528"/>
                    </a:lnTo>
                    <a:lnTo>
                      <a:pt x="474" y="534"/>
                    </a:lnTo>
                    <a:lnTo>
                      <a:pt x="474" y="528"/>
                    </a:lnTo>
                    <a:lnTo>
                      <a:pt x="480" y="528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92" y="534"/>
                    </a:lnTo>
                    <a:lnTo>
                      <a:pt x="498" y="534"/>
                    </a:lnTo>
                    <a:lnTo>
                      <a:pt x="504" y="540"/>
                    </a:lnTo>
                    <a:lnTo>
                      <a:pt x="510" y="546"/>
                    </a:lnTo>
                    <a:lnTo>
                      <a:pt x="516" y="546"/>
                    </a:lnTo>
                    <a:lnTo>
                      <a:pt x="516" y="552"/>
                    </a:lnTo>
                    <a:lnTo>
                      <a:pt x="516" y="558"/>
                    </a:lnTo>
                    <a:lnTo>
                      <a:pt x="516" y="564"/>
                    </a:lnTo>
                    <a:lnTo>
                      <a:pt x="516" y="570"/>
                    </a:lnTo>
                    <a:lnTo>
                      <a:pt x="516" y="576"/>
                    </a:lnTo>
                    <a:lnTo>
                      <a:pt x="522" y="582"/>
                    </a:lnTo>
                    <a:lnTo>
                      <a:pt x="522" y="588"/>
                    </a:lnTo>
                    <a:lnTo>
                      <a:pt x="522" y="594"/>
                    </a:lnTo>
                    <a:lnTo>
                      <a:pt x="522" y="600"/>
                    </a:lnTo>
                    <a:lnTo>
                      <a:pt x="504" y="612"/>
                    </a:lnTo>
                    <a:lnTo>
                      <a:pt x="498" y="618"/>
                    </a:lnTo>
                    <a:lnTo>
                      <a:pt x="504" y="642"/>
                    </a:lnTo>
                    <a:lnTo>
                      <a:pt x="510" y="648"/>
                    </a:lnTo>
                    <a:lnTo>
                      <a:pt x="510" y="654"/>
                    </a:lnTo>
                    <a:lnTo>
                      <a:pt x="516" y="660"/>
                    </a:lnTo>
                    <a:lnTo>
                      <a:pt x="522" y="666"/>
                    </a:lnTo>
                    <a:lnTo>
                      <a:pt x="522" y="672"/>
                    </a:lnTo>
                    <a:lnTo>
                      <a:pt x="528" y="678"/>
                    </a:lnTo>
                    <a:lnTo>
                      <a:pt x="522" y="714"/>
                    </a:lnTo>
                    <a:lnTo>
                      <a:pt x="540" y="744"/>
                    </a:lnTo>
                    <a:lnTo>
                      <a:pt x="558" y="726"/>
                    </a:lnTo>
                    <a:lnTo>
                      <a:pt x="558" y="720"/>
                    </a:lnTo>
                    <a:lnTo>
                      <a:pt x="552" y="714"/>
                    </a:lnTo>
                    <a:lnTo>
                      <a:pt x="552" y="708"/>
                    </a:lnTo>
                    <a:lnTo>
                      <a:pt x="552" y="702"/>
                    </a:lnTo>
                    <a:lnTo>
                      <a:pt x="558" y="684"/>
                    </a:lnTo>
                    <a:lnTo>
                      <a:pt x="558" y="666"/>
                    </a:lnTo>
                    <a:lnTo>
                      <a:pt x="564" y="660"/>
                    </a:lnTo>
                    <a:lnTo>
                      <a:pt x="570" y="672"/>
                    </a:lnTo>
                    <a:lnTo>
                      <a:pt x="588" y="666"/>
                    </a:lnTo>
                    <a:lnTo>
                      <a:pt x="582" y="660"/>
                    </a:lnTo>
                    <a:lnTo>
                      <a:pt x="588" y="648"/>
                    </a:lnTo>
                    <a:lnTo>
                      <a:pt x="600" y="654"/>
                    </a:lnTo>
                    <a:lnTo>
                      <a:pt x="612" y="642"/>
                    </a:lnTo>
                    <a:lnTo>
                      <a:pt x="612" y="636"/>
                    </a:lnTo>
                    <a:lnTo>
                      <a:pt x="624" y="636"/>
                    </a:lnTo>
                    <a:lnTo>
                      <a:pt x="624" y="642"/>
                    </a:lnTo>
                    <a:lnTo>
                      <a:pt x="648" y="636"/>
                    </a:lnTo>
                    <a:lnTo>
                      <a:pt x="672" y="612"/>
                    </a:lnTo>
                    <a:lnTo>
                      <a:pt x="678" y="594"/>
                    </a:lnTo>
                    <a:lnTo>
                      <a:pt x="690" y="594"/>
                    </a:lnTo>
                    <a:lnTo>
                      <a:pt x="696" y="582"/>
                    </a:lnTo>
                    <a:lnTo>
                      <a:pt x="708" y="576"/>
                    </a:lnTo>
                    <a:lnTo>
                      <a:pt x="714" y="570"/>
                    </a:lnTo>
                    <a:lnTo>
                      <a:pt x="720" y="576"/>
                    </a:lnTo>
                    <a:lnTo>
                      <a:pt x="720" y="582"/>
                    </a:lnTo>
                    <a:lnTo>
                      <a:pt x="732" y="588"/>
                    </a:lnTo>
                    <a:lnTo>
                      <a:pt x="738" y="612"/>
                    </a:lnTo>
                    <a:lnTo>
                      <a:pt x="726" y="606"/>
                    </a:lnTo>
                    <a:lnTo>
                      <a:pt x="708" y="624"/>
                    </a:lnTo>
                    <a:lnTo>
                      <a:pt x="714" y="636"/>
                    </a:lnTo>
                    <a:lnTo>
                      <a:pt x="702" y="648"/>
                    </a:lnTo>
                    <a:lnTo>
                      <a:pt x="690" y="642"/>
                    </a:lnTo>
                    <a:lnTo>
                      <a:pt x="690" y="660"/>
                    </a:lnTo>
                    <a:lnTo>
                      <a:pt x="696" y="684"/>
                    </a:lnTo>
                    <a:lnTo>
                      <a:pt x="708" y="720"/>
                    </a:lnTo>
                    <a:lnTo>
                      <a:pt x="720" y="726"/>
                    </a:lnTo>
                    <a:lnTo>
                      <a:pt x="726" y="738"/>
                    </a:lnTo>
                    <a:lnTo>
                      <a:pt x="726" y="768"/>
                    </a:lnTo>
                    <a:lnTo>
                      <a:pt x="732" y="768"/>
                    </a:lnTo>
                    <a:lnTo>
                      <a:pt x="738" y="768"/>
                    </a:lnTo>
                    <a:lnTo>
                      <a:pt x="744" y="774"/>
                    </a:lnTo>
                    <a:lnTo>
                      <a:pt x="756" y="774"/>
                    </a:lnTo>
                    <a:lnTo>
                      <a:pt x="768" y="792"/>
                    </a:lnTo>
                    <a:lnTo>
                      <a:pt x="774" y="798"/>
                    </a:lnTo>
                    <a:lnTo>
                      <a:pt x="780" y="816"/>
                    </a:lnTo>
                    <a:lnTo>
                      <a:pt x="786" y="810"/>
                    </a:lnTo>
                    <a:lnTo>
                      <a:pt x="798" y="822"/>
                    </a:lnTo>
                    <a:lnTo>
                      <a:pt x="804" y="822"/>
                    </a:lnTo>
                    <a:lnTo>
                      <a:pt x="816" y="822"/>
                    </a:lnTo>
                    <a:lnTo>
                      <a:pt x="834" y="804"/>
                    </a:lnTo>
                    <a:lnTo>
                      <a:pt x="846" y="822"/>
                    </a:lnTo>
                    <a:lnTo>
                      <a:pt x="864" y="816"/>
                    </a:lnTo>
                    <a:lnTo>
                      <a:pt x="882" y="816"/>
                    </a:lnTo>
                    <a:lnTo>
                      <a:pt x="888" y="810"/>
                    </a:lnTo>
                    <a:lnTo>
                      <a:pt x="906" y="798"/>
                    </a:lnTo>
                    <a:lnTo>
                      <a:pt x="912" y="774"/>
                    </a:lnTo>
                    <a:lnTo>
                      <a:pt x="906" y="756"/>
                    </a:lnTo>
                    <a:lnTo>
                      <a:pt x="900" y="744"/>
                    </a:lnTo>
                    <a:lnTo>
                      <a:pt x="900" y="738"/>
                    </a:lnTo>
                    <a:lnTo>
                      <a:pt x="912" y="726"/>
                    </a:lnTo>
                    <a:lnTo>
                      <a:pt x="948" y="714"/>
                    </a:lnTo>
                    <a:lnTo>
                      <a:pt x="960" y="720"/>
                    </a:lnTo>
                    <a:lnTo>
                      <a:pt x="1008" y="708"/>
                    </a:lnTo>
                    <a:lnTo>
                      <a:pt x="1002" y="690"/>
                    </a:lnTo>
                    <a:lnTo>
                      <a:pt x="1008" y="672"/>
                    </a:lnTo>
                    <a:lnTo>
                      <a:pt x="1008" y="666"/>
                    </a:lnTo>
                    <a:lnTo>
                      <a:pt x="1014" y="660"/>
                    </a:lnTo>
                    <a:lnTo>
                      <a:pt x="1014" y="654"/>
                    </a:lnTo>
                    <a:lnTo>
                      <a:pt x="1026" y="648"/>
                    </a:lnTo>
                    <a:lnTo>
                      <a:pt x="1032" y="642"/>
                    </a:lnTo>
                    <a:lnTo>
                      <a:pt x="1038" y="642"/>
                    </a:lnTo>
                    <a:lnTo>
                      <a:pt x="1038" y="630"/>
                    </a:lnTo>
                    <a:lnTo>
                      <a:pt x="1038" y="624"/>
                    </a:lnTo>
                    <a:lnTo>
                      <a:pt x="1050" y="624"/>
                    </a:lnTo>
                    <a:lnTo>
                      <a:pt x="1068" y="618"/>
                    </a:lnTo>
                    <a:lnTo>
                      <a:pt x="1074" y="618"/>
                    </a:lnTo>
                    <a:lnTo>
                      <a:pt x="1086" y="606"/>
                    </a:lnTo>
                    <a:lnTo>
                      <a:pt x="1098" y="606"/>
                    </a:lnTo>
                    <a:lnTo>
                      <a:pt x="1110" y="600"/>
                    </a:lnTo>
                    <a:lnTo>
                      <a:pt x="1110" y="570"/>
                    </a:lnTo>
                    <a:lnTo>
                      <a:pt x="1128" y="564"/>
                    </a:lnTo>
                    <a:lnTo>
                      <a:pt x="1146" y="576"/>
                    </a:lnTo>
                    <a:lnTo>
                      <a:pt x="1164" y="558"/>
                    </a:lnTo>
                    <a:lnTo>
                      <a:pt x="1170" y="564"/>
                    </a:lnTo>
                    <a:lnTo>
                      <a:pt x="1176" y="570"/>
                    </a:lnTo>
                    <a:lnTo>
                      <a:pt x="1200" y="582"/>
                    </a:lnTo>
                    <a:lnTo>
                      <a:pt x="1218" y="576"/>
                    </a:lnTo>
                    <a:lnTo>
                      <a:pt x="1224" y="564"/>
                    </a:lnTo>
                    <a:lnTo>
                      <a:pt x="1242" y="558"/>
                    </a:lnTo>
                    <a:lnTo>
                      <a:pt x="1242" y="522"/>
                    </a:lnTo>
                    <a:lnTo>
                      <a:pt x="1260" y="516"/>
                    </a:lnTo>
                    <a:lnTo>
                      <a:pt x="1266" y="534"/>
                    </a:lnTo>
                    <a:lnTo>
                      <a:pt x="1278" y="510"/>
                    </a:lnTo>
                    <a:lnTo>
                      <a:pt x="1266" y="498"/>
                    </a:lnTo>
                    <a:lnTo>
                      <a:pt x="1260" y="498"/>
                    </a:lnTo>
                    <a:lnTo>
                      <a:pt x="1260" y="492"/>
                    </a:lnTo>
                    <a:lnTo>
                      <a:pt x="1260" y="486"/>
                    </a:lnTo>
                    <a:lnTo>
                      <a:pt x="1266" y="480"/>
                    </a:lnTo>
                    <a:lnTo>
                      <a:pt x="1260" y="462"/>
                    </a:lnTo>
                    <a:lnTo>
                      <a:pt x="1266" y="462"/>
                    </a:lnTo>
                    <a:lnTo>
                      <a:pt x="1266" y="456"/>
                    </a:lnTo>
                    <a:lnTo>
                      <a:pt x="1266" y="450"/>
                    </a:lnTo>
                    <a:lnTo>
                      <a:pt x="1260" y="438"/>
                    </a:lnTo>
                    <a:lnTo>
                      <a:pt x="1284" y="450"/>
                    </a:lnTo>
                    <a:lnTo>
                      <a:pt x="1284" y="414"/>
                    </a:lnTo>
                    <a:lnTo>
                      <a:pt x="1302" y="390"/>
                    </a:lnTo>
                    <a:lnTo>
                      <a:pt x="1308" y="366"/>
                    </a:lnTo>
                    <a:lnTo>
                      <a:pt x="1314" y="360"/>
                    </a:lnTo>
                    <a:lnTo>
                      <a:pt x="1314" y="348"/>
                    </a:lnTo>
                    <a:lnTo>
                      <a:pt x="1320" y="342"/>
                    </a:lnTo>
                    <a:lnTo>
                      <a:pt x="1374" y="372"/>
                    </a:lnTo>
                    <a:lnTo>
                      <a:pt x="1392" y="378"/>
                    </a:lnTo>
                    <a:lnTo>
                      <a:pt x="1398" y="390"/>
                    </a:lnTo>
                    <a:lnTo>
                      <a:pt x="1410" y="396"/>
                    </a:lnTo>
                    <a:lnTo>
                      <a:pt x="1398" y="420"/>
                    </a:lnTo>
                    <a:lnTo>
                      <a:pt x="1422" y="426"/>
                    </a:lnTo>
                    <a:lnTo>
                      <a:pt x="1446" y="420"/>
                    </a:lnTo>
                    <a:lnTo>
                      <a:pt x="1458" y="438"/>
                    </a:lnTo>
                    <a:lnTo>
                      <a:pt x="1482" y="426"/>
                    </a:lnTo>
                    <a:lnTo>
                      <a:pt x="1482" y="438"/>
                    </a:lnTo>
                    <a:lnTo>
                      <a:pt x="1494" y="444"/>
                    </a:lnTo>
                    <a:lnTo>
                      <a:pt x="1512" y="438"/>
                    </a:lnTo>
                    <a:lnTo>
                      <a:pt x="1542" y="444"/>
                    </a:lnTo>
                    <a:lnTo>
                      <a:pt x="1536" y="456"/>
                    </a:lnTo>
                    <a:lnTo>
                      <a:pt x="1536" y="462"/>
                    </a:lnTo>
                    <a:lnTo>
                      <a:pt x="1548" y="480"/>
                    </a:lnTo>
                    <a:lnTo>
                      <a:pt x="1554" y="474"/>
                    </a:lnTo>
                    <a:lnTo>
                      <a:pt x="1590" y="438"/>
                    </a:lnTo>
                    <a:lnTo>
                      <a:pt x="1590" y="432"/>
                    </a:lnTo>
                    <a:lnTo>
                      <a:pt x="1596" y="420"/>
                    </a:lnTo>
                    <a:lnTo>
                      <a:pt x="1602" y="396"/>
                    </a:lnTo>
                    <a:lnTo>
                      <a:pt x="1620" y="384"/>
                    </a:lnTo>
                    <a:lnTo>
                      <a:pt x="1638" y="384"/>
                    </a:lnTo>
                    <a:lnTo>
                      <a:pt x="1644" y="378"/>
                    </a:lnTo>
                    <a:lnTo>
                      <a:pt x="1662" y="378"/>
                    </a:lnTo>
                    <a:lnTo>
                      <a:pt x="1674" y="384"/>
                    </a:lnTo>
                    <a:lnTo>
                      <a:pt x="1680" y="378"/>
                    </a:lnTo>
                    <a:lnTo>
                      <a:pt x="1692" y="378"/>
                    </a:lnTo>
                    <a:lnTo>
                      <a:pt x="1692" y="366"/>
                    </a:lnTo>
                    <a:lnTo>
                      <a:pt x="1698" y="366"/>
                    </a:lnTo>
                    <a:lnTo>
                      <a:pt x="1704" y="366"/>
                    </a:lnTo>
                    <a:lnTo>
                      <a:pt x="1734" y="366"/>
                    </a:lnTo>
                    <a:lnTo>
                      <a:pt x="1740" y="378"/>
                    </a:lnTo>
                    <a:lnTo>
                      <a:pt x="1764" y="390"/>
                    </a:lnTo>
                    <a:lnTo>
                      <a:pt x="1764" y="396"/>
                    </a:lnTo>
                    <a:lnTo>
                      <a:pt x="1758" y="402"/>
                    </a:lnTo>
                    <a:lnTo>
                      <a:pt x="1770" y="408"/>
                    </a:lnTo>
                    <a:lnTo>
                      <a:pt x="1776" y="420"/>
                    </a:lnTo>
                    <a:lnTo>
                      <a:pt x="1782" y="420"/>
                    </a:lnTo>
                    <a:lnTo>
                      <a:pt x="1788" y="408"/>
                    </a:lnTo>
                    <a:lnTo>
                      <a:pt x="1800" y="402"/>
                    </a:lnTo>
                    <a:lnTo>
                      <a:pt x="1800" y="384"/>
                    </a:lnTo>
                    <a:lnTo>
                      <a:pt x="1824" y="384"/>
                    </a:lnTo>
                    <a:lnTo>
                      <a:pt x="1824" y="390"/>
                    </a:lnTo>
                    <a:lnTo>
                      <a:pt x="1836" y="414"/>
                    </a:lnTo>
                    <a:lnTo>
                      <a:pt x="1860" y="408"/>
                    </a:lnTo>
                    <a:lnTo>
                      <a:pt x="1860" y="414"/>
                    </a:lnTo>
                    <a:lnTo>
                      <a:pt x="1866" y="420"/>
                    </a:lnTo>
                    <a:lnTo>
                      <a:pt x="1860" y="420"/>
                    </a:lnTo>
                    <a:lnTo>
                      <a:pt x="1860" y="432"/>
                    </a:lnTo>
                    <a:lnTo>
                      <a:pt x="1854" y="432"/>
                    </a:lnTo>
                    <a:lnTo>
                      <a:pt x="1842" y="450"/>
                    </a:lnTo>
                    <a:lnTo>
                      <a:pt x="1860" y="444"/>
                    </a:lnTo>
                    <a:lnTo>
                      <a:pt x="1866" y="450"/>
                    </a:lnTo>
                    <a:lnTo>
                      <a:pt x="1872" y="456"/>
                    </a:lnTo>
                    <a:lnTo>
                      <a:pt x="1866" y="456"/>
                    </a:lnTo>
                    <a:lnTo>
                      <a:pt x="1878" y="462"/>
                    </a:lnTo>
                    <a:lnTo>
                      <a:pt x="1860" y="480"/>
                    </a:lnTo>
                    <a:lnTo>
                      <a:pt x="1848" y="480"/>
                    </a:lnTo>
                    <a:lnTo>
                      <a:pt x="1848" y="486"/>
                    </a:lnTo>
                    <a:lnTo>
                      <a:pt x="1854" y="492"/>
                    </a:lnTo>
                    <a:lnTo>
                      <a:pt x="1854" y="498"/>
                    </a:lnTo>
                    <a:lnTo>
                      <a:pt x="1848" y="498"/>
                    </a:lnTo>
                    <a:lnTo>
                      <a:pt x="1842" y="498"/>
                    </a:lnTo>
                    <a:lnTo>
                      <a:pt x="1842" y="504"/>
                    </a:lnTo>
                    <a:lnTo>
                      <a:pt x="1842" y="510"/>
                    </a:lnTo>
                    <a:lnTo>
                      <a:pt x="1848" y="516"/>
                    </a:lnTo>
                    <a:lnTo>
                      <a:pt x="1848" y="522"/>
                    </a:lnTo>
                    <a:lnTo>
                      <a:pt x="1836" y="534"/>
                    </a:lnTo>
                    <a:lnTo>
                      <a:pt x="1824" y="534"/>
                    </a:lnTo>
                    <a:lnTo>
                      <a:pt x="1824" y="540"/>
                    </a:lnTo>
                    <a:lnTo>
                      <a:pt x="1782" y="564"/>
                    </a:lnTo>
                    <a:lnTo>
                      <a:pt x="1770" y="564"/>
                    </a:lnTo>
                    <a:lnTo>
                      <a:pt x="1764" y="558"/>
                    </a:lnTo>
                    <a:lnTo>
                      <a:pt x="1764" y="552"/>
                    </a:lnTo>
                    <a:lnTo>
                      <a:pt x="1746" y="540"/>
                    </a:lnTo>
                    <a:lnTo>
                      <a:pt x="1740" y="546"/>
                    </a:lnTo>
                    <a:lnTo>
                      <a:pt x="1716" y="564"/>
                    </a:lnTo>
                    <a:lnTo>
                      <a:pt x="1710" y="582"/>
                    </a:lnTo>
                    <a:lnTo>
                      <a:pt x="1716" y="588"/>
                    </a:lnTo>
                    <a:lnTo>
                      <a:pt x="1716" y="594"/>
                    </a:lnTo>
                    <a:lnTo>
                      <a:pt x="1698" y="594"/>
                    </a:lnTo>
                    <a:lnTo>
                      <a:pt x="1692" y="594"/>
                    </a:lnTo>
                    <a:lnTo>
                      <a:pt x="1656" y="594"/>
                    </a:lnTo>
                    <a:lnTo>
                      <a:pt x="1644" y="612"/>
                    </a:lnTo>
                    <a:lnTo>
                      <a:pt x="1626" y="606"/>
                    </a:lnTo>
                    <a:lnTo>
                      <a:pt x="1620" y="612"/>
                    </a:lnTo>
                    <a:lnTo>
                      <a:pt x="1590" y="630"/>
                    </a:lnTo>
                    <a:lnTo>
                      <a:pt x="1596" y="636"/>
                    </a:lnTo>
                    <a:lnTo>
                      <a:pt x="1596" y="642"/>
                    </a:lnTo>
                    <a:lnTo>
                      <a:pt x="1596" y="660"/>
                    </a:lnTo>
                    <a:lnTo>
                      <a:pt x="1608" y="666"/>
                    </a:lnTo>
                    <a:lnTo>
                      <a:pt x="1614" y="696"/>
                    </a:lnTo>
                    <a:lnTo>
                      <a:pt x="1614" y="702"/>
                    </a:lnTo>
                    <a:lnTo>
                      <a:pt x="1602" y="708"/>
                    </a:lnTo>
                    <a:lnTo>
                      <a:pt x="1626" y="720"/>
                    </a:lnTo>
                    <a:lnTo>
                      <a:pt x="1626" y="726"/>
                    </a:lnTo>
                    <a:lnTo>
                      <a:pt x="1626" y="732"/>
                    </a:lnTo>
                    <a:lnTo>
                      <a:pt x="1626" y="738"/>
                    </a:lnTo>
                    <a:lnTo>
                      <a:pt x="1632" y="744"/>
                    </a:lnTo>
                    <a:lnTo>
                      <a:pt x="1638" y="744"/>
                    </a:lnTo>
                    <a:lnTo>
                      <a:pt x="1638" y="762"/>
                    </a:lnTo>
                    <a:lnTo>
                      <a:pt x="1608" y="756"/>
                    </a:lnTo>
                    <a:lnTo>
                      <a:pt x="1584" y="750"/>
                    </a:lnTo>
                    <a:lnTo>
                      <a:pt x="1566" y="768"/>
                    </a:lnTo>
                    <a:lnTo>
                      <a:pt x="1560" y="762"/>
                    </a:lnTo>
                    <a:lnTo>
                      <a:pt x="1560" y="756"/>
                    </a:lnTo>
                    <a:lnTo>
                      <a:pt x="1554" y="750"/>
                    </a:lnTo>
                    <a:lnTo>
                      <a:pt x="1548" y="744"/>
                    </a:lnTo>
                    <a:lnTo>
                      <a:pt x="1560" y="774"/>
                    </a:lnTo>
                    <a:lnTo>
                      <a:pt x="1554" y="786"/>
                    </a:lnTo>
                    <a:lnTo>
                      <a:pt x="1536" y="780"/>
                    </a:lnTo>
                    <a:lnTo>
                      <a:pt x="1530" y="792"/>
                    </a:lnTo>
                    <a:lnTo>
                      <a:pt x="1518" y="804"/>
                    </a:lnTo>
                    <a:lnTo>
                      <a:pt x="1518" y="822"/>
                    </a:lnTo>
                    <a:lnTo>
                      <a:pt x="1512" y="828"/>
                    </a:lnTo>
                    <a:lnTo>
                      <a:pt x="1518" y="840"/>
                    </a:lnTo>
                    <a:lnTo>
                      <a:pt x="1518" y="858"/>
                    </a:lnTo>
                    <a:lnTo>
                      <a:pt x="1500" y="870"/>
                    </a:lnTo>
                    <a:lnTo>
                      <a:pt x="1494" y="888"/>
                    </a:lnTo>
                    <a:lnTo>
                      <a:pt x="1494" y="900"/>
                    </a:lnTo>
                    <a:lnTo>
                      <a:pt x="1488" y="900"/>
                    </a:lnTo>
                    <a:lnTo>
                      <a:pt x="1476" y="918"/>
                    </a:lnTo>
                    <a:lnTo>
                      <a:pt x="1470" y="936"/>
                    </a:lnTo>
                    <a:lnTo>
                      <a:pt x="1458" y="936"/>
                    </a:lnTo>
                    <a:lnTo>
                      <a:pt x="1458" y="954"/>
                    </a:lnTo>
                    <a:lnTo>
                      <a:pt x="1464" y="960"/>
                    </a:lnTo>
                    <a:lnTo>
                      <a:pt x="1476" y="966"/>
                    </a:lnTo>
                    <a:lnTo>
                      <a:pt x="1488" y="966"/>
                    </a:lnTo>
                    <a:lnTo>
                      <a:pt x="1506" y="966"/>
                    </a:lnTo>
                    <a:lnTo>
                      <a:pt x="1548" y="954"/>
                    </a:lnTo>
                    <a:lnTo>
                      <a:pt x="1554" y="960"/>
                    </a:lnTo>
                    <a:lnTo>
                      <a:pt x="1572" y="954"/>
                    </a:lnTo>
                    <a:lnTo>
                      <a:pt x="1596" y="954"/>
                    </a:lnTo>
                    <a:lnTo>
                      <a:pt x="1620" y="954"/>
                    </a:lnTo>
                    <a:lnTo>
                      <a:pt x="1626" y="972"/>
                    </a:lnTo>
                    <a:lnTo>
                      <a:pt x="1674" y="972"/>
                    </a:lnTo>
                    <a:lnTo>
                      <a:pt x="1674" y="978"/>
                    </a:lnTo>
                    <a:lnTo>
                      <a:pt x="1698" y="990"/>
                    </a:lnTo>
                    <a:lnTo>
                      <a:pt x="1704" y="1014"/>
                    </a:lnTo>
                    <a:lnTo>
                      <a:pt x="1710" y="1020"/>
                    </a:lnTo>
                    <a:lnTo>
                      <a:pt x="1722" y="1032"/>
                    </a:lnTo>
                    <a:lnTo>
                      <a:pt x="1722" y="1044"/>
                    </a:lnTo>
                    <a:lnTo>
                      <a:pt x="1698" y="1050"/>
                    </a:lnTo>
                    <a:lnTo>
                      <a:pt x="1692" y="1044"/>
                    </a:lnTo>
                    <a:lnTo>
                      <a:pt x="1686" y="1056"/>
                    </a:lnTo>
                    <a:lnTo>
                      <a:pt x="1656" y="1062"/>
                    </a:lnTo>
                    <a:lnTo>
                      <a:pt x="1656" y="1068"/>
                    </a:lnTo>
                    <a:lnTo>
                      <a:pt x="1656" y="1074"/>
                    </a:lnTo>
                    <a:lnTo>
                      <a:pt x="1644" y="1086"/>
                    </a:lnTo>
                    <a:lnTo>
                      <a:pt x="1668" y="1092"/>
                    </a:lnTo>
                    <a:lnTo>
                      <a:pt x="1680" y="1086"/>
                    </a:lnTo>
                    <a:lnTo>
                      <a:pt x="1686" y="1086"/>
                    </a:lnTo>
                    <a:lnTo>
                      <a:pt x="1692" y="1086"/>
                    </a:lnTo>
                    <a:lnTo>
                      <a:pt x="1692" y="1104"/>
                    </a:lnTo>
                    <a:lnTo>
                      <a:pt x="1722" y="1116"/>
                    </a:lnTo>
                    <a:lnTo>
                      <a:pt x="1734" y="1116"/>
                    </a:lnTo>
                    <a:lnTo>
                      <a:pt x="1734" y="1122"/>
                    </a:lnTo>
                    <a:lnTo>
                      <a:pt x="1728" y="1122"/>
                    </a:lnTo>
                    <a:lnTo>
                      <a:pt x="1716" y="1140"/>
                    </a:lnTo>
                    <a:lnTo>
                      <a:pt x="1716" y="1146"/>
                    </a:lnTo>
                    <a:lnTo>
                      <a:pt x="1722" y="1152"/>
                    </a:lnTo>
                    <a:lnTo>
                      <a:pt x="1722" y="1158"/>
                    </a:lnTo>
                    <a:lnTo>
                      <a:pt x="1716" y="1158"/>
                    </a:lnTo>
                    <a:lnTo>
                      <a:pt x="1716" y="1152"/>
                    </a:lnTo>
                    <a:lnTo>
                      <a:pt x="1716" y="1158"/>
                    </a:lnTo>
                    <a:lnTo>
                      <a:pt x="1716" y="1152"/>
                    </a:lnTo>
                    <a:lnTo>
                      <a:pt x="1710" y="1152"/>
                    </a:lnTo>
                    <a:lnTo>
                      <a:pt x="1710" y="1158"/>
                    </a:lnTo>
                    <a:lnTo>
                      <a:pt x="1704" y="1158"/>
                    </a:lnTo>
                    <a:lnTo>
                      <a:pt x="1704" y="1152"/>
                    </a:lnTo>
                    <a:lnTo>
                      <a:pt x="1698" y="1152"/>
                    </a:lnTo>
                    <a:lnTo>
                      <a:pt x="1698" y="1158"/>
                    </a:lnTo>
                    <a:lnTo>
                      <a:pt x="1692" y="1158"/>
                    </a:lnTo>
                    <a:lnTo>
                      <a:pt x="1698" y="1158"/>
                    </a:lnTo>
                    <a:lnTo>
                      <a:pt x="1692" y="1158"/>
                    </a:lnTo>
                    <a:lnTo>
                      <a:pt x="1692" y="1164"/>
                    </a:lnTo>
                    <a:lnTo>
                      <a:pt x="1686" y="1164"/>
                    </a:lnTo>
                    <a:lnTo>
                      <a:pt x="1680" y="1164"/>
                    </a:lnTo>
                    <a:lnTo>
                      <a:pt x="1674" y="1164"/>
                    </a:lnTo>
                    <a:lnTo>
                      <a:pt x="1668" y="1164"/>
                    </a:lnTo>
                    <a:lnTo>
                      <a:pt x="1662" y="1164"/>
                    </a:lnTo>
                    <a:lnTo>
                      <a:pt x="1662" y="1170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0" y="1176"/>
                    </a:lnTo>
                    <a:lnTo>
                      <a:pt x="1650" y="1170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6" y="1170"/>
                    </a:lnTo>
                    <a:lnTo>
                      <a:pt x="1656" y="1164"/>
                    </a:lnTo>
                    <a:lnTo>
                      <a:pt x="1656" y="1158"/>
                    </a:lnTo>
                    <a:lnTo>
                      <a:pt x="1656" y="1164"/>
                    </a:lnTo>
                    <a:lnTo>
                      <a:pt x="1650" y="1164"/>
                    </a:lnTo>
                    <a:lnTo>
                      <a:pt x="1650" y="1170"/>
                    </a:lnTo>
                    <a:lnTo>
                      <a:pt x="1650" y="1164"/>
                    </a:lnTo>
                    <a:lnTo>
                      <a:pt x="1650" y="1170"/>
                    </a:lnTo>
                    <a:lnTo>
                      <a:pt x="1650" y="1176"/>
                    </a:lnTo>
                    <a:lnTo>
                      <a:pt x="1644" y="1176"/>
                    </a:lnTo>
                    <a:lnTo>
                      <a:pt x="1650" y="1176"/>
                    </a:lnTo>
                    <a:lnTo>
                      <a:pt x="1650" y="1182"/>
                    </a:lnTo>
                    <a:lnTo>
                      <a:pt x="1644" y="1182"/>
                    </a:lnTo>
                    <a:lnTo>
                      <a:pt x="1650" y="1182"/>
                    </a:lnTo>
                    <a:lnTo>
                      <a:pt x="1650" y="1188"/>
                    </a:lnTo>
                    <a:lnTo>
                      <a:pt x="1644" y="1188"/>
                    </a:lnTo>
                    <a:lnTo>
                      <a:pt x="1644" y="1194"/>
                    </a:lnTo>
                    <a:lnTo>
                      <a:pt x="1650" y="1194"/>
                    </a:lnTo>
                    <a:lnTo>
                      <a:pt x="1656" y="1194"/>
                    </a:lnTo>
                    <a:lnTo>
                      <a:pt x="1656" y="1200"/>
                    </a:lnTo>
                    <a:lnTo>
                      <a:pt x="1650" y="1200"/>
                    </a:lnTo>
                    <a:lnTo>
                      <a:pt x="1650" y="1194"/>
                    </a:lnTo>
                    <a:lnTo>
                      <a:pt x="1644" y="1194"/>
                    </a:lnTo>
                    <a:lnTo>
                      <a:pt x="1644" y="1200"/>
                    </a:lnTo>
                    <a:lnTo>
                      <a:pt x="1638" y="1200"/>
                    </a:lnTo>
                    <a:lnTo>
                      <a:pt x="1638" y="1194"/>
                    </a:lnTo>
                    <a:lnTo>
                      <a:pt x="1638" y="1200"/>
                    </a:lnTo>
                    <a:lnTo>
                      <a:pt x="1632" y="1200"/>
                    </a:lnTo>
                    <a:lnTo>
                      <a:pt x="1632" y="1194"/>
                    </a:lnTo>
                    <a:lnTo>
                      <a:pt x="1632" y="1200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0" y="1194"/>
                    </a:lnTo>
                    <a:lnTo>
                      <a:pt x="1614" y="1194"/>
                    </a:lnTo>
                    <a:lnTo>
                      <a:pt x="1608" y="1194"/>
                    </a:lnTo>
                    <a:lnTo>
                      <a:pt x="1602" y="1194"/>
                    </a:lnTo>
                    <a:lnTo>
                      <a:pt x="1596" y="1194"/>
                    </a:lnTo>
                    <a:lnTo>
                      <a:pt x="1590" y="1194"/>
                    </a:lnTo>
                    <a:lnTo>
                      <a:pt x="1584" y="1194"/>
                    </a:lnTo>
                    <a:lnTo>
                      <a:pt x="1578" y="1194"/>
                    </a:lnTo>
                    <a:lnTo>
                      <a:pt x="1578" y="1188"/>
                    </a:lnTo>
                    <a:lnTo>
                      <a:pt x="1572" y="1188"/>
                    </a:lnTo>
                    <a:lnTo>
                      <a:pt x="1572" y="1194"/>
                    </a:lnTo>
                    <a:lnTo>
                      <a:pt x="1572" y="1188"/>
                    </a:lnTo>
                    <a:lnTo>
                      <a:pt x="1566" y="1194"/>
                    </a:lnTo>
                    <a:lnTo>
                      <a:pt x="1560" y="1194"/>
                    </a:lnTo>
                    <a:lnTo>
                      <a:pt x="1560" y="1188"/>
                    </a:lnTo>
                    <a:lnTo>
                      <a:pt x="1554" y="1188"/>
                    </a:lnTo>
                    <a:lnTo>
                      <a:pt x="1554" y="1182"/>
                    </a:lnTo>
                    <a:lnTo>
                      <a:pt x="1554" y="1188"/>
                    </a:lnTo>
                    <a:lnTo>
                      <a:pt x="1554" y="1182"/>
                    </a:lnTo>
                    <a:lnTo>
                      <a:pt x="1560" y="1182"/>
                    </a:lnTo>
                    <a:lnTo>
                      <a:pt x="1560" y="1188"/>
                    </a:lnTo>
                    <a:lnTo>
                      <a:pt x="1560" y="1182"/>
                    </a:lnTo>
                    <a:lnTo>
                      <a:pt x="1560" y="1176"/>
                    </a:lnTo>
                    <a:lnTo>
                      <a:pt x="1554" y="1176"/>
                    </a:lnTo>
                    <a:lnTo>
                      <a:pt x="1548" y="1176"/>
                    </a:lnTo>
                    <a:lnTo>
                      <a:pt x="1542" y="1176"/>
                    </a:lnTo>
                    <a:lnTo>
                      <a:pt x="1536" y="1176"/>
                    </a:lnTo>
                    <a:lnTo>
                      <a:pt x="1536" y="1170"/>
                    </a:lnTo>
                    <a:lnTo>
                      <a:pt x="1542" y="1170"/>
                    </a:lnTo>
                    <a:lnTo>
                      <a:pt x="1536" y="1170"/>
                    </a:lnTo>
                    <a:lnTo>
                      <a:pt x="1536" y="1176"/>
                    </a:lnTo>
                    <a:lnTo>
                      <a:pt x="1542" y="1176"/>
                    </a:lnTo>
                    <a:lnTo>
                      <a:pt x="1542" y="1182"/>
                    </a:lnTo>
                    <a:lnTo>
                      <a:pt x="1548" y="1182"/>
                    </a:lnTo>
                    <a:lnTo>
                      <a:pt x="1548" y="1176"/>
                    </a:lnTo>
                    <a:lnTo>
                      <a:pt x="1554" y="1176"/>
                    </a:lnTo>
                    <a:lnTo>
                      <a:pt x="1554" y="1182"/>
                    </a:lnTo>
                    <a:lnTo>
                      <a:pt x="1548" y="1182"/>
                    </a:lnTo>
                    <a:lnTo>
                      <a:pt x="1554" y="1182"/>
                    </a:lnTo>
                    <a:lnTo>
                      <a:pt x="1554" y="1188"/>
                    </a:lnTo>
                    <a:lnTo>
                      <a:pt x="1560" y="1188"/>
                    </a:lnTo>
                    <a:lnTo>
                      <a:pt x="1560" y="1194"/>
                    </a:lnTo>
                    <a:lnTo>
                      <a:pt x="1554" y="1194"/>
                    </a:lnTo>
                    <a:lnTo>
                      <a:pt x="1560" y="1194"/>
                    </a:lnTo>
                    <a:lnTo>
                      <a:pt x="1554" y="1194"/>
                    </a:lnTo>
                    <a:lnTo>
                      <a:pt x="1554" y="1188"/>
                    </a:lnTo>
                    <a:lnTo>
                      <a:pt x="1548" y="1188"/>
                    </a:lnTo>
                    <a:lnTo>
                      <a:pt x="1542" y="1188"/>
                    </a:lnTo>
                    <a:lnTo>
                      <a:pt x="1536" y="1188"/>
                    </a:lnTo>
                    <a:lnTo>
                      <a:pt x="1536" y="1194"/>
                    </a:lnTo>
                    <a:lnTo>
                      <a:pt x="1530" y="1194"/>
                    </a:lnTo>
                    <a:lnTo>
                      <a:pt x="1530" y="1188"/>
                    </a:lnTo>
                    <a:lnTo>
                      <a:pt x="1524" y="1188"/>
                    </a:lnTo>
                    <a:lnTo>
                      <a:pt x="1530" y="1188"/>
                    </a:lnTo>
                    <a:lnTo>
                      <a:pt x="1524" y="1188"/>
                    </a:lnTo>
                    <a:lnTo>
                      <a:pt x="1518" y="1188"/>
                    </a:lnTo>
                    <a:lnTo>
                      <a:pt x="1512" y="1188"/>
                    </a:lnTo>
                    <a:lnTo>
                      <a:pt x="1512" y="1182"/>
                    </a:lnTo>
                    <a:lnTo>
                      <a:pt x="1506" y="1182"/>
                    </a:lnTo>
                    <a:lnTo>
                      <a:pt x="1500" y="1182"/>
                    </a:lnTo>
                    <a:lnTo>
                      <a:pt x="1494" y="1182"/>
                    </a:lnTo>
                    <a:lnTo>
                      <a:pt x="1494" y="1176"/>
                    </a:lnTo>
                    <a:lnTo>
                      <a:pt x="1488" y="1176"/>
                    </a:lnTo>
                    <a:lnTo>
                      <a:pt x="1482" y="1176"/>
                    </a:lnTo>
                    <a:lnTo>
                      <a:pt x="1488" y="1176"/>
                    </a:lnTo>
                    <a:lnTo>
                      <a:pt x="1488" y="1170"/>
                    </a:lnTo>
                    <a:lnTo>
                      <a:pt x="1482" y="1170"/>
                    </a:lnTo>
                    <a:lnTo>
                      <a:pt x="1476" y="1170"/>
                    </a:lnTo>
                    <a:lnTo>
                      <a:pt x="1482" y="1170"/>
                    </a:lnTo>
                    <a:lnTo>
                      <a:pt x="1482" y="1176"/>
                    </a:lnTo>
                    <a:lnTo>
                      <a:pt x="1488" y="1176"/>
                    </a:lnTo>
                    <a:lnTo>
                      <a:pt x="1482" y="1176"/>
                    </a:lnTo>
                    <a:lnTo>
                      <a:pt x="1476" y="1176"/>
                    </a:lnTo>
                    <a:lnTo>
                      <a:pt x="1470" y="1176"/>
                    </a:lnTo>
                    <a:lnTo>
                      <a:pt x="1464" y="1176"/>
                    </a:lnTo>
                    <a:lnTo>
                      <a:pt x="1464" y="1170"/>
                    </a:lnTo>
                    <a:lnTo>
                      <a:pt x="1458" y="1170"/>
                    </a:lnTo>
                    <a:lnTo>
                      <a:pt x="1452" y="1170"/>
                    </a:lnTo>
                    <a:lnTo>
                      <a:pt x="1446" y="1170"/>
                    </a:lnTo>
                    <a:lnTo>
                      <a:pt x="1440" y="1170"/>
                    </a:lnTo>
                    <a:lnTo>
                      <a:pt x="1440" y="1164"/>
                    </a:lnTo>
                    <a:lnTo>
                      <a:pt x="1434" y="1164"/>
                    </a:lnTo>
                    <a:lnTo>
                      <a:pt x="1428" y="1164"/>
                    </a:lnTo>
                    <a:lnTo>
                      <a:pt x="1422" y="1164"/>
                    </a:lnTo>
                    <a:lnTo>
                      <a:pt x="1428" y="1164"/>
                    </a:lnTo>
                    <a:lnTo>
                      <a:pt x="1422" y="1164"/>
                    </a:lnTo>
                    <a:lnTo>
                      <a:pt x="1416" y="1164"/>
                    </a:lnTo>
                    <a:lnTo>
                      <a:pt x="1416" y="1170"/>
                    </a:lnTo>
                    <a:lnTo>
                      <a:pt x="1410" y="1170"/>
                    </a:lnTo>
                    <a:lnTo>
                      <a:pt x="1410" y="1176"/>
                    </a:lnTo>
                    <a:lnTo>
                      <a:pt x="1404" y="1176"/>
                    </a:lnTo>
                    <a:lnTo>
                      <a:pt x="1398" y="1176"/>
                    </a:lnTo>
                    <a:lnTo>
                      <a:pt x="1398" y="1182"/>
                    </a:lnTo>
                    <a:lnTo>
                      <a:pt x="1392" y="1182"/>
                    </a:lnTo>
                    <a:lnTo>
                      <a:pt x="1386" y="1182"/>
                    </a:lnTo>
                    <a:lnTo>
                      <a:pt x="1386" y="1188"/>
                    </a:lnTo>
                    <a:lnTo>
                      <a:pt x="1380" y="1188"/>
                    </a:lnTo>
                    <a:lnTo>
                      <a:pt x="1374" y="1188"/>
                    </a:lnTo>
                    <a:lnTo>
                      <a:pt x="1368" y="1188"/>
                    </a:lnTo>
                    <a:lnTo>
                      <a:pt x="1362" y="1188"/>
                    </a:lnTo>
                    <a:lnTo>
                      <a:pt x="1356" y="1188"/>
                    </a:lnTo>
                    <a:lnTo>
                      <a:pt x="1350" y="1188"/>
                    </a:lnTo>
                    <a:lnTo>
                      <a:pt x="1350" y="1182"/>
                    </a:lnTo>
                    <a:lnTo>
                      <a:pt x="1344" y="1182"/>
                    </a:lnTo>
                    <a:lnTo>
                      <a:pt x="1338" y="1188"/>
                    </a:lnTo>
                    <a:lnTo>
                      <a:pt x="1332" y="1188"/>
                    </a:lnTo>
                    <a:lnTo>
                      <a:pt x="1326" y="1188"/>
                    </a:lnTo>
                    <a:lnTo>
                      <a:pt x="1320" y="1188"/>
                    </a:lnTo>
                    <a:lnTo>
                      <a:pt x="1314" y="1188"/>
                    </a:lnTo>
                    <a:lnTo>
                      <a:pt x="1314" y="1194"/>
                    </a:lnTo>
                    <a:lnTo>
                      <a:pt x="1308" y="1194"/>
                    </a:lnTo>
                    <a:lnTo>
                      <a:pt x="1302" y="1194"/>
                    </a:lnTo>
                    <a:lnTo>
                      <a:pt x="1302" y="1200"/>
                    </a:lnTo>
                    <a:lnTo>
                      <a:pt x="1296" y="1200"/>
                    </a:lnTo>
                    <a:lnTo>
                      <a:pt x="1302" y="1200"/>
                    </a:lnTo>
                    <a:lnTo>
                      <a:pt x="1302" y="1206"/>
                    </a:lnTo>
                    <a:lnTo>
                      <a:pt x="1296" y="1206"/>
                    </a:lnTo>
                    <a:lnTo>
                      <a:pt x="1296" y="1212"/>
                    </a:lnTo>
                    <a:lnTo>
                      <a:pt x="1290" y="1212"/>
                    </a:lnTo>
                    <a:lnTo>
                      <a:pt x="1290" y="1218"/>
                    </a:lnTo>
                    <a:lnTo>
                      <a:pt x="1290" y="1224"/>
                    </a:lnTo>
                    <a:lnTo>
                      <a:pt x="1296" y="1224"/>
                    </a:lnTo>
                    <a:lnTo>
                      <a:pt x="1296" y="1230"/>
                    </a:lnTo>
                    <a:lnTo>
                      <a:pt x="1296" y="1224"/>
                    </a:lnTo>
                    <a:lnTo>
                      <a:pt x="1296" y="1230"/>
                    </a:lnTo>
                    <a:lnTo>
                      <a:pt x="1302" y="1230"/>
                    </a:lnTo>
                    <a:lnTo>
                      <a:pt x="1308" y="1230"/>
                    </a:lnTo>
                    <a:lnTo>
                      <a:pt x="1302" y="1230"/>
                    </a:lnTo>
                    <a:lnTo>
                      <a:pt x="1302" y="1236"/>
                    </a:lnTo>
                    <a:lnTo>
                      <a:pt x="1296" y="1236"/>
                    </a:lnTo>
                    <a:lnTo>
                      <a:pt x="1290" y="1236"/>
                    </a:lnTo>
                    <a:lnTo>
                      <a:pt x="1290" y="1242"/>
                    </a:lnTo>
                    <a:lnTo>
                      <a:pt x="1284" y="1242"/>
                    </a:lnTo>
                    <a:lnTo>
                      <a:pt x="1284" y="1236"/>
                    </a:lnTo>
                    <a:lnTo>
                      <a:pt x="1278" y="1236"/>
                    </a:lnTo>
                    <a:lnTo>
                      <a:pt x="1278" y="1242"/>
                    </a:lnTo>
                    <a:lnTo>
                      <a:pt x="1278" y="1236"/>
                    </a:lnTo>
                    <a:lnTo>
                      <a:pt x="1272" y="1236"/>
                    </a:lnTo>
                    <a:lnTo>
                      <a:pt x="1272" y="1242"/>
                    </a:lnTo>
                    <a:lnTo>
                      <a:pt x="1266" y="1242"/>
                    </a:lnTo>
                    <a:lnTo>
                      <a:pt x="1260" y="1242"/>
                    </a:lnTo>
                    <a:lnTo>
                      <a:pt x="1254" y="1242"/>
                    </a:lnTo>
                    <a:lnTo>
                      <a:pt x="1254" y="1248"/>
                    </a:lnTo>
                    <a:lnTo>
                      <a:pt x="1248" y="1248"/>
                    </a:lnTo>
                    <a:lnTo>
                      <a:pt x="1242" y="1248"/>
                    </a:lnTo>
                    <a:lnTo>
                      <a:pt x="1242" y="1254"/>
                    </a:lnTo>
                    <a:lnTo>
                      <a:pt x="1242" y="1260"/>
                    </a:lnTo>
                    <a:lnTo>
                      <a:pt x="1236" y="1260"/>
                    </a:lnTo>
                    <a:lnTo>
                      <a:pt x="1236" y="1266"/>
                    </a:lnTo>
                    <a:lnTo>
                      <a:pt x="1242" y="1266"/>
                    </a:lnTo>
                    <a:lnTo>
                      <a:pt x="1242" y="1272"/>
                    </a:lnTo>
                    <a:lnTo>
                      <a:pt x="1242" y="1266"/>
                    </a:lnTo>
                    <a:lnTo>
                      <a:pt x="1242" y="1272"/>
                    </a:lnTo>
                    <a:lnTo>
                      <a:pt x="1248" y="1272"/>
                    </a:lnTo>
                    <a:lnTo>
                      <a:pt x="1242" y="1272"/>
                    </a:lnTo>
                    <a:lnTo>
                      <a:pt x="1242" y="1278"/>
                    </a:lnTo>
                    <a:lnTo>
                      <a:pt x="1236" y="1278"/>
                    </a:lnTo>
                    <a:lnTo>
                      <a:pt x="1236" y="1284"/>
                    </a:lnTo>
                    <a:lnTo>
                      <a:pt x="1230" y="1284"/>
                    </a:lnTo>
                    <a:lnTo>
                      <a:pt x="1230" y="1290"/>
                    </a:lnTo>
                    <a:lnTo>
                      <a:pt x="1230" y="1284"/>
                    </a:lnTo>
                    <a:lnTo>
                      <a:pt x="1224" y="1284"/>
                    </a:lnTo>
                    <a:lnTo>
                      <a:pt x="1230" y="1284"/>
                    </a:lnTo>
                    <a:lnTo>
                      <a:pt x="1230" y="1290"/>
                    </a:lnTo>
                    <a:lnTo>
                      <a:pt x="1224" y="1290"/>
                    </a:lnTo>
                    <a:lnTo>
                      <a:pt x="1224" y="1296"/>
                    </a:lnTo>
                    <a:lnTo>
                      <a:pt x="1218" y="1296"/>
                    </a:lnTo>
                    <a:lnTo>
                      <a:pt x="1212" y="1296"/>
                    </a:lnTo>
                    <a:lnTo>
                      <a:pt x="1212" y="1302"/>
                    </a:lnTo>
                    <a:lnTo>
                      <a:pt x="1206" y="1302"/>
                    </a:lnTo>
                    <a:lnTo>
                      <a:pt x="1200" y="1302"/>
                    </a:lnTo>
                    <a:lnTo>
                      <a:pt x="1194" y="1302"/>
                    </a:lnTo>
                    <a:lnTo>
                      <a:pt x="1188" y="1302"/>
                    </a:lnTo>
                    <a:lnTo>
                      <a:pt x="1188" y="1308"/>
                    </a:lnTo>
                    <a:lnTo>
                      <a:pt x="1188" y="1302"/>
                    </a:lnTo>
                    <a:lnTo>
                      <a:pt x="1182" y="1302"/>
                    </a:lnTo>
                    <a:lnTo>
                      <a:pt x="1182" y="1308"/>
                    </a:lnTo>
                    <a:lnTo>
                      <a:pt x="1182" y="1302"/>
                    </a:lnTo>
                    <a:lnTo>
                      <a:pt x="1182" y="1308"/>
                    </a:lnTo>
                    <a:lnTo>
                      <a:pt x="1176" y="1308"/>
                    </a:lnTo>
                    <a:lnTo>
                      <a:pt x="1176" y="1302"/>
                    </a:lnTo>
                    <a:lnTo>
                      <a:pt x="1170" y="1302"/>
                    </a:lnTo>
                    <a:lnTo>
                      <a:pt x="1164" y="1302"/>
                    </a:lnTo>
                    <a:lnTo>
                      <a:pt x="1158" y="1302"/>
                    </a:lnTo>
                    <a:lnTo>
                      <a:pt x="1152" y="1302"/>
                    </a:lnTo>
                    <a:lnTo>
                      <a:pt x="1152" y="1296"/>
                    </a:lnTo>
                    <a:lnTo>
                      <a:pt x="1146" y="1296"/>
                    </a:lnTo>
                    <a:lnTo>
                      <a:pt x="1140" y="1296"/>
                    </a:lnTo>
                    <a:lnTo>
                      <a:pt x="1134" y="1296"/>
                    </a:lnTo>
                    <a:lnTo>
                      <a:pt x="1128" y="1296"/>
                    </a:lnTo>
                    <a:lnTo>
                      <a:pt x="1122" y="1296"/>
                    </a:lnTo>
                    <a:lnTo>
                      <a:pt x="1116" y="1296"/>
                    </a:lnTo>
                    <a:lnTo>
                      <a:pt x="1110" y="1296"/>
                    </a:lnTo>
                    <a:lnTo>
                      <a:pt x="1104" y="1296"/>
                    </a:lnTo>
                    <a:lnTo>
                      <a:pt x="1104" y="1302"/>
                    </a:lnTo>
                    <a:lnTo>
                      <a:pt x="1098" y="1302"/>
                    </a:lnTo>
                    <a:lnTo>
                      <a:pt x="1104" y="1302"/>
                    </a:lnTo>
                    <a:lnTo>
                      <a:pt x="1098" y="1302"/>
                    </a:lnTo>
                    <a:lnTo>
                      <a:pt x="1098" y="1296"/>
                    </a:lnTo>
                    <a:lnTo>
                      <a:pt x="1098" y="1302"/>
                    </a:lnTo>
                    <a:lnTo>
                      <a:pt x="1104" y="1302"/>
                    </a:lnTo>
                    <a:lnTo>
                      <a:pt x="1104" y="1308"/>
                    </a:lnTo>
                    <a:lnTo>
                      <a:pt x="1098" y="1308"/>
                    </a:lnTo>
                    <a:lnTo>
                      <a:pt x="1098" y="1314"/>
                    </a:lnTo>
                    <a:lnTo>
                      <a:pt x="1092" y="1314"/>
                    </a:lnTo>
                    <a:lnTo>
                      <a:pt x="1086" y="1314"/>
                    </a:lnTo>
                    <a:lnTo>
                      <a:pt x="1092" y="1314"/>
                    </a:lnTo>
                    <a:lnTo>
                      <a:pt x="1086" y="1314"/>
                    </a:lnTo>
                    <a:lnTo>
                      <a:pt x="1086" y="1320"/>
                    </a:lnTo>
                    <a:lnTo>
                      <a:pt x="1086" y="1314"/>
                    </a:lnTo>
                    <a:lnTo>
                      <a:pt x="1080" y="1314"/>
                    </a:lnTo>
                    <a:lnTo>
                      <a:pt x="1080" y="1320"/>
                    </a:lnTo>
                    <a:lnTo>
                      <a:pt x="1074" y="1320"/>
                    </a:lnTo>
                    <a:lnTo>
                      <a:pt x="1074" y="1326"/>
                    </a:lnTo>
                    <a:lnTo>
                      <a:pt x="1068" y="1326"/>
                    </a:lnTo>
                    <a:lnTo>
                      <a:pt x="1062" y="1326"/>
                    </a:lnTo>
                    <a:lnTo>
                      <a:pt x="1062" y="1320"/>
                    </a:lnTo>
                    <a:lnTo>
                      <a:pt x="1056" y="1320"/>
                    </a:lnTo>
                    <a:lnTo>
                      <a:pt x="1050" y="1320"/>
                    </a:lnTo>
                    <a:lnTo>
                      <a:pt x="1050" y="1314"/>
                    </a:lnTo>
                    <a:lnTo>
                      <a:pt x="1050" y="1320"/>
                    </a:lnTo>
                    <a:lnTo>
                      <a:pt x="1044" y="1320"/>
                    </a:lnTo>
                    <a:lnTo>
                      <a:pt x="1044" y="1314"/>
                    </a:lnTo>
                    <a:lnTo>
                      <a:pt x="1044" y="1320"/>
                    </a:lnTo>
                    <a:lnTo>
                      <a:pt x="1044" y="1314"/>
                    </a:lnTo>
                    <a:lnTo>
                      <a:pt x="1038" y="1314"/>
                    </a:lnTo>
                    <a:lnTo>
                      <a:pt x="1032" y="1314"/>
                    </a:lnTo>
                    <a:lnTo>
                      <a:pt x="1032" y="1308"/>
                    </a:lnTo>
                    <a:lnTo>
                      <a:pt x="1026" y="1308"/>
                    </a:lnTo>
                    <a:lnTo>
                      <a:pt x="1020" y="1308"/>
                    </a:lnTo>
                    <a:lnTo>
                      <a:pt x="1014" y="1308"/>
                    </a:lnTo>
                    <a:lnTo>
                      <a:pt x="1014" y="1302"/>
                    </a:lnTo>
                    <a:lnTo>
                      <a:pt x="1008" y="1302"/>
                    </a:lnTo>
                    <a:lnTo>
                      <a:pt x="1002" y="1302"/>
                    </a:lnTo>
                    <a:lnTo>
                      <a:pt x="996" y="1302"/>
                    </a:lnTo>
                    <a:lnTo>
                      <a:pt x="990" y="1302"/>
                    </a:lnTo>
                    <a:lnTo>
                      <a:pt x="984" y="1302"/>
                    </a:lnTo>
                    <a:lnTo>
                      <a:pt x="984" y="1296"/>
                    </a:lnTo>
                    <a:lnTo>
                      <a:pt x="984" y="1302"/>
                    </a:lnTo>
                    <a:lnTo>
                      <a:pt x="978" y="1302"/>
                    </a:lnTo>
                    <a:lnTo>
                      <a:pt x="972" y="1302"/>
                    </a:lnTo>
                    <a:lnTo>
                      <a:pt x="966" y="1302"/>
                    </a:lnTo>
                    <a:lnTo>
                      <a:pt x="960" y="1302"/>
                    </a:lnTo>
                    <a:lnTo>
                      <a:pt x="954" y="1302"/>
                    </a:lnTo>
                    <a:lnTo>
                      <a:pt x="960" y="1302"/>
                    </a:lnTo>
                    <a:lnTo>
                      <a:pt x="954" y="1302"/>
                    </a:lnTo>
                    <a:lnTo>
                      <a:pt x="954" y="1308"/>
                    </a:lnTo>
                    <a:lnTo>
                      <a:pt x="948" y="1308"/>
                    </a:lnTo>
                    <a:lnTo>
                      <a:pt x="948" y="1314"/>
                    </a:lnTo>
                    <a:lnTo>
                      <a:pt x="942" y="1314"/>
                    </a:lnTo>
                    <a:lnTo>
                      <a:pt x="942" y="1320"/>
                    </a:lnTo>
                    <a:lnTo>
                      <a:pt x="942" y="1326"/>
                    </a:lnTo>
                    <a:lnTo>
                      <a:pt x="948" y="1326"/>
                    </a:lnTo>
                    <a:lnTo>
                      <a:pt x="948" y="1332"/>
                    </a:lnTo>
                    <a:lnTo>
                      <a:pt x="948" y="1338"/>
                    </a:lnTo>
                    <a:lnTo>
                      <a:pt x="942" y="1338"/>
                    </a:lnTo>
                    <a:lnTo>
                      <a:pt x="936" y="1338"/>
                    </a:lnTo>
                    <a:lnTo>
                      <a:pt x="930" y="1338"/>
                    </a:lnTo>
                    <a:lnTo>
                      <a:pt x="924" y="1338"/>
                    </a:lnTo>
                    <a:lnTo>
                      <a:pt x="918" y="1338"/>
                    </a:lnTo>
                    <a:lnTo>
                      <a:pt x="912" y="1338"/>
                    </a:lnTo>
                    <a:lnTo>
                      <a:pt x="912" y="1332"/>
                    </a:lnTo>
                    <a:lnTo>
                      <a:pt x="912" y="1338"/>
                    </a:lnTo>
                    <a:lnTo>
                      <a:pt x="912" y="1332"/>
                    </a:lnTo>
                    <a:lnTo>
                      <a:pt x="906" y="1332"/>
                    </a:lnTo>
                    <a:lnTo>
                      <a:pt x="900" y="1332"/>
                    </a:lnTo>
                    <a:lnTo>
                      <a:pt x="894" y="1332"/>
                    </a:lnTo>
                    <a:lnTo>
                      <a:pt x="888" y="1332"/>
                    </a:lnTo>
                    <a:lnTo>
                      <a:pt x="882" y="1332"/>
                    </a:lnTo>
                    <a:lnTo>
                      <a:pt x="876" y="1332"/>
                    </a:lnTo>
                    <a:lnTo>
                      <a:pt x="876" y="1338"/>
                    </a:lnTo>
                    <a:lnTo>
                      <a:pt x="870" y="1338"/>
                    </a:lnTo>
                    <a:lnTo>
                      <a:pt x="864" y="1338"/>
                    </a:lnTo>
                    <a:lnTo>
                      <a:pt x="858" y="1338"/>
                    </a:lnTo>
                    <a:lnTo>
                      <a:pt x="852" y="1338"/>
                    </a:lnTo>
                    <a:lnTo>
                      <a:pt x="852" y="1344"/>
                    </a:lnTo>
                    <a:lnTo>
                      <a:pt x="846" y="1344"/>
                    </a:lnTo>
                    <a:lnTo>
                      <a:pt x="840" y="1344"/>
                    </a:lnTo>
                    <a:lnTo>
                      <a:pt x="840" y="1350"/>
                    </a:lnTo>
                    <a:lnTo>
                      <a:pt x="834" y="1350"/>
                    </a:lnTo>
                    <a:lnTo>
                      <a:pt x="834" y="1356"/>
                    </a:lnTo>
                    <a:lnTo>
                      <a:pt x="828" y="1356"/>
                    </a:lnTo>
                    <a:lnTo>
                      <a:pt x="828" y="1362"/>
                    </a:lnTo>
                    <a:lnTo>
                      <a:pt x="822" y="1362"/>
                    </a:lnTo>
                    <a:lnTo>
                      <a:pt x="822" y="1368"/>
                    </a:lnTo>
                    <a:lnTo>
                      <a:pt x="822" y="1374"/>
                    </a:lnTo>
                    <a:lnTo>
                      <a:pt x="816" y="1374"/>
                    </a:lnTo>
                    <a:lnTo>
                      <a:pt x="816" y="1380"/>
                    </a:lnTo>
                    <a:lnTo>
                      <a:pt x="816" y="1374"/>
                    </a:lnTo>
                    <a:lnTo>
                      <a:pt x="816" y="1380"/>
                    </a:lnTo>
                    <a:lnTo>
                      <a:pt x="810" y="1380"/>
                    </a:lnTo>
                    <a:lnTo>
                      <a:pt x="804" y="1380"/>
                    </a:lnTo>
                    <a:lnTo>
                      <a:pt x="804" y="1386"/>
                    </a:lnTo>
                    <a:lnTo>
                      <a:pt x="798" y="1386"/>
                    </a:lnTo>
                    <a:lnTo>
                      <a:pt x="798" y="1392"/>
                    </a:lnTo>
                    <a:lnTo>
                      <a:pt x="792" y="1392"/>
                    </a:lnTo>
                    <a:lnTo>
                      <a:pt x="792" y="1398"/>
                    </a:lnTo>
                    <a:lnTo>
                      <a:pt x="786" y="1398"/>
                    </a:lnTo>
                    <a:lnTo>
                      <a:pt x="780" y="1398"/>
                    </a:lnTo>
                    <a:lnTo>
                      <a:pt x="780" y="1404"/>
                    </a:lnTo>
                    <a:lnTo>
                      <a:pt x="774" y="1404"/>
                    </a:lnTo>
                    <a:lnTo>
                      <a:pt x="774" y="1410"/>
                    </a:lnTo>
                    <a:lnTo>
                      <a:pt x="774" y="1416"/>
                    </a:lnTo>
                    <a:lnTo>
                      <a:pt x="768" y="1416"/>
                    </a:lnTo>
                    <a:lnTo>
                      <a:pt x="768" y="1422"/>
                    </a:lnTo>
                    <a:lnTo>
                      <a:pt x="768" y="1416"/>
                    </a:lnTo>
                    <a:lnTo>
                      <a:pt x="768" y="1422"/>
                    </a:lnTo>
                    <a:lnTo>
                      <a:pt x="762" y="1422"/>
                    </a:lnTo>
                    <a:lnTo>
                      <a:pt x="756" y="1422"/>
                    </a:lnTo>
                    <a:lnTo>
                      <a:pt x="750" y="1422"/>
                    </a:lnTo>
                    <a:lnTo>
                      <a:pt x="750" y="1428"/>
                    </a:lnTo>
                    <a:lnTo>
                      <a:pt x="744" y="1428"/>
                    </a:lnTo>
                    <a:lnTo>
                      <a:pt x="738" y="1428"/>
                    </a:lnTo>
                    <a:lnTo>
                      <a:pt x="732" y="1428"/>
                    </a:lnTo>
                    <a:lnTo>
                      <a:pt x="738" y="1428"/>
                    </a:lnTo>
                    <a:lnTo>
                      <a:pt x="738" y="1434"/>
                    </a:lnTo>
                    <a:lnTo>
                      <a:pt x="732" y="1434"/>
                    </a:lnTo>
                    <a:lnTo>
                      <a:pt x="732" y="1440"/>
                    </a:lnTo>
                    <a:lnTo>
                      <a:pt x="726" y="1440"/>
                    </a:lnTo>
                    <a:lnTo>
                      <a:pt x="726" y="1446"/>
                    </a:lnTo>
                    <a:lnTo>
                      <a:pt x="720" y="1446"/>
                    </a:lnTo>
                    <a:lnTo>
                      <a:pt x="720" y="1452"/>
                    </a:lnTo>
                    <a:lnTo>
                      <a:pt x="720" y="1458"/>
                    </a:lnTo>
                    <a:lnTo>
                      <a:pt x="726" y="1458"/>
                    </a:lnTo>
                    <a:lnTo>
                      <a:pt x="726" y="1464"/>
                    </a:lnTo>
                    <a:lnTo>
                      <a:pt x="720" y="1464"/>
                    </a:lnTo>
                    <a:lnTo>
                      <a:pt x="720" y="1470"/>
                    </a:lnTo>
                    <a:lnTo>
                      <a:pt x="720" y="1464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08" y="1470"/>
                    </a:lnTo>
                    <a:lnTo>
                      <a:pt x="702" y="1470"/>
                    </a:lnTo>
                    <a:lnTo>
                      <a:pt x="702" y="1464"/>
                    </a:lnTo>
                    <a:lnTo>
                      <a:pt x="696" y="1464"/>
                    </a:lnTo>
                    <a:lnTo>
                      <a:pt x="690" y="1464"/>
                    </a:lnTo>
                    <a:lnTo>
                      <a:pt x="696" y="1464"/>
                    </a:lnTo>
                    <a:lnTo>
                      <a:pt x="690" y="1464"/>
                    </a:lnTo>
                    <a:lnTo>
                      <a:pt x="690" y="1458"/>
                    </a:lnTo>
                    <a:lnTo>
                      <a:pt x="690" y="1464"/>
                    </a:lnTo>
                    <a:lnTo>
                      <a:pt x="690" y="1458"/>
                    </a:lnTo>
                    <a:lnTo>
                      <a:pt x="684" y="1458"/>
                    </a:lnTo>
                    <a:lnTo>
                      <a:pt x="684" y="1452"/>
                    </a:lnTo>
                    <a:lnTo>
                      <a:pt x="678" y="1452"/>
                    </a:lnTo>
                    <a:lnTo>
                      <a:pt x="672" y="1452"/>
                    </a:lnTo>
                    <a:lnTo>
                      <a:pt x="666" y="1452"/>
                    </a:lnTo>
                    <a:lnTo>
                      <a:pt x="660" y="1452"/>
                    </a:lnTo>
                    <a:lnTo>
                      <a:pt x="660" y="1446"/>
                    </a:lnTo>
                    <a:lnTo>
                      <a:pt x="654" y="1452"/>
                    </a:lnTo>
                    <a:lnTo>
                      <a:pt x="648" y="1452"/>
                    </a:lnTo>
                    <a:lnTo>
                      <a:pt x="642" y="1452"/>
                    </a:lnTo>
                    <a:lnTo>
                      <a:pt x="636" y="1452"/>
                    </a:lnTo>
                    <a:lnTo>
                      <a:pt x="630" y="1452"/>
                    </a:lnTo>
                    <a:lnTo>
                      <a:pt x="624" y="1452"/>
                    </a:lnTo>
                    <a:lnTo>
                      <a:pt x="618" y="1452"/>
                    </a:lnTo>
                    <a:lnTo>
                      <a:pt x="618" y="1458"/>
                    </a:lnTo>
                    <a:lnTo>
                      <a:pt x="612" y="1458"/>
                    </a:lnTo>
                    <a:lnTo>
                      <a:pt x="606" y="1458"/>
                    </a:lnTo>
                    <a:lnTo>
                      <a:pt x="612" y="1458"/>
                    </a:lnTo>
                    <a:lnTo>
                      <a:pt x="606" y="1458"/>
                    </a:lnTo>
                    <a:lnTo>
                      <a:pt x="612" y="1458"/>
                    </a:lnTo>
                    <a:lnTo>
                      <a:pt x="612" y="1452"/>
                    </a:lnTo>
                    <a:lnTo>
                      <a:pt x="606" y="1452"/>
                    </a:lnTo>
                    <a:lnTo>
                      <a:pt x="606" y="1446"/>
                    </a:lnTo>
                    <a:lnTo>
                      <a:pt x="600" y="1446"/>
                    </a:lnTo>
                    <a:lnTo>
                      <a:pt x="600" y="1452"/>
                    </a:lnTo>
                    <a:lnTo>
                      <a:pt x="600" y="1446"/>
                    </a:lnTo>
                    <a:lnTo>
                      <a:pt x="594" y="1446"/>
                    </a:lnTo>
                    <a:lnTo>
                      <a:pt x="600" y="1446"/>
                    </a:lnTo>
                    <a:lnTo>
                      <a:pt x="600" y="1440"/>
                    </a:lnTo>
                    <a:lnTo>
                      <a:pt x="594" y="1440"/>
                    </a:lnTo>
                    <a:lnTo>
                      <a:pt x="600" y="1440"/>
                    </a:lnTo>
                    <a:lnTo>
                      <a:pt x="594" y="1440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2" y="1434"/>
                    </a:lnTo>
                    <a:lnTo>
                      <a:pt x="582" y="1428"/>
                    </a:lnTo>
                    <a:lnTo>
                      <a:pt x="576" y="1428"/>
                    </a:lnTo>
                    <a:lnTo>
                      <a:pt x="576" y="1422"/>
                    </a:lnTo>
                    <a:lnTo>
                      <a:pt x="570" y="1422"/>
                    </a:lnTo>
                    <a:lnTo>
                      <a:pt x="564" y="1422"/>
                    </a:lnTo>
                    <a:lnTo>
                      <a:pt x="570" y="1422"/>
                    </a:lnTo>
                    <a:lnTo>
                      <a:pt x="564" y="1422"/>
                    </a:lnTo>
                    <a:lnTo>
                      <a:pt x="564" y="1416"/>
                    </a:lnTo>
                    <a:lnTo>
                      <a:pt x="564" y="1422"/>
                    </a:lnTo>
                    <a:lnTo>
                      <a:pt x="558" y="1422"/>
                    </a:lnTo>
                    <a:lnTo>
                      <a:pt x="558" y="1416"/>
                    </a:lnTo>
                    <a:lnTo>
                      <a:pt x="552" y="1416"/>
                    </a:lnTo>
                    <a:lnTo>
                      <a:pt x="552" y="1410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40" y="1404"/>
                    </a:lnTo>
                    <a:lnTo>
                      <a:pt x="540" y="1398"/>
                    </a:lnTo>
                    <a:lnTo>
                      <a:pt x="546" y="1398"/>
                    </a:lnTo>
                    <a:lnTo>
                      <a:pt x="540" y="1398"/>
                    </a:lnTo>
                    <a:lnTo>
                      <a:pt x="546" y="1398"/>
                    </a:lnTo>
                    <a:lnTo>
                      <a:pt x="540" y="1398"/>
                    </a:lnTo>
                    <a:lnTo>
                      <a:pt x="540" y="1404"/>
                    </a:lnTo>
                    <a:lnTo>
                      <a:pt x="534" y="1404"/>
                    </a:lnTo>
                    <a:lnTo>
                      <a:pt x="528" y="1404"/>
                    </a:lnTo>
                    <a:lnTo>
                      <a:pt x="528" y="1410"/>
                    </a:lnTo>
                    <a:lnTo>
                      <a:pt x="522" y="1410"/>
                    </a:lnTo>
                    <a:lnTo>
                      <a:pt x="516" y="1410"/>
                    </a:lnTo>
                    <a:lnTo>
                      <a:pt x="510" y="1410"/>
                    </a:lnTo>
                    <a:lnTo>
                      <a:pt x="510" y="1404"/>
                    </a:lnTo>
                    <a:lnTo>
                      <a:pt x="516" y="1404"/>
                    </a:lnTo>
                    <a:lnTo>
                      <a:pt x="522" y="1404"/>
                    </a:lnTo>
                    <a:lnTo>
                      <a:pt x="522" y="1398"/>
                    </a:lnTo>
                    <a:lnTo>
                      <a:pt x="522" y="1392"/>
                    </a:lnTo>
                    <a:lnTo>
                      <a:pt x="522" y="1386"/>
                    </a:lnTo>
                    <a:lnTo>
                      <a:pt x="528" y="1386"/>
                    </a:lnTo>
                    <a:lnTo>
                      <a:pt x="528" y="1380"/>
                    </a:lnTo>
                    <a:lnTo>
                      <a:pt x="534" y="1380"/>
                    </a:lnTo>
                    <a:lnTo>
                      <a:pt x="528" y="1380"/>
                    </a:lnTo>
                    <a:lnTo>
                      <a:pt x="528" y="1374"/>
                    </a:lnTo>
                    <a:lnTo>
                      <a:pt x="528" y="1368"/>
                    </a:lnTo>
                    <a:lnTo>
                      <a:pt x="528" y="1362"/>
                    </a:lnTo>
                    <a:lnTo>
                      <a:pt x="522" y="1362"/>
                    </a:lnTo>
                    <a:lnTo>
                      <a:pt x="522" y="1356"/>
                    </a:lnTo>
                    <a:lnTo>
                      <a:pt x="522" y="1350"/>
                    </a:lnTo>
                    <a:lnTo>
                      <a:pt x="516" y="1350"/>
                    </a:lnTo>
                    <a:lnTo>
                      <a:pt x="516" y="1344"/>
                    </a:lnTo>
                    <a:lnTo>
                      <a:pt x="510" y="1344"/>
                    </a:lnTo>
                    <a:lnTo>
                      <a:pt x="510" y="1338"/>
                    </a:lnTo>
                    <a:lnTo>
                      <a:pt x="516" y="1338"/>
                    </a:lnTo>
                    <a:lnTo>
                      <a:pt x="522" y="1338"/>
                    </a:lnTo>
                    <a:lnTo>
                      <a:pt x="522" y="1344"/>
                    </a:lnTo>
                    <a:lnTo>
                      <a:pt x="522" y="1338"/>
                    </a:lnTo>
                    <a:lnTo>
                      <a:pt x="528" y="1338"/>
                    </a:lnTo>
                    <a:lnTo>
                      <a:pt x="534" y="1338"/>
                    </a:lnTo>
                    <a:lnTo>
                      <a:pt x="528" y="1338"/>
                    </a:lnTo>
                    <a:lnTo>
                      <a:pt x="528" y="1332"/>
                    </a:lnTo>
                    <a:lnTo>
                      <a:pt x="528" y="1338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16" y="1338"/>
                    </a:lnTo>
                    <a:lnTo>
                      <a:pt x="516" y="1332"/>
                    </a:lnTo>
                    <a:lnTo>
                      <a:pt x="516" y="1338"/>
                    </a:lnTo>
                    <a:lnTo>
                      <a:pt x="516" y="1332"/>
                    </a:lnTo>
                    <a:lnTo>
                      <a:pt x="516" y="1338"/>
                    </a:lnTo>
                    <a:lnTo>
                      <a:pt x="510" y="1338"/>
                    </a:lnTo>
                    <a:lnTo>
                      <a:pt x="504" y="1338"/>
                    </a:lnTo>
                    <a:lnTo>
                      <a:pt x="498" y="1338"/>
                    </a:lnTo>
                    <a:lnTo>
                      <a:pt x="492" y="1338"/>
                    </a:lnTo>
                    <a:lnTo>
                      <a:pt x="492" y="1344"/>
                    </a:lnTo>
                    <a:lnTo>
                      <a:pt x="492" y="1338"/>
                    </a:lnTo>
                    <a:lnTo>
                      <a:pt x="492" y="1344"/>
                    </a:lnTo>
                    <a:lnTo>
                      <a:pt x="486" y="1344"/>
                    </a:lnTo>
                    <a:lnTo>
                      <a:pt x="480" y="1344"/>
                    </a:lnTo>
                    <a:lnTo>
                      <a:pt x="474" y="1344"/>
                    </a:lnTo>
                    <a:lnTo>
                      <a:pt x="474" y="1338"/>
                    </a:lnTo>
                    <a:lnTo>
                      <a:pt x="474" y="1344"/>
                    </a:lnTo>
                    <a:lnTo>
                      <a:pt x="468" y="1344"/>
                    </a:lnTo>
                    <a:lnTo>
                      <a:pt x="474" y="1344"/>
                    </a:lnTo>
                    <a:lnTo>
                      <a:pt x="474" y="1338"/>
                    </a:lnTo>
                    <a:lnTo>
                      <a:pt x="468" y="1338"/>
                    </a:lnTo>
                    <a:lnTo>
                      <a:pt x="468" y="1344"/>
                    </a:lnTo>
                    <a:lnTo>
                      <a:pt x="468" y="1338"/>
                    </a:lnTo>
                    <a:lnTo>
                      <a:pt x="468" y="1344"/>
                    </a:lnTo>
                    <a:lnTo>
                      <a:pt x="462" y="1344"/>
                    </a:lnTo>
                    <a:lnTo>
                      <a:pt x="456" y="1344"/>
                    </a:lnTo>
                    <a:lnTo>
                      <a:pt x="456" y="1338"/>
                    </a:lnTo>
                    <a:lnTo>
                      <a:pt x="456" y="1344"/>
                    </a:lnTo>
                    <a:lnTo>
                      <a:pt x="456" y="1338"/>
                    </a:lnTo>
                    <a:lnTo>
                      <a:pt x="456" y="1332"/>
                    </a:lnTo>
                    <a:lnTo>
                      <a:pt x="456" y="1326"/>
                    </a:lnTo>
                    <a:lnTo>
                      <a:pt x="450" y="1326"/>
                    </a:lnTo>
                    <a:lnTo>
                      <a:pt x="450" y="1320"/>
                    </a:lnTo>
                    <a:lnTo>
                      <a:pt x="456" y="1320"/>
                    </a:lnTo>
                    <a:lnTo>
                      <a:pt x="462" y="1320"/>
                    </a:lnTo>
                    <a:lnTo>
                      <a:pt x="456" y="1320"/>
                    </a:lnTo>
                    <a:lnTo>
                      <a:pt x="456" y="1314"/>
                    </a:lnTo>
                    <a:lnTo>
                      <a:pt x="462" y="1314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56" y="1314"/>
                    </a:lnTo>
                    <a:lnTo>
                      <a:pt x="450" y="1314"/>
                    </a:lnTo>
                    <a:lnTo>
                      <a:pt x="450" y="1320"/>
                    </a:lnTo>
                    <a:lnTo>
                      <a:pt x="450" y="1326"/>
                    </a:lnTo>
                    <a:lnTo>
                      <a:pt x="450" y="1320"/>
                    </a:lnTo>
                    <a:lnTo>
                      <a:pt x="444" y="1320"/>
                    </a:lnTo>
                    <a:lnTo>
                      <a:pt x="438" y="1320"/>
                    </a:lnTo>
                    <a:lnTo>
                      <a:pt x="438" y="1314"/>
                    </a:lnTo>
                    <a:lnTo>
                      <a:pt x="432" y="1314"/>
                    </a:lnTo>
                    <a:lnTo>
                      <a:pt x="432" y="1320"/>
                    </a:lnTo>
                    <a:lnTo>
                      <a:pt x="426" y="1320"/>
                    </a:lnTo>
                    <a:lnTo>
                      <a:pt x="420" y="1320"/>
                    </a:lnTo>
                    <a:lnTo>
                      <a:pt x="420" y="1314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14" y="1326"/>
                    </a:lnTo>
                    <a:lnTo>
                      <a:pt x="408" y="1326"/>
                    </a:lnTo>
                    <a:lnTo>
                      <a:pt x="408" y="1320"/>
                    </a:lnTo>
                    <a:lnTo>
                      <a:pt x="402" y="1320"/>
                    </a:lnTo>
                    <a:lnTo>
                      <a:pt x="402" y="1326"/>
                    </a:lnTo>
                    <a:lnTo>
                      <a:pt x="396" y="1326"/>
                    </a:lnTo>
                    <a:lnTo>
                      <a:pt x="396" y="1332"/>
                    </a:lnTo>
                    <a:lnTo>
                      <a:pt x="390" y="1332"/>
                    </a:lnTo>
                    <a:lnTo>
                      <a:pt x="390" y="1326"/>
                    </a:lnTo>
                    <a:lnTo>
                      <a:pt x="384" y="1326"/>
                    </a:lnTo>
                    <a:lnTo>
                      <a:pt x="384" y="1332"/>
                    </a:lnTo>
                    <a:lnTo>
                      <a:pt x="384" y="1338"/>
                    </a:lnTo>
                    <a:lnTo>
                      <a:pt x="384" y="1332"/>
                    </a:lnTo>
                    <a:lnTo>
                      <a:pt x="384" y="1338"/>
                    </a:lnTo>
                    <a:lnTo>
                      <a:pt x="384" y="1332"/>
                    </a:lnTo>
                    <a:lnTo>
                      <a:pt x="378" y="1332"/>
                    </a:lnTo>
                    <a:lnTo>
                      <a:pt x="378" y="1338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2" y="1326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2" y="1314"/>
                    </a:lnTo>
                    <a:lnTo>
                      <a:pt x="372" y="1308"/>
                    </a:lnTo>
                    <a:lnTo>
                      <a:pt x="366" y="1308"/>
                    </a:lnTo>
                    <a:lnTo>
                      <a:pt x="372" y="1308"/>
                    </a:lnTo>
                    <a:lnTo>
                      <a:pt x="372" y="1302"/>
                    </a:lnTo>
                    <a:lnTo>
                      <a:pt x="372" y="1308"/>
                    </a:lnTo>
                    <a:lnTo>
                      <a:pt x="372" y="1302"/>
                    </a:lnTo>
                    <a:lnTo>
                      <a:pt x="372" y="1296"/>
                    </a:lnTo>
                    <a:lnTo>
                      <a:pt x="378" y="1296"/>
                    </a:lnTo>
                    <a:lnTo>
                      <a:pt x="378" y="1290"/>
                    </a:lnTo>
                    <a:lnTo>
                      <a:pt x="378" y="1284"/>
                    </a:lnTo>
                    <a:lnTo>
                      <a:pt x="378" y="1278"/>
                    </a:lnTo>
                    <a:lnTo>
                      <a:pt x="372" y="1278"/>
                    </a:lnTo>
                    <a:lnTo>
                      <a:pt x="372" y="1272"/>
                    </a:lnTo>
                    <a:lnTo>
                      <a:pt x="366" y="1272"/>
                    </a:lnTo>
                    <a:lnTo>
                      <a:pt x="366" y="1266"/>
                    </a:lnTo>
                    <a:lnTo>
                      <a:pt x="372" y="1266"/>
                    </a:lnTo>
                    <a:lnTo>
                      <a:pt x="372" y="1260"/>
                    </a:lnTo>
                    <a:lnTo>
                      <a:pt x="378" y="1260"/>
                    </a:lnTo>
                    <a:lnTo>
                      <a:pt x="384" y="1260"/>
                    </a:lnTo>
                    <a:lnTo>
                      <a:pt x="384" y="1254"/>
                    </a:lnTo>
                    <a:lnTo>
                      <a:pt x="378" y="1254"/>
                    </a:lnTo>
                    <a:lnTo>
                      <a:pt x="378" y="1248"/>
                    </a:lnTo>
                    <a:lnTo>
                      <a:pt x="372" y="1248"/>
                    </a:lnTo>
                    <a:lnTo>
                      <a:pt x="372" y="1242"/>
                    </a:lnTo>
                    <a:lnTo>
                      <a:pt x="366" y="1242"/>
                    </a:lnTo>
                    <a:lnTo>
                      <a:pt x="366" y="1236"/>
                    </a:lnTo>
                    <a:lnTo>
                      <a:pt x="360" y="1236"/>
                    </a:lnTo>
                    <a:lnTo>
                      <a:pt x="354" y="1236"/>
                    </a:lnTo>
                    <a:lnTo>
                      <a:pt x="354" y="1230"/>
                    </a:lnTo>
                    <a:lnTo>
                      <a:pt x="348" y="1230"/>
                    </a:lnTo>
                    <a:lnTo>
                      <a:pt x="342" y="1230"/>
                    </a:lnTo>
                    <a:lnTo>
                      <a:pt x="336" y="1230"/>
                    </a:lnTo>
                    <a:lnTo>
                      <a:pt x="330" y="1230"/>
                    </a:lnTo>
                    <a:lnTo>
                      <a:pt x="324" y="1230"/>
                    </a:lnTo>
                    <a:lnTo>
                      <a:pt x="318" y="1230"/>
                    </a:lnTo>
                    <a:lnTo>
                      <a:pt x="312" y="1230"/>
                    </a:lnTo>
                    <a:lnTo>
                      <a:pt x="306" y="1230"/>
                    </a:lnTo>
                    <a:lnTo>
                      <a:pt x="306" y="1236"/>
                    </a:lnTo>
                    <a:lnTo>
                      <a:pt x="300" y="1236"/>
                    </a:lnTo>
                    <a:lnTo>
                      <a:pt x="294" y="1236"/>
                    </a:lnTo>
                    <a:lnTo>
                      <a:pt x="288" y="1236"/>
                    </a:lnTo>
                    <a:lnTo>
                      <a:pt x="288" y="1242"/>
                    </a:lnTo>
                    <a:lnTo>
                      <a:pt x="282" y="1242"/>
                    </a:lnTo>
                    <a:lnTo>
                      <a:pt x="276" y="1242"/>
                    </a:lnTo>
                    <a:lnTo>
                      <a:pt x="270" y="1242"/>
                    </a:lnTo>
                    <a:lnTo>
                      <a:pt x="270" y="1248"/>
                    </a:lnTo>
                    <a:lnTo>
                      <a:pt x="264" y="1248"/>
                    </a:lnTo>
                    <a:lnTo>
                      <a:pt x="264" y="1254"/>
                    </a:lnTo>
                    <a:lnTo>
                      <a:pt x="258" y="1254"/>
                    </a:lnTo>
                    <a:lnTo>
                      <a:pt x="264" y="1254"/>
                    </a:lnTo>
                    <a:lnTo>
                      <a:pt x="258" y="1254"/>
                    </a:lnTo>
                    <a:lnTo>
                      <a:pt x="258" y="1260"/>
                    </a:lnTo>
                    <a:lnTo>
                      <a:pt x="264" y="1260"/>
                    </a:lnTo>
                    <a:lnTo>
                      <a:pt x="264" y="1266"/>
                    </a:lnTo>
                    <a:lnTo>
                      <a:pt x="258" y="1266"/>
                    </a:lnTo>
                    <a:lnTo>
                      <a:pt x="258" y="1272"/>
                    </a:lnTo>
                    <a:lnTo>
                      <a:pt x="264" y="1272"/>
                    </a:lnTo>
                    <a:lnTo>
                      <a:pt x="264" y="1278"/>
                    </a:lnTo>
                    <a:lnTo>
                      <a:pt x="270" y="1278"/>
                    </a:lnTo>
                    <a:lnTo>
                      <a:pt x="270" y="1284"/>
                    </a:lnTo>
                    <a:lnTo>
                      <a:pt x="276" y="1284"/>
                    </a:lnTo>
                    <a:lnTo>
                      <a:pt x="276" y="1290"/>
                    </a:lnTo>
                    <a:lnTo>
                      <a:pt x="276" y="1296"/>
                    </a:lnTo>
                    <a:lnTo>
                      <a:pt x="270" y="1296"/>
                    </a:lnTo>
                    <a:lnTo>
                      <a:pt x="270" y="1302"/>
                    </a:lnTo>
                    <a:lnTo>
                      <a:pt x="276" y="1302"/>
                    </a:lnTo>
                    <a:lnTo>
                      <a:pt x="276" y="1308"/>
                    </a:lnTo>
                    <a:lnTo>
                      <a:pt x="270" y="1308"/>
                    </a:lnTo>
                    <a:lnTo>
                      <a:pt x="270" y="1314"/>
                    </a:lnTo>
                    <a:lnTo>
                      <a:pt x="270" y="1320"/>
                    </a:lnTo>
                    <a:lnTo>
                      <a:pt x="276" y="1320"/>
                    </a:lnTo>
                    <a:lnTo>
                      <a:pt x="276" y="1326"/>
                    </a:lnTo>
                    <a:lnTo>
                      <a:pt x="282" y="1326"/>
                    </a:lnTo>
                    <a:lnTo>
                      <a:pt x="282" y="1332"/>
                    </a:lnTo>
                    <a:lnTo>
                      <a:pt x="282" y="1326"/>
                    </a:lnTo>
                    <a:lnTo>
                      <a:pt x="276" y="1326"/>
                    </a:lnTo>
                    <a:lnTo>
                      <a:pt x="276" y="1332"/>
                    </a:lnTo>
                    <a:lnTo>
                      <a:pt x="276" y="1326"/>
                    </a:lnTo>
                    <a:lnTo>
                      <a:pt x="270" y="1326"/>
                    </a:lnTo>
                    <a:lnTo>
                      <a:pt x="270" y="1320"/>
                    </a:lnTo>
                    <a:lnTo>
                      <a:pt x="270" y="1326"/>
                    </a:lnTo>
                    <a:lnTo>
                      <a:pt x="264" y="1326"/>
                    </a:lnTo>
                    <a:lnTo>
                      <a:pt x="264" y="1320"/>
                    </a:lnTo>
                    <a:lnTo>
                      <a:pt x="258" y="1320"/>
                    </a:lnTo>
                    <a:lnTo>
                      <a:pt x="258" y="1314"/>
                    </a:lnTo>
                    <a:lnTo>
                      <a:pt x="258" y="1320"/>
                    </a:lnTo>
                    <a:lnTo>
                      <a:pt x="258" y="1314"/>
                    </a:lnTo>
                    <a:lnTo>
                      <a:pt x="252" y="1314"/>
                    </a:lnTo>
                    <a:lnTo>
                      <a:pt x="258" y="1314"/>
                    </a:lnTo>
                    <a:lnTo>
                      <a:pt x="252" y="1314"/>
                    </a:lnTo>
                    <a:lnTo>
                      <a:pt x="252" y="1308"/>
                    </a:lnTo>
                    <a:lnTo>
                      <a:pt x="252" y="1302"/>
                    </a:lnTo>
                    <a:lnTo>
                      <a:pt x="246" y="1302"/>
                    </a:lnTo>
                    <a:lnTo>
                      <a:pt x="246" y="1296"/>
                    </a:lnTo>
                    <a:lnTo>
                      <a:pt x="246" y="1290"/>
                    </a:lnTo>
                    <a:lnTo>
                      <a:pt x="246" y="1284"/>
                    </a:lnTo>
                    <a:lnTo>
                      <a:pt x="246" y="1278"/>
                    </a:lnTo>
                    <a:lnTo>
                      <a:pt x="240" y="1278"/>
                    </a:lnTo>
                    <a:lnTo>
                      <a:pt x="240" y="1272"/>
                    </a:lnTo>
                    <a:lnTo>
                      <a:pt x="234" y="1272"/>
                    </a:lnTo>
                    <a:lnTo>
                      <a:pt x="234" y="1266"/>
                    </a:lnTo>
                    <a:lnTo>
                      <a:pt x="228" y="1266"/>
                    </a:lnTo>
                    <a:lnTo>
                      <a:pt x="228" y="1260"/>
                    </a:lnTo>
                    <a:lnTo>
                      <a:pt x="234" y="1260"/>
                    </a:lnTo>
                    <a:lnTo>
                      <a:pt x="228" y="1260"/>
                    </a:lnTo>
                    <a:lnTo>
                      <a:pt x="234" y="1260"/>
                    </a:lnTo>
                    <a:lnTo>
                      <a:pt x="234" y="1254"/>
                    </a:lnTo>
                    <a:lnTo>
                      <a:pt x="240" y="1254"/>
                    </a:lnTo>
                    <a:lnTo>
                      <a:pt x="240" y="1248"/>
                    </a:lnTo>
                    <a:lnTo>
                      <a:pt x="234" y="1248"/>
                    </a:lnTo>
                    <a:lnTo>
                      <a:pt x="240" y="1248"/>
                    </a:lnTo>
                    <a:lnTo>
                      <a:pt x="240" y="1242"/>
                    </a:lnTo>
                    <a:lnTo>
                      <a:pt x="234" y="1242"/>
                    </a:lnTo>
                    <a:lnTo>
                      <a:pt x="234" y="1236"/>
                    </a:lnTo>
                    <a:lnTo>
                      <a:pt x="240" y="1236"/>
                    </a:lnTo>
                    <a:lnTo>
                      <a:pt x="240" y="1230"/>
                    </a:lnTo>
                    <a:lnTo>
                      <a:pt x="240" y="1224"/>
                    </a:lnTo>
                    <a:lnTo>
                      <a:pt x="234" y="1224"/>
                    </a:lnTo>
                    <a:lnTo>
                      <a:pt x="234" y="1230"/>
                    </a:lnTo>
                    <a:lnTo>
                      <a:pt x="228" y="1230"/>
                    </a:lnTo>
                    <a:lnTo>
                      <a:pt x="228" y="1224"/>
                    </a:lnTo>
                    <a:lnTo>
                      <a:pt x="222" y="1224"/>
                    </a:lnTo>
                    <a:lnTo>
                      <a:pt x="222" y="1218"/>
                    </a:lnTo>
                    <a:lnTo>
                      <a:pt x="228" y="1218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34" y="1206"/>
                    </a:lnTo>
                    <a:lnTo>
                      <a:pt x="240" y="1206"/>
                    </a:lnTo>
                    <a:lnTo>
                      <a:pt x="240" y="1200"/>
                    </a:lnTo>
                    <a:lnTo>
                      <a:pt x="240" y="1194"/>
                    </a:lnTo>
                    <a:lnTo>
                      <a:pt x="240" y="1188"/>
                    </a:lnTo>
                    <a:lnTo>
                      <a:pt x="240" y="1182"/>
                    </a:lnTo>
                    <a:lnTo>
                      <a:pt x="246" y="1182"/>
                    </a:lnTo>
                    <a:lnTo>
                      <a:pt x="246" y="1176"/>
                    </a:lnTo>
                    <a:lnTo>
                      <a:pt x="252" y="1176"/>
                    </a:lnTo>
                    <a:lnTo>
                      <a:pt x="252" y="1182"/>
                    </a:lnTo>
                    <a:lnTo>
                      <a:pt x="258" y="1182"/>
                    </a:lnTo>
                    <a:lnTo>
                      <a:pt x="258" y="1176"/>
                    </a:lnTo>
                    <a:lnTo>
                      <a:pt x="258" y="1182"/>
                    </a:lnTo>
                    <a:lnTo>
                      <a:pt x="258" y="1176"/>
                    </a:lnTo>
                    <a:lnTo>
                      <a:pt x="258" y="1182"/>
                    </a:lnTo>
                    <a:lnTo>
                      <a:pt x="264" y="1182"/>
                    </a:lnTo>
                    <a:lnTo>
                      <a:pt x="264" y="1176"/>
                    </a:lnTo>
                    <a:lnTo>
                      <a:pt x="270" y="1176"/>
                    </a:lnTo>
                    <a:lnTo>
                      <a:pt x="270" y="1170"/>
                    </a:lnTo>
                    <a:lnTo>
                      <a:pt x="270" y="1164"/>
                    </a:lnTo>
                    <a:lnTo>
                      <a:pt x="270" y="1158"/>
                    </a:lnTo>
                    <a:lnTo>
                      <a:pt x="270" y="1152"/>
                    </a:lnTo>
                    <a:lnTo>
                      <a:pt x="264" y="1152"/>
                    </a:lnTo>
                    <a:lnTo>
                      <a:pt x="264" y="1146"/>
                    </a:lnTo>
                    <a:lnTo>
                      <a:pt x="258" y="1146"/>
                    </a:lnTo>
                    <a:lnTo>
                      <a:pt x="258" y="1140"/>
                    </a:lnTo>
                    <a:lnTo>
                      <a:pt x="258" y="1134"/>
                    </a:lnTo>
                    <a:lnTo>
                      <a:pt x="252" y="1134"/>
                    </a:lnTo>
                    <a:lnTo>
                      <a:pt x="252" y="1128"/>
                    </a:lnTo>
                    <a:lnTo>
                      <a:pt x="252" y="1122"/>
                    </a:lnTo>
                    <a:lnTo>
                      <a:pt x="252" y="1116"/>
                    </a:lnTo>
                    <a:lnTo>
                      <a:pt x="252" y="1110"/>
                    </a:lnTo>
                    <a:lnTo>
                      <a:pt x="252" y="1104"/>
                    </a:lnTo>
                    <a:lnTo>
                      <a:pt x="246" y="1104"/>
                    </a:lnTo>
                    <a:lnTo>
                      <a:pt x="246" y="1098"/>
                    </a:lnTo>
                    <a:lnTo>
                      <a:pt x="246" y="1104"/>
                    </a:lnTo>
                    <a:lnTo>
                      <a:pt x="246" y="1098"/>
                    </a:lnTo>
                    <a:lnTo>
                      <a:pt x="246" y="1092"/>
                    </a:lnTo>
                    <a:lnTo>
                      <a:pt x="240" y="1092"/>
                    </a:lnTo>
                    <a:lnTo>
                      <a:pt x="240" y="1086"/>
                    </a:lnTo>
                    <a:lnTo>
                      <a:pt x="240" y="1080"/>
                    </a:lnTo>
                    <a:lnTo>
                      <a:pt x="240" y="1086"/>
                    </a:lnTo>
                    <a:lnTo>
                      <a:pt x="240" y="1080"/>
                    </a:lnTo>
                    <a:lnTo>
                      <a:pt x="234" y="1080"/>
                    </a:lnTo>
                    <a:lnTo>
                      <a:pt x="234" y="1086"/>
                    </a:lnTo>
                    <a:lnTo>
                      <a:pt x="234" y="1080"/>
                    </a:lnTo>
                    <a:lnTo>
                      <a:pt x="228" y="1080"/>
                    </a:lnTo>
                    <a:lnTo>
                      <a:pt x="234" y="1080"/>
                    </a:lnTo>
                    <a:lnTo>
                      <a:pt x="228" y="1080"/>
                    </a:lnTo>
                    <a:lnTo>
                      <a:pt x="228" y="1074"/>
                    </a:lnTo>
                    <a:lnTo>
                      <a:pt x="228" y="1068"/>
                    </a:lnTo>
                    <a:lnTo>
                      <a:pt x="222" y="1068"/>
                    </a:lnTo>
                    <a:lnTo>
                      <a:pt x="216" y="1068"/>
                    </a:lnTo>
                    <a:lnTo>
                      <a:pt x="222" y="1068"/>
                    </a:lnTo>
                    <a:lnTo>
                      <a:pt x="216" y="1068"/>
                    </a:lnTo>
                    <a:lnTo>
                      <a:pt x="210" y="1068"/>
                    </a:lnTo>
                    <a:lnTo>
                      <a:pt x="210" y="1062"/>
                    </a:lnTo>
                    <a:lnTo>
                      <a:pt x="216" y="1062"/>
                    </a:lnTo>
                    <a:lnTo>
                      <a:pt x="210" y="1062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6" y="1050"/>
                    </a:lnTo>
                    <a:lnTo>
                      <a:pt x="216" y="1044"/>
                    </a:lnTo>
                    <a:lnTo>
                      <a:pt x="210" y="1044"/>
                    </a:lnTo>
                    <a:lnTo>
                      <a:pt x="216" y="1044"/>
                    </a:lnTo>
                    <a:lnTo>
                      <a:pt x="210" y="1044"/>
                    </a:lnTo>
                    <a:lnTo>
                      <a:pt x="210" y="1038"/>
                    </a:lnTo>
                    <a:lnTo>
                      <a:pt x="210" y="1032"/>
                    </a:lnTo>
                    <a:lnTo>
                      <a:pt x="204" y="1032"/>
                    </a:lnTo>
                    <a:lnTo>
                      <a:pt x="204" y="1026"/>
                    </a:lnTo>
                    <a:lnTo>
                      <a:pt x="198" y="1026"/>
                    </a:lnTo>
                    <a:lnTo>
                      <a:pt x="198" y="1020"/>
                    </a:lnTo>
                    <a:lnTo>
                      <a:pt x="192" y="1020"/>
                    </a:lnTo>
                    <a:lnTo>
                      <a:pt x="192" y="1014"/>
                    </a:lnTo>
                    <a:lnTo>
                      <a:pt x="186" y="1014"/>
                    </a:lnTo>
                    <a:lnTo>
                      <a:pt x="186" y="1008"/>
                    </a:lnTo>
                    <a:lnTo>
                      <a:pt x="180" y="1008"/>
                    </a:lnTo>
                    <a:lnTo>
                      <a:pt x="174" y="1008"/>
                    </a:lnTo>
                    <a:lnTo>
                      <a:pt x="174" y="1002"/>
                    </a:lnTo>
                    <a:lnTo>
                      <a:pt x="168" y="1002"/>
                    </a:lnTo>
                    <a:lnTo>
                      <a:pt x="168" y="996"/>
                    </a:lnTo>
                    <a:lnTo>
                      <a:pt x="162" y="996"/>
                    </a:lnTo>
                    <a:lnTo>
                      <a:pt x="162" y="990"/>
                    </a:lnTo>
                    <a:lnTo>
                      <a:pt x="162" y="996"/>
                    </a:lnTo>
                    <a:lnTo>
                      <a:pt x="162" y="990"/>
                    </a:lnTo>
                    <a:lnTo>
                      <a:pt x="168" y="990"/>
                    </a:lnTo>
                    <a:lnTo>
                      <a:pt x="162" y="990"/>
                    </a:lnTo>
                    <a:lnTo>
                      <a:pt x="162" y="984"/>
                    </a:lnTo>
                    <a:lnTo>
                      <a:pt x="162" y="978"/>
                    </a:lnTo>
                    <a:lnTo>
                      <a:pt x="162" y="972"/>
                    </a:lnTo>
                    <a:lnTo>
                      <a:pt x="156" y="972"/>
                    </a:lnTo>
                    <a:lnTo>
                      <a:pt x="156" y="966"/>
                    </a:lnTo>
                    <a:lnTo>
                      <a:pt x="150" y="966"/>
                    </a:lnTo>
                    <a:lnTo>
                      <a:pt x="150" y="960"/>
                    </a:lnTo>
                    <a:lnTo>
                      <a:pt x="150" y="954"/>
                    </a:lnTo>
                    <a:lnTo>
                      <a:pt x="150" y="960"/>
                    </a:lnTo>
                    <a:lnTo>
                      <a:pt x="144" y="954"/>
                    </a:lnTo>
                    <a:lnTo>
                      <a:pt x="144" y="948"/>
                    </a:lnTo>
                    <a:lnTo>
                      <a:pt x="138" y="948"/>
                    </a:lnTo>
                    <a:lnTo>
                      <a:pt x="138" y="942"/>
                    </a:lnTo>
                    <a:lnTo>
                      <a:pt x="132" y="942"/>
                    </a:lnTo>
                    <a:lnTo>
                      <a:pt x="132" y="936"/>
                    </a:lnTo>
                    <a:lnTo>
                      <a:pt x="126" y="936"/>
                    </a:lnTo>
                    <a:lnTo>
                      <a:pt x="120" y="936"/>
                    </a:lnTo>
                    <a:lnTo>
                      <a:pt x="120" y="930"/>
                    </a:lnTo>
                    <a:lnTo>
                      <a:pt x="114" y="930"/>
                    </a:lnTo>
                    <a:lnTo>
                      <a:pt x="108" y="930"/>
                    </a:lnTo>
                    <a:lnTo>
                      <a:pt x="108" y="924"/>
                    </a:lnTo>
                    <a:lnTo>
                      <a:pt x="108" y="918"/>
                    </a:lnTo>
                    <a:lnTo>
                      <a:pt x="102" y="918"/>
                    </a:lnTo>
                    <a:lnTo>
                      <a:pt x="102" y="912"/>
                    </a:lnTo>
                    <a:lnTo>
                      <a:pt x="108" y="912"/>
                    </a:lnTo>
                    <a:lnTo>
                      <a:pt x="108" y="906"/>
                    </a:lnTo>
                    <a:lnTo>
                      <a:pt x="108" y="900"/>
                    </a:lnTo>
                    <a:lnTo>
                      <a:pt x="114" y="900"/>
                    </a:lnTo>
                    <a:lnTo>
                      <a:pt x="108" y="900"/>
                    </a:lnTo>
                    <a:lnTo>
                      <a:pt x="114" y="900"/>
                    </a:lnTo>
                    <a:lnTo>
                      <a:pt x="114" y="906"/>
                    </a:lnTo>
                    <a:lnTo>
                      <a:pt x="108" y="912"/>
                    </a:lnTo>
                    <a:lnTo>
                      <a:pt x="114" y="912"/>
                    </a:lnTo>
                    <a:lnTo>
                      <a:pt x="120" y="912"/>
                    </a:lnTo>
                    <a:lnTo>
                      <a:pt x="120" y="918"/>
                    </a:lnTo>
                    <a:lnTo>
                      <a:pt x="126" y="918"/>
                    </a:lnTo>
                    <a:lnTo>
                      <a:pt x="126" y="924"/>
                    </a:lnTo>
                    <a:lnTo>
                      <a:pt x="120" y="924"/>
                    </a:lnTo>
                    <a:lnTo>
                      <a:pt x="126" y="924"/>
                    </a:lnTo>
                    <a:lnTo>
                      <a:pt x="126" y="930"/>
                    </a:lnTo>
                    <a:lnTo>
                      <a:pt x="132" y="930"/>
                    </a:lnTo>
                    <a:lnTo>
                      <a:pt x="132" y="936"/>
                    </a:lnTo>
                    <a:lnTo>
                      <a:pt x="138" y="936"/>
                    </a:lnTo>
                    <a:lnTo>
                      <a:pt x="138" y="942"/>
                    </a:lnTo>
                    <a:lnTo>
                      <a:pt x="144" y="942"/>
                    </a:lnTo>
                    <a:lnTo>
                      <a:pt x="144" y="948"/>
                    </a:lnTo>
                    <a:lnTo>
                      <a:pt x="150" y="948"/>
                    </a:lnTo>
                    <a:lnTo>
                      <a:pt x="150" y="942"/>
                    </a:lnTo>
                    <a:lnTo>
                      <a:pt x="150" y="936"/>
                    </a:lnTo>
                    <a:lnTo>
                      <a:pt x="150" y="942"/>
                    </a:lnTo>
                    <a:lnTo>
                      <a:pt x="144" y="942"/>
                    </a:lnTo>
                    <a:lnTo>
                      <a:pt x="144" y="936"/>
                    </a:lnTo>
                    <a:lnTo>
                      <a:pt x="138" y="936"/>
                    </a:lnTo>
                    <a:lnTo>
                      <a:pt x="138" y="930"/>
                    </a:lnTo>
                    <a:lnTo>
                      <a:pt x="144" y="930"/>
                    </a:lnTo>
                    <a:lnTo>
                      <a:pt x="144" y="936"/>
                    </a:lnTo>
                    <a:lnTo>
                      <a:pt x="144" y="930"/>
                    </a:lnTo>
                    <a:lnTo>
                      <a:pt x="144" y="924"/>
                    </a:lnTo>
                    <a:lnTo>
                      <a:pt x="138" y="924"/>
                    </a:lnTo>
                    <a:lnTo>
                      <a:pt x="132" y="924"/>
                    </a:lnTo>
                    <a:lnTo>
                      <a:pt x="132" y="918"/>
                    </a:lnTo>
                    <a:lnTo>
                      <a:pt x="126" y="918"/>
                    </a:lnTo>
                    <a:lnTo>
                      <a:pt x="126" y="912"/>
                    </a:lnTo>
                    <a:lnTo>
                      <a:pt x="120" y="912"/>
                    </a:lnTo>
                    <a:lnTo>
                      <a:pt x="126" y="912"/>
                    </a:lnTo>
                    <a:lnTo>
                      <a:pt x="126" y="906"/>
                    </a:lnTo>
                    <a:lnTo>
                      <a:pt x="120" y="906"/>
                    </a:lnTo>
                    <a:lnTo>
                      <a:pt x="126" y="906"/>
                    </a:lnTo>
                    <a:lnTo>
                      <a:pt x="126" y="900"/>
                    </a:lnTo>
                    <a:lnTo>
                      <a:pt x="126" y="894"/>
                    </a:lnTo>
                    <a:lnTo>
                      <a:pt x="126" y="888"/>
                    </a:lnTo>
                    <a:lnTo>
                      <a:pt x="120" y="888"/>
                    </a:lnTo>
                    <a:lnTo>
                      <a:pt x="120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08" y="888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14" y="876"/>
                    </a:lnTo>
                    <a:lnTo>
                      <a:pt x="108" y="876"/>
                    </a:lnTo>
                    <a:lnTo>
                      <a:pt x="102" y="876"/>
                    </a:lnTo>
                    <a:lnTo>
                      <a:pt x="102" y="882"/>
                    </a:lnTo>
                    <a:lnTo>
                      <a:pt x="96" y="882"/>
                    </a:lnTo>
                    <a:lnTo>
                      <a:pt x="96" y="888"/>
                    </a:lnTo>
                    <a:lnTo>
                      <a:pt x="102" y="888"/>
                    </a:lnTo>
                    <a:lnTo>
                      <a:pt x="108" y="888"/>
                    </a:lnTo>
                    <a:lnTo>
                      <a:pt x="108" y="894"/>
                    </a:lnTo>
                    <a:lnTo>
                      <a:pt x="102" y="894"/>
                    </a:lnTo>
                    <a:lnTo>
                      <a:pt x="108" y="894"/>
                    </a:lnTo>
                    <a:lnTo>
                      <a:pt x="102" y="894"/>
                    </a:lnTo>
                    <a:lnTo>
                      <a:pt x="102" y="888"/>
                    </a:lnTo>
                    <a:lnTo>
                      <a:pt x="96" y="888"/>
                    </a:lnTo>
                    <a:lnTo>
                      <a:pt x="96" y="894"/>
                    </a:lnTo>
                    <a:lnTo>
                      <a:pt x="90" y="894"/>
                    </a:lnTo>
                    <a:lnTo>
                      <a:pt x="90" y="900"/>
                    </a:lnTo>
                    <a:lnTo>
                      <a:pt x="90" y="894"/>
                    </a:lnTo>
                    <a:lnTo>
                      <a:pt x="84" y="894"/>
                    </a:lnTo>
                    <a:lnTo>
                      <a:pt x="84" y="888"/>
                    </a:lnTo>
                    <a:lnTo>
                      <a:pt x="84" y="882"/>
                    </a:lnTo>
                    <a:lnTo>
                      <a:pt x="78" y="882"/>
                    </a:lnTo>
                    <a:lnTo>
                      <a:pt x="78" y="876"/>
                    </a:lnTo>
                    <a:lnTo>
                      <a:pt x="78" y="870"/>
                    </a:lnTo>
                    <a:lnTo>
                      <a:pt x="78" y="864"/>
                    </a:lnTo>
                    <a:lnTo>
                      <a:pt x="78" y="870"/>
                    </a:lnTo>
                    <a:lnTo>
                      <a:pt x="78" y="864"/>
                    </a:lnTo>
                    <a:lnTo>
                      <a:pt x="78" y="858"/>
                    </a:lnTo>
                    <a:lnTo>
                      <a:pt x="78" y="852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2" y="840"/>
                    </a:lnTo>
                    <a:lnTo>
                      <a:pt x="78" y="840"/>
                    </a:lnTo>
                    <a:lnTo>
                      <a:pt x="78" y="834"/>
                    </a:lnTo>
                    <a:lnTo>
                      <a:pt x="72" y="834"/>
                    </a:lnTo>
                    <a:lnTo>
                      <a:pt x="78" y="834"/>
                    </a:lnTo>
                    <a:lnTo>
                      <a:pt x="72" y="834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66" y="822"/>
                    </a:lnTo>
                    <a:lnTo>
                      <a:pt x="66" y="828"/>
                    </a:lnTo>
                    <a:lnTo>
                      <a:pt x="66" y="822"/>
                    </a:lnTo>
                    <a:lnTo>
                      <a:pt x="66" y="816"/>
                    </a:lnTo>
                    <a:lnTo>
                      <a:pt x="72" y="816"/>
                    </a:lnTo>
                    <a:lnTo>
                      <a:pt x="66" y="816"/>
                    </a:lnTo>
                    <a:lnTo>
                      <a:pt x="72" y="816"/>
                    </a:lnTo>
                    <a:lnTo>
                      <a:pt x="72" y="810"/>
                    </a:lnTo>
                    <a:lnTo>
                      <a:pt x="72" y="816"/>
                    </a:lnTo>
                    <a:lnTo>
                      <a:pt x="78" y="816"/>
                    </a:lnTo>
                    <a:lnTo>
                      <a:pt x="78" y="810"/>
                    </a:lnTo>
                    <a:lnTo>
                      <a:pt x="84" y="810"/>
                    </a:lnTo>
                    <a:lnTo>
                      <a:pt x="84" y="804"/>
                    </a:lnTo>
                    <a:lnTo>
                      <a:pt x="78" y="804"/>
                    </a:lnTo>
                    <a:lnTo>
                      <a:pt x="78" y="798"/>
                    </a:lnTo>
                    <a:lnTo>
                      <a:pt x="78" y="792"/>
                    </a:lnTo>
                    <a:lnTo>
                      <a:pt x="84" y="792"/>
                    </a:lnTo>
                    <a:lnTo>
                      <a:pt x="84" y="786"/>
                    </a:lnTo>
                    <a:lnTo>
                      <a:pt x="84" y="780"/>
                    </a:lnTo>
                    <a:lnTo>
                      <a:pt x="84" y="786"/>
                    </a:lnTo>
                    <a:lnTo>
                      <a:pt x="90" y="786"/>
                    </a:lnTo>
                    <a:lnTo>
                      <a:pt x="90" y="780"/>
                    </a:lnTo>
                    <a:lnTo>
                      <a:pt x="90" y="786"/>
                    </a:lnTo>
                    <a:lnTo>
                      <a:pt x="96" y="786"/>
                    </a:lnTo>
                    <a:lnTo>
                      <a:pt x="96" y="780"/>
                    </a:lnTo>
                    <a:lnTo>
                      <a:pt x="96" y="774"/>
                    </a:lnTo>
                    <a:lnTo>
                      <a:pt x="96" y="780"/>
                    </a:lnTo>
                    <a:lnTo>
                      <a:pt x="96" y="774"/>
                    </a:lnTo>
                    <a:lnTo>
                      <a:pt x="96" y="780"/>
                    </a:lnTo>
                    <a:lnTo>
                      <a:pt x="102" y="780"/>
                    </a:lnTo>
                    <a:lnTo>
                      <a:pt x="102" y="786"/>
                    </a:lnTo>
                    <a:lnTo>
                      <a:pt x="108" y="786"/>
                    </a:lnTo>
                    <a:lnTo>
                      <a:pt x="108" y="792"/>
                    </a:lnTo>
                    <a:lnTo>
                      <a:pt x="108" y="786"/>
                    </a:lnTo>
                    <a:lnTo>
                      <a:pt x="108" y="792"/>
                    </a:lnTo>
                    <a:lnTo>
                      <a:pt x="114" y="792"/>
                    </a:lnTo>
                    <a:lnTo>
                      <a:pt x="108" y="792"/>
                    </a:lnTo>
                    <a:lnTo>
                      <a:pt x="114" y="792"/>
                    </a:lnTo>
                    <a:lnTo>
                      <a:pt x="114" y="798"/>
                    </a:lnTo>
                    <a:lnTo>
                      <a:pt x="120" y="798"/>
                    </a:lnTo>
                    <a:lnTo>
                      <a:pt x="120" y="804"/>
                    </a:lnTo>
                    <a:lnTo>
                      <a:pt x="126" y="804"/>
                    </a:lnTo>
                    <a:lnTo>
                      <a:pt x="132" y="804"/>
                    </a:lnTo>
                    <a:lnTo>
                      <a:pt x="138" y="804"/>
                    </a:lnTo>
                    <a:lnTo>
                      <a:pt x="144" y="804"/>
                    </a:lnTo>
                    <a:lnTo>
                      <a:pt x="144" y="798"/>
                    </a:lnTo>
                    <a:lnTo>
                      <a:pt x="150" y="798"/>
                    </a:lnTo>
                    <a:lnTo>
                      <a:pt x="144" y="798"/>
                    </a:lnTo>
                    <a:lnTo>
                      <a:pt x="144" y="804"/>
                    </a:lnTo>
                    <a:lnTo>
                      <a:pt x="144" y="798"/>
                    </a:lnTo>
                    <a:lnTo>
                      <a:pt x="150" y="798"/>
                    </a:lnTo>
                    <a:lnTo>
                      <a:pt x="150" y="792"/>
                    </a:lnTo>
                    <a:lnTo>
                      <a:pt x="156" y="792"/>
                    </a:lnTo>
                    <a:lnTo>
                      <a:pt x="156" y="786"/>
                    </a:lnTo>
                    <a:lnTo>
                      <a:pt x="162" y="786"/>
                    </a:lnTo>
                    <a:lnTo>
                      <a:pt x="162" y="780"/>
                    </a:lnTo>
                    <a:lnTo>
                      <a:pt x="162" y="774"/>
                    </a:lnTo>
                    <a:lnTo>
                      <a:pt x="168" y="774"/>
                    </a:lnTo>
                    <a:lnTo>
                      <a:pt x="168" y="768"/>
                    </a:lnTo>
                    <a:lnTo>
                      <a:pt x="174" y="768"/>
                    </a:lnTo>
                    <a:lnTo>
                      <a:pt x="168" y="768"/>
                    </a:lnTo>
                    <a:lnTo>
                      <a:pt x="174" y="768"/>
                    </a:lnTo>
                    <a:lnTo>
                      <a:pt x="174" y="762"/>
                    </a:lnTo>
                    <a:lnTo>
                      <a:pt x="180" y="762"/>
                    </a:lnTo>
                    <a:lnTo>
                      <a:pt x="180" y="756"/>
                    </a:lnTo>
                    <a:lnTo>
                      <a:pt x="180" y="750"/>
                    </a:lnTo>
                    <a:lnTo>
                      <a:pt x="186" y="750"/>
                    </a:lnTo>
                    <a:lnTo>
                      <a:pt x="186" y="744"/>
                    </a:lnTo>
                    <a:lnTo>
                      <a:pt x="186" y="738"/>
                    </a:lnTo>
                    <a:lnTo>
                      <a:pt x="192" y="738"/>
                    </a:lnTo>
                    <a:lnTo>
                      <a:pt x="192" y="732"/>
                    </a:lnTo>
                    <a:lnTo>
                      <a:pt x="192" y="726"/>
                    </a:lnTo>
                    <a:lnTo>
                      <a:pt x="192" y="720"/>
                    </a:lnTo>
                    <a:lnTo>
                      <a:pt x="192" y="714"/>
                    </a:lnTo>
                    <a:lnTo>
                      <a:pt x="192" y="708"/>
                    </a:lnTo>
                    <a:lnTo>
                      <a:pt x="198" y="708"/>
                    </a:lnTo>
                    <a:lnTo>
                      <a:pt x="192" y="708"/>
                    </a:lnTo>
                    <a:lnTo>
                      <a:pt x="198" y="708"/>
                    </a:lnTo>
                    <a:lnTo>
                      <a:pt x="198" y="702"/>
                    </a:lnTo>
                    <a:lnTo>
                      <a:pt x="198" y="696"/>
                    </a:lnTo>
                    <a:lnTo>
                      <a:pt x="198" y="690"/>
                    </a:lnTo>
                    <a:lnTo>
                      <a:pt x="198" y="684"/>
                    </a:lnTo>
                    <a:lnTo>
                      <a:pt x="198" y="678"/>
                    </a:lnTo>
                    <a:lnTo>
                      <a:pt x="192" y="678"/>
                    </a:lnTo>
                    <a:lnTo>
                      <a:pt x="192" y="672"/>
                    </a:lnTo>
                    <a:lnTo>
                      <a:pt x="192" y="666"/>
                    </a:lnTo>
                    <a:lnTo>
                      <a:pt x="192" y="660"/>
                    </a:lnTo>
                    <a:lnTo>
                      <a:pt x="192" y="654"/>
                    </a:lnTo>
                    <a:lnTo>
                      <a:pt x="186" y="654"/>
                    </a:lnTo>
                    <a:lnTo>
                      <a:pt x="186" y="648"/>
                    </a:lnTo>
                    <a:lnTo>
                      <a:pt x="186" y="642"/>
                    </a:lnTo>
                    <a:lnTo>
                      <a:pt x="192" y="642"/>
                    </a:lnTo>
                    <a:lnTo>
                      <a:pt x="192" y="636"/>
                    </a:lnTo>
                    <a:lnTo>
                      <a:pt x="198" y="636"/>
                    </a:lnTo>
                    <a:lnTo>
                      <a:pt x="192" y="636"/>
                    </a:lnTo>
                    <a:lnTo>
                      <a:pt x="198" y="636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92" y="624"/>
                    </a:lnTo>
                    <a:lnTo>
                      <a:pt x="192" y="618"/>
                    </a:lnTo>
                    <a:lnTo>
                      <a:pt x="192" y="612"/>
                    </a:lnTo>
                    <a:lnTo>
                      <a:pt x="186" y="612"/>
                    </a:lnTo>
                    <a:lnTo>
                      <a:pt x="192" y="612"/>
                    </a:lnTo>
                    <a:lnTo>
                      <a:pt x="192" y="606"/>
                    </a:lnTo>
                    <a:lnTo>
                      <a:pt x="186" y="606"/>
                    </a:lnTo>
                    <a:lnTo>
                      <a:pt x="186" y="600"/>
                    </a:lnTo>
                    <a:lnTo>
                      <a:pt x="186" y="594"/>
                    </a:lnTo>
                    <a:lnTo>
                      <a:pt x="180" y="594"/>
                    </a:lnTo>
                    <a:lnTo>
                      <a:pt x="186" y="594"/>
                    </a:lnTo>
                    <a:lnTo>
                      <a:pt x="180" y="594"/>
                    </a:lnTo>
                    <a:lnTo>
                      <a:pt x="180" y="588"/>
                    </a:lnTo>
                    <a:lnTo>
                      <a:pt x="180" y="582"/>
                    </a:lnTo>
                    <a:lnTo>
                      <a:pt x="180" y="576"/>
                    </a:lnTo>
                    <a:lnTo>
                      <a:pt x="180" y="570"/>
                    </a:lnTo>
                    <a:lnTo>
                      <a:pt x="180" y="564"/>
                    </a:lnTo>
                    <a:lnTo>
                      <a:pt x="180" y="558"/>
                    </a:lnTo>
                    <a:lnTo>
                      <a:pt x="180" y="552"/>
                    </a:lnTo>
                    <a:lnTo>
                      <a:pt x="180" y="546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74" y="534"/>
                    </a:lnTo>
                    <a:lnTo>
                      <a:pt x="168" y="534"/>
                    </a:lnTo>
                    <a:lnTo>
                      <a:pt x="174" y="534"/>
                    </a:lnTo>
                    <a:lnTo>
                      <a:pt x="174" y="528"/>
                    </a:lnTo>
                    <a:lnTo>
                      <a:pt x="168" y="528"/>
                    </a:lnTo>
                    <a:lnTo>
                      <a:pt x="168" y="522"/>
                    </a:lnTo>
                    <a:lnTo>
                      <a:pt x="168" y="516"/>
                    </a:lnTo>
                    <a:lnTo>
                      <a:pt x="162" y="516"/>
                    </a:lnTo>
                    <a:lnTo>
                      <a:pt x="162" y="510"/>
                    </a:lnTo>
                    <a:lnTo>
                      <a:pt x="168" y="510"/>
                    </a:lnTo>
                    <a:lnTo>
                      <a:pt x="168" y="504"/>
                    </a:lnTo>
                    <a:lnTo>
                      <a:pt x="168" y="510"/>
                    </a:lnTo>
                    <a:lnTo>
                      <a:pt x="168" y="504"/>
                    </a:lnTo>
                    <a:lnTo>
                      <a:pt x="168" y="498"/>
                    </a:lnTo>
                    <a:lnTo>
                      <a:pt x="168" y="492"/>
                    </a:lnTo>
                    <a:lnTo>
                      <a:pt x="162" y="492"/>
                    </a:lnTo>
                    <a:lnTo>
                      <a:pt x="162" y="486"/>
                    </a:lnTo>
                    <a:lnTo>
                      <a:pt x="162" y="480"/>
                    </a:lnTo>
                    <a:lnTo>
                      <a:pt x="156" y="480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0" y="468"/>
                    </a:lnTo>
                    <a:lnTo>
                      <a:pt x="150" y="462"/>
                    </a:lnTo>
                    <a:lnTo>
                      <a:pt x="150" y="456"/>
                    </a:lnTo>
                    <a:lnTo>
                      <a:pt x="150" y="450"/>
                    </a:lnTo>
                    <a:lnTo>
                      <a:pt x="144" y="450"/>
                    </a:lnTo>
                    <a:lnTo>
                      <a:pt x="144" y="444"/>
                    </a:lnTo>
                    <a:lnTo>
                      <a:pt x="144" y="438"/>
                    </a:lnTo>
                    <a:lnTo>
                      <a:pt x="138" y="438"/>
                    </a:lnTo>
                    <a:lnTo>
                      <a:pt x="138" y="432"/>
                    </a:lnTo>
                    <a:lnTo>
                      <a:pt x="132" y="432"/>
                    </a:lnTo>
                    <a:lnTo>
                      <a:pt x="132" y="426"/>
                    </a:lnTo>
                    <a:lnTo>
                      <a:pt x="126" y="426"/>
                    </a:lnTo>
                    <a:lnTo>
                      <a:pt x="126" y="420"/>
                    </a:lnTo>
                    <a:lnTo>
                      <a:pt x="126" y="414"/>
                    </a:lnTo>
                    <a:lnTo>
                      <a:pt x="120" y="414"/>
                    </a:lnTo>
                    <a:lnTo>
                      <a:pt x="120" y="408"/>
                    </a:lnTo>
                    <a:lnTo>
                      <a:pt x="120" y="414"/>
                    </a:lnTo>
                    <a:lnTo>
                      <a:pt x="120" y="408"/>
                    </a:lnTo>
                    <a:lnTo>
                      <a:pt x="120" y="402"/>
                    </a:lnTo>
                    <a:lnTo>
                      <a:pt x="114" y="402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08" y="390"/>
                    </a:lnTo>
                    <a:lnTo>
                      <a:pt x="108" y="384"/>
                    </a:lnTo>
                    <a:lnTo>
                      <a:pt x="102" y="384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6" y="372"/>
                    </a:lnTo>
                    <a:lnTo>
                      <a:pt x="90" y="372"/>
                    </a:lnTo>
                    <a:lnTo>
                      <a:pt x="90" y="366"/>
                    </a:lnTo>
                    <a:lnTo>
                      <a:pt x="84" y="366"/>
                    </a:lnTo>
                    <a:lnTo>
                      <a:pt x="84" y="360"/>
                    </a:lnTo>
                    <a:lnTo>
                      <a:pt x="78" y="360"/>
                    </a:lnTo>
                    <a:lnTo>
                      <a:pt x="84" y="360"/>
                    </a:lnTo>
                    <a:lnTo>
                      <a:pt x="78" y="360"/>
                    </a:lnTo>
                    <a:lnTo>
                      <a:pt x="78" y="354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72" y="342"/>
                    </a:lnTo>
                    <a:lnTo>
                      <a:pt x="66" y="342"/>
                    </a:lnTo>
                    <a:lnTo>
                      <a:pt x="60" y="342"/>
                    </a:lnTo>
                    <a:lnTo>
                      <a:pt x="60" y="336"/>
                    </a:lnTo>
                    <a:lnTo>
                      <a:pt x="60" y="330"/>
                    </a:lnTo>
                    <a:lnTo>
                      <a:pt x="54" y="330"/>
                    </a:lnTo>
                    <a:lnTo>
                      <a:pt x="54" y="324"/>
                    </a:lnTo>
                    <a:lnTo>
                      <a:pt x="48" y="324"/>
                    </a:lnTo>
                    <a:lnTo>
                      <a:pt x="48" y="318"/>
                    </a:lnTo>
                    <a:lnTo>
                      <a:pt x="42" y="318"/>
                    </a:lnTo>
                    <a:lnTo>
                      <a:pt x="42" y="312"/>
                    </a:lnTo>
                    <a:lnTo>
                      <a:pt x="42" y="306"/>
                    </a:lnTo>
                    <a:lnTo>
                      <a:pt x="42" y="300"/>
                    </a:lnTo>
                    <a:lnTo>
                      <a:pt x="42" y="294"/>
                    </a:lnTo>
                    <a:lnTo>
                      <a:pt x="36" y="294"/>
                    </a:lnTo>
                    <a:lnTo>
                      <a:pt x="36" y="288"/>
                    </a:lnTo>
                    <a:lnTo>
                      <a:pt x="30" y="288"/>
                    </a:lnTo>
                    <a:lnTo>
                      <a:pt x="30" y="282"/>
                    </a:lnTo>
                    <a:lnTo>
                      <a:pt x="24" y="282"/>
                    </a:lnTo>
                    <a:lnTo>
                      <a:pt x="18" y="282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2" y="270"/>
                    </a:lnTo>
                    <a:lnTo>
                      <a:pt x="12" y="264"/>
                    </a:lnTo>
                    <a:lnTo>
                      <a:pt x="6" y="264"/>
                    </a:lnTo>
                    <a:lnTo>
                      <a:pt x="6" y="258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18" y="264"/>
                    </a:lnTo>
                    <a:lnTo>
                      <a:pt x="18" y="246"/>
                    </a:lnTo>
                    <a:lnTo>
                      <a:pt x="12" y="228"/>
                    </a:lnTo>
                    <a:lnTo>
                      <a:pt x="42" y="204"/>
                    </a:lnTo>
                    <a:lnTo>
                      <a:pt x="24" y="174"/>
                    </a:lnTo>
                    <a:lnTo>
                      <a:pt x="60" y="168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78" y="120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90" y="126"/>
                    </a:lnTo>
                    <a:lnTo>
                      <a:pt x="108" y="144"/>
                    </a:lnTo>
                    <a:lnTo>
                      <a:pt x="114" y="138"/>
                    </a:lnTo>
                    <a:lnTo>
                      <a:pt x="120" y="132"/>
                    </a:lnTo>
                    <a:lnTo>
                      <a:pt x="138" y="132"/>
                    </a:lnTo>
                    <a:lnTo>
                      <a:pt x="150" y="102"/>
                    </a:lnTo>
                    <a:lnTo>
                      <a:pt x="162" y="78"/>
                    </a:lnTo>
                    <a:lnTo>
                      <a:pt x="168" y="48"/>
                    </a:lnTo>
                    <a:lnTo>
                      <a:pt x="174" y="30"/>
                    </a:lnTo>
                    <a:lnTo>
                      <a:pt x="168" y="6"/>
                    </a:lnTo>
                    <a:lnTo>
                      <a:pt x="204" y="48"/>
                    </a:lnTo>
                    <a:lnTo>
                      <a:pt x="198" y="24"/>
                    </a:lnTo>
                    <a:lnTo>
                      <a:pt x="198" y="6"/>
                    </a:lnTo>
                    <a:lnTo>
                      <a:pt x="216" y="0"/>
                    </a:lnTo>
                    <a:lnTo>
                      <a:pt x="246" y="36"/>
                    </a:lnTo>
                    <a:lnTo>
                      <a:pt x="276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</p:grpSp>
        <p:sp>
          <p:nvSpPr>
            <p:cNvPr id="50" name="Freeform 12"/>
            <p:cNvSpPr>
              <a:spLocks noChangeAspect="1" noEditPoints="1"/>
            </p:cNvSpPr>
            <p:nvPr/>
          </p:nvSpPr>
          <p:spPr bwMode="auto">
            <a:xfrm>
              <a:off x="1912045" y="4837112"/>
              <a:ext cx="170408" cy="174934"/>
            </a:xfrm>
            <a:custGeom>
              <a:avLst/>
              <a:gdLst>
                <a:gd name="T0" fmla="*/ 2147483647 w 2700"/>
                <a:gd name="T1" fmla="*/ 2147483647 h 2772"/>
                <a:gd name="T2" fmla="*/ 2147483647 w 2700"/>
                <a:gd name="T3" fmla="*/ 2147483647 h 2772"/>
                <a:gd name="T4" fmla="*/ 2147483647 w 2700"/>
                <a:gd name="T5" fmla="*/ 2147483647 h 2772"/>
                <a:gd name="T6" fmla="*/ 2147483647 w 2700"/>
                <a:gd name="T7" fmla="*/ 2147483647 h 2772"/>
                <a:gd name="T8" fmla="*/ 2147483647 w 2700"/>
                <a:gd name="T9" fmla="*/ 2147483647 h 2772"/>
                <a:gd name="T10" fmla="*/ 2147483647 w 2700"/>
                <a:gd name="T11" fmla="*/ 2147483647 h 2772"/>
                <a:gd name="T12" fmla="*/ 2147483647 w 2700"/>
                <a:gd name="T13" fmla="*/ 2147483647 h 2772"/>
                <a:gd name="T14" fmla="*/ 2147483647 w 2700"/>
                <a:gd name="T15" fmla="*/ 2147483647 h 2772"/>
                <a:gd name="T16" fmla="*/ 2147483647 w 2700"/>
                <a:gd name="T17" fmla="*/ 2147483647 h 2772"/>
                <a:gd name="T18" fmla="*/ 2147483647 w 2700"/>
                <a:gd name="T19" fmla="*/ 2147483647 h 2772"/>
                <a:gd name="T20" fmla="*/ 2147483647 w 2700"/>
                <a:gd name="T21" fmla="*/ 2147483647 h 2772"/>
                <a:gd name="T22" fmla="*/ 2147483647 w 2700"/>
                <a:gd name="T23" fmla="*/ 2147483647 h 2772"/>
                <a:gd name="T24" fmla="*/ 2147483647 w 2700"/>
                <a:gd name="T25" fmla="*/ 2147483647 h 2772"/>
                <a:gd name="T26" fmla="*/ 2147483647 w 2700"/>
                <a:gd name="T27" fmla="*/ 2147483647 h 2772"/>
                <a:gd name="T28" fmla="*/ 2147483647 w 2700"/>
                <a:gd name="T29" fmla="*/ 2147483647 h 2772"/>
                <a:gd name="T30" fmla="*/ 2147483647 w 2700"/>
                <a:gd name="T31" fmla="*/ 2147483647 h 2772"/>
                <a:gd name="T32" fmla="*/ 2147483647 w 2700"/>
                <a:gd name="T33" fmla="*/ 2147483647 h 2772"/>
                <a:gd name="T34" fmla="*/ 2147483647 w 2700"/>
                <a:gd name="T35" fmla="*/ 2147483647 h 2772"/>
                <a:gd name="T36" fmla="*/ 2147483647 w 2700"/>
                <a:gd name="T37" fmla="*/ 2147483647 h 2772"/>
                <a:gd name="T38" fmla="*/ 2147483647 w 2700"/>
                <a:gd name="T39" fmla="*/ 2147483647 h 2772"/>
                <a:gd name="T40" fmla="*/ 2147483647 w 2700"/>
                <a:gd name="T41" fmla="*/ 2147483647 h 2772"/>
                <a:gd name="T42" fmla="*/ 2147483647 w 2700"/>
                <a:gd name="T43" fmla="*/ 2147483647 h 2772"/>
                <a:gd name="T44" fmla="*/ 2147483647 w 2700"/>
                <a:gd name="T45" fmla="*/ 2147483647 h 2772"/>
                <a:gd name="T46" fmla="*/ 2147483647 w 2700"/>
                <a:gd name="T47" fmla="*/ 2147483647 h 2772"/>
                <a:gd name="T48" fmla="*/ 2147483647 w 2700"/>
                <a:gd name="T49" fmla="*/ 2147483647 h 2772"/>
                <a:gd name="T50" fmla="*/ 2147483647 w 2700"/>
                <a:gd name="T51" fmla="*/ 2147483647 h 2772"/>
                <a:gd name="T52" fmla="*/ 2147483647 w 2700"/>
                <a:gd name="T53" fmla="*/ 2147483647 h 2772"/>
                <a:gd name="T54" fmla="*/ 2147483647 w 2700"/>
                <a:gd name="T55" fmla="*/ 2147483647 h 2772"/>
                <a:gd name="T56" fmla="*/ 2147483647 w 2700"/>
                <a:gd name="T57" fmla="*/ 2147483647 h 2772"/>
                <a:gd name="T58" fmla="*/ 2147483647 w 2700"/>
                <a:gd name="T59" fmla="*/ 2147483647 h 2772"/>
                <a:gd name="T60" fmla="*/ 2147483647 w 2700"/>
                <a:gd name="T61" fmla="*/ 2147483647 h 2772"/>
                <a:gd name="T62" fmla="*/ 2147483647 w 2700"/>
                <a:gd name="T63" fmla="*/ 2147483647 h 2772"/>
                <a:gd name="T64" fmla="*/ 2147483647 w 2700"/>
                <a:gd name="T65" fmla="*/ 2147483647 h 2772"/>
                <a:gd name="T66" fmla="*/ 2147483647 w 2700"/>
                <a:gd name="T67" fmla="*/ 2147483647 h 2772"/>
                <a:gd name="T68" fmla="*/ 2147483647 w 2700"/>
                <a:gd name="T69" fmla="*/ 2147483647 h 2772"/>
                <a:gd name="T70" fmla="*/ 2147483647 w 2700"/>
                <a:gd name="T71" fmla="*/ 2147483647 h 2772"/>
                <a:gd name="T72" fmla="*/ 2147483647 w 2700"/>
                <a:gd name="T73" fmla="*/ 2147483647 h 2772"/>
                <a:gd name="T74" fmla="*/ 2147483647 w 2700"/>
                <a:gd name="T75" fmla="*/ 2147483647 h 2772"/>
                <a:gd name="T76" fmla="*/ 2147483647 w 2700"/>
                <a:gd name="T77" fmla="*/ 2147483647 h 2772"/>
                <a:gd name="T78" fmla="*/ 2147483647 w 2700"/>
                <a:gd name="T79" fmla="*/ 2147483647 h 2772"/>
                <a:gd name="T80" fmla="*/ 2147483647 w 2700"/>
                <a:gd name="T81" fmla="*/ 2147483647 h 2772"/>
                <a:gd name="T82" fmla="*/ 2147483647 w 2700"/>
                <a:gd name="T83" fmla="*/ 2147483647 h 2772"/>
                <a:gd name="T84" fmla="*/ 2147483647 w 2700"/>
                <a:gd name="T85" fmla="*/ 2147483647 h 2772"/>
                <a:gd name="T86" fmla="*/ 2147483647 w 2700"/>
                <a:gd name="T87" fmla="*/ 2147483647 h 2772"/>
                <a:gd name="T88" fmla="*/ 2147483647 w 2700"/>
                <a:gd name="T89" fmla="*/ 2147483647 h 2772"/>
                <a:gd name="T90" fmla="*/ 2147483647 w 2700"/>
                <a:gd name="T91" fmla="*/ 2147483647 h 2772"/>
                <a:gd name="T92" fmla="*/ 2147483647 w 2700"/>
                <a:gd name="T93" fmla="*/ 2147483647 h 2772"/>
                <a:gd name="T94" fmla="*/ 2147483647 w 2700"/>
                <a:gd name="T95" fmla="*/ 2147483647 h 2772"/>
                <a:gd name="T96" fmla="*/ 2147483647 w 2700"/>
                <a:gd name="T97" fmla="*/ 2147483647 h 2772"/>
                <a:gd name="T98" fmla="*/ 2147483647 w 2700"/>
                <a:gd name="T99" fmla="*/ 2147483647 h 2772"/>
                <a:gd name="T100" fmla="*/ 2147483647 w 2700"/>
                <a:gd name="T101" fmla="*/ 2147483647 h 2772"/>
                <a:gd name="T102" fmla="*/ 2147483647 w 2700"/>
                <a:gd name="T103" fmla="*/ 2147483647 h 2772"/>
                <a:gd name="T104" fmla="*/ 2147483647 w 2700"/>
                <a:gd name="T105" fmla="*/ 2147483647 h 2772"/>
                <a:gd name="T106" fmla="*/ 2147483647 w 2700"/>
                <a:gd name="T107" fmla="*/ 2147483647 h 2772"/>
                <a:gd name="T108" fmla="*/ 2147483647 w 2700"/>
                <a:gd name="T109" fmla="*/ 2147483647 h 2772"/>
                <a:gd name="T110" fmla="*/ 2147483647 w 2700"/>
                <a:gd name="T111" fmla="*/ 2147483647 h 2772"/>
                <a:gd name="T112" fmla="*/ 2147483647 w 2700"/>
                <a:gd name="T113" fmla="*/ 2147483647 h 2772"/>
                <a:gd name="T114" fmla="*/ 2147483647 w 2700"/>
                <a:gd name="T115" fmla="*/ 2147483647 h 2772"/>
                <a:gd name="T116" fmla="*/ 2147483647 w 2700"/>
                <a:gd name="T117" fmla="*/ 2147483647 h 2772"/>
                <a:gd name="T118" fmla="*/ 2147483647 w 2700"/>
                <a:gd name="T119" fmla="*/ 2147483647 h 2772"/>
                <a:gd name="T120" fmla="*/ 2147483647 w 2700"/>
                <a:gd name="T121" fmla="*/ 2147483647 h 2772"/>
                <a:gd name="T122" fmla="*/ 2147483647 w 2700"/>
                <a:gd name="T123" fmla="*/ 2147483647 h 27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700" h="2772">
                  <a:moveTo>
                    <a:pt x="156" y="1614"/>
                  </a:moveTo>
                  <a:lnTo>
                    <a:pt x="162" y="1614"/>
                  </a:lnTo>
                  <a:lnTo>
                    <a:pt x="162" y="1620"/>
                  </a:lnTo>
                  <a:lnTo>
                    <a:pt x="156" y="1620"/>
                  </a:lnTo>
                  <a:lnTo>
                    <a:pt x="156" y="1614"/>
                  </a:lnTo>
                  <a:close/>
                  <a:moveTo>
                    <a:pt x="156" y="1608"/>
                  </a:moveTo>
                  <a:lnTo>
                    <a:pt x="156" y="1614"/>
                  </a:lnTo>
                  <a:lnTo>
                    <a:pt x="157" y="1614"/>
                  </a:lnTo>
                  <a:lnTo>
                    <a:pt x="156" y="1608"/>
                  </a:lnTo>
                  <a:close/>
                  <a:moveTo>
                    <a:pt x="150" y="1608"/>
                  </a:moveTo>
                  <a:lnTo>
                    <a:pt x="156" y="1608"/>
                  </a:lnTo>
                  <a:lnTo>
                    <a:pt x="150" y="1608"/>
                  </a:lnTo>
                  <a:close/>
                  <a:moveTo>
                    <a:pt x="150" y="1602"/>
                  </a:moveTo>
                  <a:lnTo>
                    <a:pt x="150" y="1608"/>
                  </a:lnTo>
                  <a:lnTo>
                    <a:pt x="151" y="1608"/>
                  </a:lnTo>
                  <a:lnTo>
                    <a:pt x="150" y="1602"/>
                  </a:lnTo>
                  <a:close/>
                  <a:moveTo>
                    <a:pt x="1032" y="36"/>
                  </a:moveTo>
                  <a:lnTo>
                    <a:pt x="1038" y="42"/>
                  </a:lnTo>
                  <a:lnTo>
                    <a:pt x="1050" y="42"/>
                  </a:lnTo>
                  <a:lnTo>
                    <a:pt x="1056" y="48"/>
                  </a:lnTo>
                  <a:lnTo>
                    <a:pt x="1062" y="48"/>
                  </a:lnTo>
                  <a:lnTo>
                    <a:pt x="1068" y="48"/>
                  </a:lnTo>
                  <a:lnTo>
                    <a:pt x="1068" y="54"/>
                  </a:lnTo>
                  <a:lnTo>
                    <a:pt x="1074" y="54"/>
                  </a:lnTo>
                  <a:lnTo>
                    <a:pt x="1080" y="54"/>
                  </a:lnTo>
                  <a:lnTo>
                    <a:pt x="1086" y="54"/>
                  </a:lnTo>
                  <a:lnTo>
                    <a:pt x="1086" y="60"/>
                  </a:lnTo>
                  <a:lnTo>
                    <a:pt x="1092" y="66"/>
                  </a:lnTo>
                  <a:lnTo>
                    <a:pt x="1092" y="72"/>
                  </a:lnTo>
                  <a:lnTo>
                    <a:pt x="1104" y="78"/>
                  </a:lnTo>
                  <a:lnTo>
                    <a:pt x="1110" y="84"/>
                  </a:lnTo>
                  <a:lnTo>
                    <a:pt x="1116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28" y="102"/>
                  </a:lnTo>
                  <a:lnTo>
                    <a:pt x="1134" y="108"/>
                  </a:lnTo>
                  <a:lnTo>
                    <a:pt x="1134" y="114"/>
                  </a:lnTo>
                  <a:lnTo>
                    <a:pt x="1134" y="120"/>
                  </a:lnTo>
                  <a:lnTo>
                    <a:pt x="1140" y="126"/>
                  </a:lnTo>
                  <a:lnTo>
                    <a:pt x="1140" y="132"/>
                  </a:lnTo>
                  <a:lnTo>
                    <a:pt x="1140" y="126"/>
                  </a:lnTo>
                  <a:lnTo>
                    <a:pt x="1146" y="126"/>
                  </a:lnTo>
                  <a:lnTo>
                    <a:pt x="1146" y="132"/>
                  </a:lnTo>
                  <a:lnTo>
                    <a:pt x="1152" y="132"/>
                  </a:lnTo>
                  <a:lnTo>
                    <a:pt x="1146" y="138"/>
                  </a:lnTo>
                  <a:lnTo>
                    <a:pt x="1146" y="144"/>
                  </a:lnTo>
                  <a:lnTo>
                    <a:pt x="1146" y="150"/>
                  </a:lnTo>
                  <a:lnTo>
                    <a:pt x="1152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68"/>
                  </a:lnTo>
                  <a:lnTo>
                    <a:pt x="1164" y="168"/>
                  </a:lnTo>
                  <a:lnTo>
                    <a:pt x="1170" y="174"/>
                  </a:lnTo>
                  <a:lnTo>
                    <a:pt x="1170" y="180"/>
                  </a:lnTo>
                  <a:lnTo>
                    <a:pt x="1164" y="180"/>
                  </a:lnTo>
                  <a:lnTo>
                    <a:pt x="1170" y="186"/>
                  </a:lnTo>
                  <a:lnTo>
                    <a:pt x="1176" y="186"/>
                  </a:lnTo>
                  <a:lnTo>
                    <a:pt x="1176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94" y="210"/>
                  </a:lnTo>
                  <a:lnTo>
                    <a:pt x="1194" y="216"/>
                  </a:lnTo>
                  <a:lnTo>
                    <a:pt x="1194" y="222"/>
                  </a:lnTo>
                  <a:lnTo>
                    <a:pt x="1200" y="222"/>
                  </a:lnTo>
                  <a:lnTo>
                    <a:pt x="1200" y="216"/>
                  </a:lnTo>
                  <a:lnTo>
                    <a:pt x="1200" y="222"/>
                  </a:lnTo>
                  <a:lnTo>
                    <a:pt x="1200" y="228"/>
                  </a:lnTo>
                  <a:lnTo>
                    <a:pt x="1200" y="234"/>
                  </a:lnTo>
                  <a:lnTo>
                    <a:pt x="1206" y="228"/>
                  </a:lnTo>
                  <a:lnTo>
                    <a:pt x="1212" y="228"/>
                  </a:lnTo>
                  <a:lnTo>
                    <a:pt x="1218" y="228"/>
                  </a:lnTo>
                  <a:lnTo>
                    <a:pt x="1218" y="234"/>
                  </a:lnTo>
                  <a:lnTo>
                    <a:pt x="1212" y="234"/>
                  </a:lnTo>
                  <a:lnTo>
                    <a:pt x="1206" y="234"/>
                  </a:lnTo>
                  <a:lnTo>
                    <a:pt x="1206" y="246"/>
                  </a:lnTo>
                  <a:lnTo>
                    <a:pt x="1206" y="252"/>
                  </a:lnTo>
                  <a:lnTo>
                    <a:pt x="1212" y="258"/>
                  </a:lnTo>
                  <a:lnTo>
                    <a:pt x="1224" y="270"/>
                  </a:lnTo>
                  <a:lnTo>
                    <a:pt x="1224" y="276"/>
                  </a:lnTo>
                  <a:lnTo>
                    <a:pt x="1218" y="276"/>
                  </a:lnTo>
                  <a:lnTo>
                    <a:pt x="1218" y="282"/>
                  </a:lnTo>
                  <a:lnTo>
                    <a:pt x="1212" y="282"/>
                  </a:lnTo>
                  <a:lnTo>
                    <a:pt x="1212" y="288"/>
                  </a:lnTo>
                  <a:lnTo>
                    <a:pt x="1218" y="288"/>
                  </a:lnTo>
                  <a:lnTo>
                    <a:pt x="1224" y="294"/>
                  </a:lnTo>
                  <a:lnTo>
                    <a:pt x="1218" y="306"/>
                  </a:lnTo>
                  <a:lnTo>
                    <a:pt x="1218" y="312"/>
                  </a:lnTo>
                  <a:lnTo>
                    <a:pt x="1224" y="312"/>
                  </a:lnTo>
                  <a:lnTo>
                    <a:pt x="1230" y="318"/>
                  </a:lnTo>
                  <a:lnTo>
                    <a:pt x="1236" y="324"/>
                  </a:lnTo>
                  <a:lnTo>
                    <a:pt x="1236" y="336"/>
                  </a:lnTo>
                  <a:lnTo>
                    <a:pt x="1242" y="336"/>
                  </a:lnTo>
                  <a:lnTo>
                    <a:pt x="1242" y="342"/>
                  </a:lnTo>
                  <a:lnTo>
                    <a:pt x="1242" y="348"/>
                  </a:lnTo>
                  <a:lnTo>
                    <a:pt x="1242" y="354"/>
                  </a:lnTo>
                  <a:lnTo>
                    <a:pt x="1254" y="348"/>
                  </a:lnTo>
                  <a:lnTo>
                    <a:pt x="1254" y="360"/>
                  </a:lnTo>
                  <a:lnTo>
                    <a:pt x="1254" y="366"/>
                  </a:lnTo>
                  <a:lnTo>
                    <a:pt x="1260" y="366"/>
                  </a:lnTo>
                  <a:lnTo>
                    <a:pt x="1260" y="372"/>
                  </a:lnTo>
                  <a:lnTo>
                    <a:pt x="1260" y="378"/>
                  </a:lnTo>
                  <a:lnTo>
                    <a:pt x="1260" y="384"/>
                  </a:lnTo>
                  <a:lnTo>
                    <a:pt x="1260" y="390"/>
                  </a:lnTo>
                  <a:lnTo>
                    <a:pt x="1266" y="390"/>
                  </a:lnTo>
                  <a:lnTo>
                    <a:pt x="1266" y="396"/>
                  </a:lnTo>
                  <a:lnTo>
                    <a:pt x="1272" y="396"/>
                  </a:lnTo>
                  <a:lnTo>
                    <a:pt x="1272" y="402"/>
                  </a:lnTo>
                  <a:lnTo>
                    <a:pt x="1266" y="408"/>
                  </a:lnTo>
                  <a:lnTo>
                    <a:pt x="1266" y="414"/>
                  </a:lnTo>
                  <a:lnTo>
                    <a:pt x="1272" y="426"/>
                  </a:lnTo>
                  <a:lnTo>
                    <a:pt x="1266" y="432"/>
                  </a:lnTo>
                  <a:lnTo>
                    <a:pt x="1272" y="438"/>
                  </a:lnTo>
                  <a:lnTo>
                    <a:pt x="1272" y="444"/>
                  </a:lnTo>
                  <a:lnTo>
                    <a:pt x="1272" y="450"/>
                  </a:lnTo>
                  <a:lnTo>
                    <a:pt x="1266" y="450"/>
                  </a:lnTo>
                  <a:lnTo>
                    <a:pt x="1272" y="456"/>
                  </a:lnTo>
                  <a:lnTo>
                    <a:pt x="1278" y="456"/>
                  </a:lnTo>
                  <a:lnTo>
                    <a:pt x="1278" y="462"/>
                  </a:lnTo>
                  <a:lnTo>
                    <a:pt x="1278" y="468"/>
                  </a:lnTo>
                  <a:lnTo>
                    <a:pt x="1272" y="468"/>
                  </a:lnTo>
                  <a:lnTo>
                    <a:pt x="1272" y="474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92"/>
                  </a:lnTo>
                  <a:lnTo>
                    <a:pt x="1260" y="498"/>
                  </a:lnTo>
                  <a:lnTo>
                    <a:pt x="1260" y="504"/>
                  </a:lnTo>
                  <a:lnTo>
                    <a:pt x="1254" y="510"/>
                  </a:lnTo>
                  <a:lnTo>
                    <a:pt x="1248" y="510"/>
                  </a:lnTo>
                  <a:lnTo>
                    <a:pt x="1248" y="516"/>
                  </a:lnTo>
                  <a:lnTo>
                    <a:pt x="1242" y="522"/>
                  </a:lnTo>
                  <a:lnTo>
                    <a:pt x="1236" y="528"/>
                  </a:lnTo>
                  <a:lnTo>
                    <a:pt x="1236" y="534"/>
                  </a:lnTo>
                  <a:lnTo>
                    <a:pt x="1236" y="540"/>
                  </a:lnTo>
                  <a:lnTo>
                    <a:pt x="1230" y="540"/>
                  </a:lnTo>
                  <a:lnTo>
                    <a:pt x="1230" y="552"/>
                  </a:lnTo>
                  <a:lnTo>
                    <a:pt x="1224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12" y="564"/>
                  </a:lnTo>
                  <a:lnTo>
                    <a:pt x="1206" y="576"/>
                  </a:lnTo>
                  <a:lnTo>
                    <a:pt x="1206" y="588"/>
                  </a:lnTo>
                  <a:lnTo>
                    <a:pt x="1206" y="594"/>
                  </a:lnTo>
                  <a:lnTo>
                    <a:pt x="1206" y="606"/>
                  </a:lnTo>
                  <a:lnTo>
                    <a:pt x="1212" y="612"/>
                  </a:lnTo>
                  <a:lnTo>
                    <a:pt x="1212" y="618"/>
                  </a:lnTo>
                  <a:lnTo>
                    <a:pt x="1218" y="624"/>
                  </a:lnTo>
                  <a:lnTo>
                    <a:pt x="1218" y="630"/>
                  </a:lnTo>
                  <a:lnTo>
                    <a:pt x="1218" y="642"/>
                  </a:lnTo>
                  <a:lnTo>
                    <a:pt x="1212" y="648"/>
                  </a:lnTo>
                  <a:lnTo>
                    <a:pt x="1212" y="654"/>
                  </a:lnTo>
                  <a:lnTo>
                    <a:pt x="1218" y="666"/>
                  </a:lnTo>
                  <a:lnTo>
                    <a:pt x="1218" y="672"/>
                  </a:lnTo>
                  <a:lnTo>
                    <a:pt x="1218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0"/>
                  </a:lnTo>
                  <a:lnTo>
                    <a:pt x="1224" y="696"/>
                  </a:lnTo>
                  <a:lnTo>
                    <a:pt x="1224" y="702"/>
                  </a:lnTo>
                  <a:lnTo>
                    <a:pt x="1230" y="702"/>
                  </a:lnTo>
                  <a:lnTo>
                    <a:pt x="1236" y="702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42" y="720"/>
                  </a:lnTo>
                  <a:lnTo>
                    <a:pt x="1242" y="714"/>
                  </a:lnTo>
                  <a:lnTo>
                    <a:pt x="1248" y="708"/>
                  </a:lnTo>
                  <a:lnTo>
                    <a:pt x="1254" y="708"/>
                  </a:lnTo>
                  <a:lnTo>
                    <a:pt x="1260" y="708"/>
                  </a:lnTo>
                  <a:lnTo>
                    <a:pt x="1260" y="702"/>
                  </a:lnTo>
                  <a:lnTo>
                    <a:pt x="1266" y="702"/>
                  </a:lnTo>
                  <a:lnTo>
                    <a:pt x="1266" y="696"/>
                  </a:lnTo>
                  <a:lnTo>
                    <a:pt x="1272" y="696"/>
                  </a:lnTo>
                  <a:lnTo>
                    <a:pt x="1278" y="690"/>
                  </a:lnTo>
                  <a:lnTo>
                    <a:pt x="1284" y="690"/>
                  </a:lnTo>
                  <a:lnTo>
                    <a:pt x="1290" y="684"/>
                  </a:lnTo>
                  <a:lnTo>
                    <a:pt x="1296" y="684"/>
                  </a:lnTo>
                  <a:lnTo>
                    <a:pt x="1302" y="684"/>
                  </a:lnTo>
                  <a:lnTo>
                    <a:pt x="1308" y="684"/>
                  </a:lnTo>
                  <a:lnTo>
                    <a:pt x="1314" y="684"/>
                  </a:lnTo>
                  <a:lnTo>
                    <a:pt x="1320" y="684"/>
                  </a:lnTo>
                  <a:lnTo>
                    <a:pt x="1326" y="690"/>
                  </a:lnTo>
                  <a:lnTo>
                    <a:pt x="1326" y="696"/>
                  </a:lnTo>
                  <a:lnTo>
                    <a:pt x="1332" y="696"/>
                  </a:lnTo>
                  <a:lnTo>
                    <a:pt x="1338" y="702"/>
                  </a:lnTo>
                  <a:lnTo>
                    <a:pt x="1344" y="702"/>
                  </a:lnTo>
                  <a:lnTo>
                    <a:pt x="1356" y="702"/>
                  </a:lnTo>
                  <a:lnTo>
                    <a:pt x="1374" y="708"/>
                  </a:lnTo>
                  <a:lnTo>
                    <a:pt x="1380" y="708"/>
                  </a:lnTo>
                  <a:lnTo>
                    <a:pt x="1380" y="702"/>
                  </a:lnTo>
                  <a:lnTo>
                    <a:pt x="1392" y="696"/>
                  </a:lnTo>
                  <a:lnTo>
                    <a:pt x="1398" y="696"/>
                  </a:lnTo>
                  <a:lnTo>
                    <a:pt x="1404" y="696"/>
                  </a:lnTo>
                  <a:lnTo>
                    <a:pt x="1410" y="696"/>
                  </a:lnTo>
                  <a:lnTo>
                    <a:pt x="1416" y="696"/>
                  </a:lnTo>
                  <a:lnTo>
                    <a:pt x="1422" y="696"/>
                  </a:lnTo>
                  <a:lnTo>
                    <a:pt x="1428" y="690"/>
                  </a:lnTo>
                  <a:lnTo>
                    <a:pt x="1434" y="690"/>
                  </a:lnTo>
                  <a:lnTo>
                    <a:pt x="1440" y="690"/>
                  </a:lnTo>
                  <a:lnTo>
                    <a:pt x="1446" y="690"/>
                  </a:lnTo>
                  <a:lnTo>
                    <a:pt x="1452" y="690"/>
                  </a:lnTo>
                  <a:lnTo>
                    <a:pt x="1458" y="690"/>
                  </a:lnTo>
                  <a:lnTo>
                    <a:pt x="1464" y="690"/>
                  </a:lnTo>
                  <a:lnTo>
                    <a:pt x="1470" y="696"/>
                  </a:lnTo>
                  <a:lnTo>
                    <a:pt x="1476" y="696"/>
                  </a:lnTo>
                  <a:lnTo>
                    <a:pt x="1482" y="696"/>
                  </a:lnTo>
                  <a:lnTo>
                    <a:pt x="1488" y="696"/>
                  </a:lnTo>
                  <a:lnTo>
                    <a:pt x="1494" y="696"/>
                  </a:lnTo>
                  <a:lnTo>
                    <a:pt x="1500" y="696"/>
                  </a:lnTo>
                  <a:lnTo>
                    <a:pt x="1506" y="696"/>
                  </a:lnTo>
                  <a:lnTo>
                    <a:pt x="1512" y="696"/>
                  </a:lnTo>
                  <a:lnTo>
                    <a:pt x="1518" y="702"/>
                  </a:lnTo>
                  <a:lnTo>
                    <a:pt x="1524" y="702"/>
                  </a:lnTo>
                  <a:lnTo>
                    <a:pt x="1524" y="696"/>
                  </a:lnTo>
                  <a:lnTo>
                    <a:pt x="1530" y="702"/>
                  </a:lnTo>
                  <a:lnTo>
                    <a:pt x="1530" y="696"/>
                  </a:lnTo>
                  <a:lnTo>
                    <a:pt x="1536" y="696"/>
                  </a:lnTo>
                  <a:lnTo>
                    <a:pt x="1542" y="696"/>
                  </a:lnTo>
                  <a:lnTo>
                    <a:pt x="1554" y="684"/>
                  </a:lnTo>
                  <a:lnTo>
                    <a:pt x="1560" y="684"/>
                  </a:lnTo>
                  <a:lnTo>
                    <a:pt x="1560" y="678"/>
                  </a:lnTo>
                  <a:lnTo>
                    <a:pt x="1566" y="678"/>
                  </a:lnTo>
                  <a:lnTo>
                    <a:pt x="1566" y="672"/>
                  </a:lnTo>
                  <a:lnTo>
                    <a:pt x="1566" y="666"/>
                  </a:lnTo>
                  <a:lnTo>
                    <a:pt x="1566" y="660"/>
                  </a:lnTo>
                  <a:lnTo>
                    <a:pt x="1566" y="648"/>
                  </a:lnTo>
                  <a:lnTo>
                    <a:pt x="1560" y="648"/>
                  </a:lnTo>
                  <a:lnTo>
                    <a:pt x="1560" y="642"/>
                  </a:lnTo>
                  <a:lnTo>
                    <a:pt x="1566" y="636"/>
                  </a:lnTo>
                  <a:lnTo>
                    <a:pt x="1572" y="630"/>
                  </a:lnTo>
                  <a:lnTo>
                    <a:pt x="1578" y="630"/>
                  </a:lnTo>
                  <a:lnTo>
                    <a:pt x="1584" y="630"/>
                  </a:lnTo>
                  <a:lnTo>
                    <a:pt x="1590" y="630"/>
                  </a:lnTo>
                  <a:lnTo>
                    <a:pt x="1602" y="630"/>
                  </a:lnTo>
                  <a:lnTo>
                    <a:pt x="1608" y="630"/>
                  </a:lnTo>
                  <a:lnTo>
                    <a:pt x="1614" y="630"/>
                  </a:lnTo>
                  <a:lnTo>
                    <a:pt x="1620" y="630"/>
                  </a:lnTo>
                  <a:lnTo>
                    <a:pt x="1632" y="624"/>
                  </a:lnTo>
                  <a:lnTo>
                    <a:pt x="1638" y="618"/>
                  </a:lnTo>
                  <a:lnTo>
                    <a:pt x="1644" y="618"/>
                  </a:lnTo>
                  <a:lnTo>
                    <a:pt x="1650" y="612"/>
                  </a:lnTo>
                  <a:lnTo>
                    <a:pt x="1650" y="606"/>
                  </a:lnTo>
                  <a:lnTo>
                    <a:pt x="1656" y="600"/>
                  </a:lnTo>
                  <a:lnTo>
                    <a:pt x="1662" y="588"/>
                  </a:lnTo>
                  <a:lnTo>
                    <a:pt x="1668" y="588"/>
                  </a:lnTo>
                  <a:lnTo>
                    <a:pt x="1668" y="582"/>
                  </a:lnTo>
                  <a:lnTo>
                    <a:pt x="1674" y="582"/>
                  </a:lnTo>
                  <a:lnTo>
                    <a:pt x="1674" y="576"/>
                  </a:lnTo>
                  <a:lnTo>
                    <a:pt x="1680" y="576"/>
                  </a:lnTo>
                  <a:lnTo>
                    <a:pt x="1680" y="570"/>
                  </a:lnTo>
                  <a:lnTo>
                    <a:pt x="1680" y="564"/>
                  </a:lnTo>
                  <a:lnTo>
                    <a:pt x="1686" y="564"/>
                  </a:lnTo>
                  <a:lnTo>
                    <a:pt x="1686" y="558"/>
                  </a:lnTo>
                  <a:lnTo>
                    <a:pt x="1686" y="552"/>
                  </a:lnTo>
                  <a:lnTo>
                    <a:pt x="1686" y="546"/>
                  </a:lnTo>
                  <a:lnTo>
                    <a:pt x="1692" y="546"/>
                  </a:lnTo>
                  <a:lnTo>
                    <a:pt x="1686" y="540"/>
                  </a:lnTo>
                  <a:lnTo>
                    <a:pt x="1692" y="534"/>
                  </a:lnTo>
                  <a:lnTo>
                    <a:pt x="1698" y="534"/>
                  </a:lnTo>
                  <a:lnTo>
                    <a:pt x="1698" y="528"/>
                  </a:lnTo>
                  <a:lnTo>
                    <a:pt x="1704" y="522"/>
                  </a:lnTo>
                  <a:lnTo>
                    <a:pt x="1710" y="522"/>
                  </a:lnTo>
                  <a:lnTo>
                    <a:pt x="1716" y="516"/>
                  </a:lnTo>
                  <a:lnTo>
                    <a:pt x="1722" y="516"/>
                  </a:lnTo>
                  <a:lnTo>
                    <a:pt x="1728" y="510"/>
                  </a:lnTo>
                  <a:lnTo>
                    <a:pt x="1734" y="510"/>
                  </a:lnTo>
                  <a:lnTo>
                    <a:pt x="1740" y="510"/>
                  </a:lnTo>
                  <a:lnTo>
                    <a:pt x="1740" y="504"/>
                  </a:lnTo>
                  <a:lnTo>
                    <a:pt x="1740" y="498"/>
                  </a:lnTo>
                  <a:lnTo>
                    <a:pt x="1746" y="498"/>
                  </a:lnTo>
                  <a:lnTo>
                    <a:pt x="1752" y="492"/>
                  </a:lnTo>
                  <a:lnTo>
                    <a:pt x="1746" y="486"/>
                  </a:lnTo>
                  <a:lnTo>
                    <a:pt x="1752" y="486"/>
                  </a:lnTo>
                  <a:lnTo>
                    <a:pt x="1752" y="480"/>
                  </a:lnTo>
                  <a:lnTo>
                    <a:pt x="1758" y="474"/>
                  </a:lnTo>
                  <a:lnTo>
                    <a:pt x="1764" y="480"/>
                  </a:lnTo>
                  <a:lnTo>
                    <a:pt x="1770" y="474"/>
                  </a:lnTo>
                  <a:lnTo>
                    <a:pt x="1770" y="468"/>
                  </a:lnTo>
                  <a:lnTo>
                    <a:pt x="1782" y="474"/>
                  </a:lnTo>
                  <a:lnTo>
                    <a:pt x="1788" y="474"/>
                  </a:lnTo>
                  <a:lnTo>
                    <a:pt x="1794" y="474"/>
                  </a:lnTo>
                  <a:lnTo>
                    <a:pt x="1800" y="474"/>
                  </a:lnTo>
                  <a:lnTo>
                    <a:pt x="1800" y="468"/>
                  </a:lnTo>
                  <a:lnTo>
                    <a:pt x="1806" y="462"/>
                  </a:lnTo>
                  <a:lnTo>
                    <a:pt x="1806" y="456"/>
                  </a:lnTo>
                  <a:lnTo>
                    <a:pt x="1806" y="450"/>
                  </a:lnTo>
                  <a:lnTo>
                    <a:pt x="1812" y="450"/>
                  </a:lnTo>
                  <a:lnTo>
                    <a:pt x="1812" y="444"/>
                  </a:lnTo>
                  <a:lnTo>
                    <a:pt x="1818" y="444"/>
                  </a:lnTo>
                  <a:lnTo>
                    <a:pt x="1818" y="438"/>
                  </a:lnTo>
                  <a:lnTo>
                    <a:pt x="1836" y="438"/>
                  </a:lnTo>
                  <a:lnTo>
                    <a:pt x="1842" y="540"/>
                  </a:lnTo>
                  <a:lnTo>
                    <a:pt x="1836" y="546"/>
                  </a:lnTo>
                  <a:lnTo>
                    <a:pt x="1836" y="564"/>
                  </a:lnTo>
                  <a:lnTo>
                    <a:pt x="1842" y="570"/>
                  </a:lnTo>
                  <a:lnTo>
                    <a:pt x="1842" y="588"/>
                  </a:lnTo>
                  <a:lnTo>
                    <a:pt x="1842" y="594"/>
                  </a:lnTo>
                  <a:lnTo>
                    <a:pt x="1848" y="594"/>
                  </a:lnTo>
                  <a:lnTo>
                    <a:pt x="1854" y="594"/>
                  </a:lnTo>
                  <a:lnTo>
                    <a:pt x="1860" y="594"/>
                  </a:lnTo>
                  <a:lnTo>
                    <a:pt x="1860" y="588"/>
                  </a:lnTo>
                  <a:lnTo>
                    <a:pt x="1866" y="588"/>
                  </a:lnTo>
                  <a:lnTo>
                    <a:pt x="1872" y="588"/>
                  </a:lnTo>
                  <a:lnTo>
                    <a:pt x="1872" y="594"/>
                  </a:lnTo>
                  <a:lnTo>
                    <a:pt x="1884" y="588"/>
                  </a:lnTo>
                  <a:lnTo>
                    <a:pt x="1890" y="594"/>
                  </a:lnTo>
                  <a:lnTo>
                    <a:pt x="1890" y="600"/>
                  </a:lnTo>
                  <a:lnTo>
                    <a:pt x="1896" y="600"/>
                  </a:lnTo>
                  <a:lnTo>
                    <a:pt x="1902" y="600"/>
                  </a:lnTo>
                  <a:lnTo>
                    <a:pt x="1908" y="600"/>
                  </a:lnTo>
                  <a:lnTo>
                    <a:pt x="1914" y="600"/>
                  </a:lnTo>
                  <a:lnTo>
                    <a:pt x="1914" y="612"/>
                  </a:lnTo>
                  <a:lnTo>
                    <a:pt x="1920" y="612"/>
                  </a:lnTo>
                  <a:lnTo>
                    <a:pt x="1920" y="606"/>
                  </a:lnTo>
                  <a:lnTo>
                    <a:pt x="1926" y="606"/>
                  </a:lnTo>
                  <a:lnTo>
                    <a:pt x="1932" y="618"/>
                  </a:lnTo>
                  <a:lnTo>
                    <a:pt x="1938" y="624"/>
                  </a:lnTo>
                  <a:lnTo>
                    <a:pt x="1944" y="624"/>
                  </a:lnTo>
                  <a:lnTo>
                    <a:pt x="1950" y="624"/>
                  </a:lnTo>
                  <a:lnTo>
                    <a:pt x="1950" y="630"/>
                  </a:lnTo>
                  <a:lnTo>
                    <a:pt x="1944" y="642"/>
                  </a:lnTo>
                  <a:lnTo>
                    <a:pt x="1938" y="654"/>
                  </a:lnTo>
                  <a:lnTo>
                    <a:pt x="1944" y="660"/>
                  </a:lnTo>
                  <a:lnTo>
                    <a:pt x="1950" y="666"/>
                  </a:lnTo>
                  <a:lnTo>
                    <a:pt x="1938" y="672"/>
                  </a:lnTo>
                  <a:lnTo>
                    <a:pt x="1938" y="690"/>
                  </a:lnTo>
                  <a:lnTo>
                    <a:pt x="1944" y="702"/>
                  </a:lnTo>
                  <a:lnTo>
                    <a:pt x="1944" y="708"/>
                  </a:lnTo>
                  <a:lnTo>
                    <a:pt x="1944" y="720"/>
                  </a:lnTo>
                  <a:lnTo>
                    <a:pt x="1956" y="732"/>
                  </a:lnTo>
                  <a:lnTo>
                    <a:pt x="1956" y="738"/>
                  </a:lnTo>
                  <a:lnTo>
                    <a:pt x="1950" y="744"/>
                  </a:lnTo>
                  <a:lnTo>
                    <a:pt x="1938" y="744"/>
                  </a:lnTo>
                  <a:lnTo>
                    <a:pt x="1932" y="750"/>
                  </a:lnTo>
                  <a:lnTo>
                    <a:pt x="1932" y="762"/>
                  </a:lnTo>
                  <a:lnTo>
                    <a:pt x="1932" y="774"/>
                  </a:lnTo>
                  <a:lnTo>
                    <a:pt x="1938" y="792"/>
                  </a:lnTo>
                  <a:lnTo>
                    <a:pt x="1938" y="798"/>
                  </a:lnTo>
                  <a:lnTo>
                    <a:pt x="1944" y="804"/>
                  </a:lnTo>
                  <a:lnTo>
                    <a:pt x="1944" y="810"/>
                  </a:lnTo>
                  <a:lnTo>
                    <a:pt x="1956" y="804"/>
                  </a:lnTo>
                  <a:lnTo>
                    <a:pt x="1962" y="804"/>
                  </a:lnTo>
                  <a:lnTo>
                    <a:pt x="1968" y="804"/>
                  </a:lnTo>
                  <a:lnTo>
                    <a:pt x="1968" y="816"/>
                  </a:lnTo>
                  <a:lnTo>
                    <a:pt x="1974" y="816"/>
                  </a:lnTo>
                  <a:lnTo>
                    <a:pt x="1980" y="822"/>
                  </a:lnTo>
                  <a:lnTo>
                    <a:pt x="1986" y="828"/>
                  </a:lnTo>
                  <a:lnTo>
                    <a:pt x="1998" y="840"/>
                  </a:lnTo>
                  <a:lnTo>
                    <a:pt x="2004" y="852"/>
                  </a:lnTo>
                  <a:lnTo>
                    <a:pt x="2010" y="852"/>
                  </a:lnTo>
                  <a:lnTo>
                    <a:pt x="2016" y="852"/>
                  </a:lnTo>
                  <a:lnTo>
                    <a:pt x="2028" y="852"/>
                  </a:lnTo>
                  <a:lnTo>
                    <a:pt x="2040" y="858"/>
                  </a:lnTo>
                  <a:lnTo>
                    <a:pt x="2046" y="864"/>
                  </a:lnTo>
                  <a:lnTo>
                    <a:pt x="2058" y="870"/>
                  </a:lnTo>
                  <a:lnTo>
                    <a:pt x="2064" y="876"/>
                  </a:lnTo>
                  <a:lnTo>
                    <a:pt x="2070" y="870"/>
                  </a:lnTo>
                  <a:lnTo>
                    <a:pt x="2076" y="870"/>
                  </a:lnTo>
                  <a:lnTo>
                    <a:pt x="2082" y="876"/>
                  </a:lnTo>
                  <a:lnTo>
                    <a:pt x="2082" y="882"/>
                  </a:lnTo>
                  <a:lnTo>
                    <a:pt x="2082" y="888"/>
                  </a:lnTo>
                  <a:lnTo>
                    <a:pt x="2082" y="894"/>
                  </a:lnTo>
                  <a:lnTo>
                    <a:pt x="2100" y="894"/>
                  </a:lnTo>
                  <a:lnTo>
                    <a:pt x="2112" y="894"/>
                  </a:lnTo>
                  <a:lnTo>
                    <a:pt x="2118" y="894"/>
                  </a:lnTo>
                  <a:lnTo>
                    <a:pt x="2130" y="906"/>
                  </a:lnTo>
                  <a:lnTo>
                    <a:pt x="2148" y="912"/>
                  </a:lnTo>
                  <a:lnTo>
                    <a:pt x="2160" y="918"/>
                  </a:lnTo>
                  <a:lnTo>
                    <a:pt x="2166" y="918"/>
                  </a:lnTo>
                  <a:lnTo>
                    <a:pt x="2178" y="894"/>
                  </a:lnTo>
                  <a:lnTo>
                    <a:pt x="2184" y="894"/>
                  </a:lnTo>
                  <a:lnTo>
                    <a:pt x="2202" y="900"/>
                  </a:lnTo>
                  <a:lnTo>
                    <a:pt x="2208" y="900"/>
                  </a:lnTo>
                  <a:lnTo>
                    <a:pt x="2208" y="894"/>
                  </a:lnTo>
                  <a:lnTo>
                    <a:pt x="2214" y="894"/>
                  </a:lnTo>
                  <a:lnTo>
                    <a:pt x="2214" y="888"/>
                  </a:lnTo>
                  <a:lnTo>
                    <a:pt x="2202" y="888"/>
                  </a:lnTo>
                  <a:lnTo>
                    <a:pt x="2202" y="882"/>
                  </a:lnTo>
                  <a:lnTo>
                    <a:pt x="2202" y="876"/>
                  </a:lnTo>
                  <a:lnTo>
                    <a:pt x="2208" y="870"/>
                  </a:lnTo>
                  <a:lnTo>
                    <a:pt x="2226" y="876"/>
                  </a:lnTo>
                  <a:lnTo>
                    <a:pt x="2232" y="876"/>
                  </a:lnTo>
                  <a:lnTo>
                    <a:pt x="2238" y="876"/>
                  </a:lnTo>
                  <a:lnTo>
                    <a:pt x="2238" y="870"/>
                  </a:lnTo>
                  <a:lnTo>
                    <a:pt x="2232" y="870"/>
                  </a:lnTo>
                  <a:lnTo>
                    <a:pt x="2232" y="864"/>
                  </a:lnTo>
                  <a:lnTo>
                    <a:pt x="2232" y="858"/>
                  </a:lnTo>
                  <a:lnTo>
                    <a:pt x="2232" y="852"/>
                  </a:lnTo>
                  <a:lnTo>
                    <a:pt x="2238" y="846"/>
                  </a:lnTo>
                  <a:lnTo>
                    <a:pt x="2238" y="840"/>
                  </a:lnTo>
                  <a:lnTo>
                    <a:pt x="2262" y="852"/>
                  </a:lnTo>
                  <a:lnTo>
                    <a:pt x="2250" y="876"/>
                  </a:lnTo>
                  <a:lnTo>
                    <a:pt x="2250" y="936"/>
                  </a:lnTo>
                  <a:lnTo>
                    <a:pt x="2268" y="942"/>
                  </a:lnTo>
                  <a:lnTo>
                    <a:pt x="2262" y="978"/>
                  </a:lnTo>
                  <a:lnTo>
                    <a:pt x="2274" y="984"/>
                  </a:lnTo>
                  <a:lnTo>
                    <a:pt x="2316" y="972"/>
                  </a:lnTo>
                  <a:lnTo>
                    <a:pt x="2364" y="966"/>
                  </a:lnTo>
                  <a:lnTo>
                    <a:pt x="2370" y="972"/>
                  </a:lnTo>
                  <a:lnTo>
                    <a:pt x="2370" y="978"/>
                  </a:lnTo>
                  <a:lnTo>
                    <a:pt x="2370" y="984"/>
                  </a:lnTo>
                  <a:lnTo>
                    <a:pt x="2370" y="996"/>
                  </a:lnTo>
                  <a:lnTo>
                    <a:pt x="2370" y="1002"/>
                  </a:lnTo>
                  <a:lnTo>
                    <a:pt x="2370" y="1008"/>
                  </a:lnTo>
                  <a:lnTo>
                    <a:pt x="2370" y="1014"/>
                  </a:lnTo>
                  <a:lnTo>
                    <a:pt x="2358" y="1020"/>
                  </a:lnTo>
                  <a:lnTo>
                    <a:pt x="2358" y="1026"/>
                  </a:lnTo>
                  <a:lnTo>
                    <a:pt x="2346" y="1038"/>
                  </a:lnTo>
                  <a:lnTo>
                    <a:pt x="2352" y="1044"/>
                  </a:lnTo>
                  <a:lnTo>
                    <a:pt x="2358" y="1050"/>
                  </a:lnTo>
                  <a:lnTo>
                    <a:pt x="2364" y="1050"/>
                  </a:lnTo>
                  <a:lnTo>
                    <a:pt x="2370" y="1050"/>
                  </a:lnTo>
                  <a:lnTo>
                    <a:pt x="2370" y="1056"/>
                  </a:lnTo>
                  <a:lnTo>
                    <a:pt x="2382" y="1062"/>
                  </a:lnTo>
                  <a:lnTo>
                    <a:pt x="2382" y="1068"/>
                  </a:lnTo>
                  <a:lnTo>
                    <a:pt x="2376" y="1068"/>
                  </a:lnTo>
                  <a:lnTo>
                    <a:pt x="2370" y="1080"/>
                  </a:lnTo>
                  <a:lnTo>
                    <a:pt x="2370" y="1086"/>
                  </a:lnTo>
                  <a:lnTo>
                    <a:pt x="2376" y="1086"/>
                  </a:lnTo>
                  <a:lnTo>
                    <a:pt x="2388" y="1098"/>
                  </a:lnTo>
                  <a:lnTo>
                    <a:pt x="2394" y="1104"/>
                  </a:lnTo>
                  <a:lnTo>
                    <a:pt x="2400" y="1104"/>
                  </a:lnTo>
                  <a:lnTo>
                    <a:pt x="2406" y="1098"/>
                  </a:lnTo>
                  <a:lnTo>
                    <a:pt x="2406" y="1092"/>
                  </a:lnTo>
                  <a:lnTo>
                    <a:pt x="2412" y="1092"/>
                  </a:lnTo>
                  <a:lnTo>
                    <a:pt x="2412" y="1086"/>
                  </a:lnTo>
                  <a:lnTo>
                    <a:pt x="2412" y="1080"/>
                  </a:lnTo>
                  <a:lnTo>
                    <a:pt x="2418" y="1080"/>
                  </a:lnTo>
                  <a:lnTo>
                    <a:pt x="2424" y="1080"/>
                  </a:lnTo>
                  <a:lnTo>
                    <a:pt x="2424" y="1074"/>
                  </a:lnTo>
                  <a:lnTo>
                    <a:pt x="2424" y="1068"/>
                  </a:lnTo>
                  <a:lnTo>
                    <a:pt x="2430" y="1068"/>
                  </a:lnTo>
                  <a:lnTo>
                    <a:pt x="2430" y="1062"/>
                  </a:lnTo>
                  <a:lnTo>
                    <a:pt x="2430" y="1056"/>
                  </a:lnTo>
                  <a:lnTo>
                    <a:pt x="2430" y="1050"/>
                  </a:lnTo>
                  <a:lnTo>
                    <a:pt x="2424" y="1044"/>
                  </a:lnTo>
                  <a:lnTo>
                    <a:pt x="2430" y="1038"/>
                  </a:lnTo>
                  <a:lnTo>
                    <a:pt x="2430" y="1032"/>
                  </a:lnTo>
                  <a:lnTo>
                    <a:pt x="2436" y="1032"/>
                  </a:lnTo>
                  <a:lnTo>
                    <a:pt x="2436" y="1026"/>
                  </a:lnTo>
                  <a:lnTo>
                    <a:pt x="2436" y="1020"/>
                  </a:lnTo>
                  <a:lnTo>
                    <a:pt x="2442" y="1020"/>
                  </a:lnTo>
                  <a:lnTo>
                    <a:pt x="2448" y="1020"/>
                  </a:lnTo>
                  <a:lnTo>
                    <a:pt x="2448" y="1014"/>
                  </a:lnTo>
                  <a:lnTo>
                    <a:pt x="2454" y="1008"/>
                  </a:lnTo>
                  <a:lnTo>
                    <a:pt x="2448" y="1002"/>
                  </a:lnTo>
                  <a:lnTo>
                    <a:pt x="2448" y="996"/>
                  </a:lnTo>
                  <a:lnTo>
                    <a:pt x="2454" y="996"/>
                  </a:lnTo>
                  <a:lnTo>
                    <a:pt x="2454" y="990"/>
                  </a:lnTo>
                  <a:lnTo>
                    <a:pt x="2454" y="984"/>
                  </a:lnTo>
                  <a:lnTo>
                    <a:pt x="2454" y="978"/>
                  </a:lnTo>
                  <a:lnTo>
                    <a:pt x="2448" y="978"/>
                  </a:lnTo>
                  <a:lnTo>
                    <a:pt x="2448" y="972"/>
                  </a:lnTo>
                  <a:lnTo>
                    <a:pt x="2442" y="966"/>
                  </a:lnTo>
                  <a:lnTo>
                    <a:pt x="2442" y="960"/>
                  </a:lnTo>
                  <a:lnTo>
                    <a:pt x="2448" y="954"/>
                  </a:lnTo>
                  <a:lnTo>
                    <a:pt x="2448" y="948"/>
                  </a:lnTo>
                  <a:lnTo>
                    <a:pt x="2454" y="948"/>
                  </a:lnTo>
                  <a:lnTo>
                    <a:pt x="2466" y="948"/>
                  </a:lnTo>
                  <a:lnTo>
                    <a:pt x="2466" y="942"/>
                  </a:lnTo>
                  <a:lnTo>
                    <a:pt x="2472" y="936"/>
                  </a:lnTo>
                  <a:lnTo>
                    <a:pt x="2472" y="942"/>
                  </a:lnTo>
                  <a:lnTo>
                    <a:pt x="2472" y="948"/>
                  </a:lnTo>
                  <a:lnTo>
                    <a:pt x="2478" y="954"/>
                  </a:lnTo>
                  <a:lnTo>
                    <a:pt x="2478" y="960"/>
                  </a:lnTo>
                  <a:lnTo>
                    <a:pt x="2478" y="966"/>
                  </a:lnTo>
                  <a:lnTo>
                    <a:pt x="2484" y="966"/>
                  </a:lnTo>
                  <a:lnTo>
                    <a:pt x="2496" y="966"/>
                  </a:lnTo>
                  <a:lnTo>
                    <a:pt x="2514" y="966"/>
                  </a:lnTo>
                  <a:lnTo>
                    <a:pt x="2538" y="966"/>
                  </a:lnTo>
                  <a:lnTo>
                    <a:pt x="2550" y="966"/>
                  </a:lnTo>
                  <a:lnTo>
                    <a:pt x="2550" y="972"/>
                  </a:lnTo>
                  <a:lnTo>
                    <a:pt x="2544" y="978"/>
                  </a:lnTo>
                  <a:lnTo>
                    <a:pt x="2538" y="984"/>
                  </a:lnTo>
                  <a:lnTo>
                    <a:pt x="2538" y="990"/>
                  </a:lnTo>
                  <a:lnTo>
                    <a:pt x="2532" y="996"/>
                  </a:lnTo>
                  <a:lnTo>
                    <a:pt x="2526" y="1002"/>
                  </a:lnTo>
                  <a:lnTo>
                    <a:pt x="2520" y="1008"/>
                  </a:lnTo>
                  <a:lnTo>
                    <a:pt x="2514" y="1014"/>
                  </a:lnTo>
                  <a:lnTo>
                    <a:pt x="2514" y="1020"/>
                  </a:lnTo>
                  <a:lnTo>
                    <a:pt x="2508" y="1026"/>
                  </a:lnTo>
                  <a:lnTo>
                    <a:pt x="2502" y="1026"/>
                  </a:lnTo>
                  <a:lnTo>
                    <a:pt x="2502" y="1032"/>
                  </a:lnTo>
                  <a:lnTo>
                    <a:pt x="2496" y="1038"/>
                  </a:lnTo>
                  <a:lnTo>
                    <a:pt x="2490" y="1038"/>
                  </a:lnTo>
                  <a:lnTo>
                    <a:pt x="2490" y="1044"/>
                  </a:lnTo>
                  <a:lnTo>
                    <a:pt x="2496" y="1050"/>
                  </a:lnTo>
                  <a:lnTo>
                    <a:pt x="2496" y="1056"/>
                  </a:lnTo>
                  <a:lnTo>
                    <a:pt x="2502" y="1056"/>
                  </a:lnTo>
                  <a:lnTo>
                    <a:pt x="2502" y="1062"/>
                  </a:lnTo>
                  <a:lnTo>
                    <a:pt x="2502" y="1068"/>
                  </a:lnTo>
                  <a:lnTo>
                    <a:pt x="2508" y="1074"/>
                  </a:lnTo>
                  <a:lnTo>
                    <a:pt x="2508" y="1080"/>
                  </a:lnTo>
                  <a:lnTo>
                    <a:pt x="2514" y="1080"/>
                  </a:lnTo>
                  <a:lnTo>
                    <a:pt x="2514" y="1086"/>
                  </a:lnTo>
                  <a:lnTo>
                    <a:pt x="2514" y="1092"/>
                  </a:lnTo>
                  <a:lnTo>
                    <a:pt x="2520" y="1098"/>
                  </a:lnTo>
                  <a:lnTo>
                    <a:pt x="2526" y="1104"/>
                  </a:lnTo>
                  <a:lnTo>
                    <a:pt x="2532" y="1104"/>
                  </a:lnTo>
                  <a:lnTo>
                    <a:pt x="2532" y="1098"/>
                  </a:lnTo>
                  <a:lnTo>
                    <a:pt x="2538" y="1098"/>
                  </a:lnTo>
                  <a:lnTo>
                    <a:pt x="2544" y="1110"/>
                  </a:lnTo>
                  <a:lnTo>
                    <a:pt x="2544" y="1116"/>
                  </a:lnTo>
                  <a:lnTo>
                    <a:pt x="2544" y="1122"/>
                  </a:lnTo>
                  <a:lnTo>
                    <a:pt x="2538" y="1122"/>
                  </a:lnTo>
                  <a:lnTo>
                    <a:pt x="2538" y="1128"/>
                  </a:lnTo>
                  <a:lnTo>
                    <a:pt x="2538" y="1134"/>
                  </a:lnTo>
                  <a:lnTo>
                    <a:pt x="2538" y="1140"/>
                  </a:lnTo>
                  <a:lnTo>
                    <a:pt x="2532" y="1146"/>
                  </a:lnTo>
                  <a:lnTo>
                    <a:pt x="2532" y="1152"/>
                  </a:lnTo>
                  <a:lnTo>
                    <a:pt x="2520" y="1152"/>
                  </a:lnTo>
                  <a:lnTo>
                    <a:pt x="2520" y="1164"/>
                  </a:lnTo>
                  <a:lnTo>
                    <a:pt x="2508" y="1164"/>
                  </a:lnTo>
                  <a:lnTo>
                    <a:pt x="2508" y="1170"/>
                  </a:lnTo>
                  <a:lnTo>
                    <a:pt x="2514" y="1170"/>
                  </a:lnTo>
                  <a:lnTo>
                    <a:pt x="2514" y="1176"/>
                  </a:lnTo>
                  <a:lnTo>
                    <a:pt x="2520" y="1176"/>
                  </a:lnTo>
                  <a:lnTo>
                    <a:pt x="2520" y="1182"/>
                  </a:lnTo>
                  <a:lnTo>
                    <a:pt x="2520" y="1188"/>
                  </a:lnTo>
                  <a:lnTo>
                    <a:pt x="2514" y="1194"/>
                  </a:lnTo>
                  <a:lnTo>
                    <a:pt x="2514" y="1200"/>
                  </a:lnTo>
                  <a:lnTo>
                    <a:pt x="2514" y="1206"/>
                  </a:lnTo>
                  <a:lnTo>
                    <a:pt x="2514" y="1212"/>
                  </a:lnTo>
                  <a:lnTo>
                    <a:pt x="2514" y="1218"/>
                  </a:lnTo>
                  <a:lnTo>
                    <a:pt x="2508" y="1218"/>
                  </a:lnTo>
                  <a:lnTo>
                    <a:pt x="2508" y="1224"/>
                  </a:lnTo>
                  <a:lnTo>
                    <a:pt x="2502" y="1230"/>
                  </a:lnTo>
                  <a:lnTo>
                    <a:pt x="2496" y="1236"/>
                  </a:lnTo>
                  <a:lnTo>
                    <a:pt x="2502" y="1242"/>
                  </a:lnTo>
                  <a:lnTo>
                    <a:pt x="2496" y="1248"/>
                  </a:lnTo>
                  <a:lnTo>
                    <a:pt x="2496" y="1254"/>
                  </a:lnTo>
                  <a:lnTo>
                    <a:pt x="2496" y="1260"/>
                  </a:lnTo>
                  <a:lnTo>
                    <a:pt x="2496" y="1266"/>
                  </a:lnTo>
                  <a:lnTo>
                    <a:pt x="2496" y="1272"/>
                  </a:lnTo>
                  <a:lnTo>
                    <a:pt x="2490" y="1278"/>
                  </a:lnTo>
                  <a:lnTo>
                    <a:pt x="2496" y="1284"/>
                  </a:lnTo>
                  <a:lnTo>
                    <a:pt x="2502" y="1284"/>
                  </a:lnTo>
                  <a:lnTo>
                    <a:pt x="2508" y="1284"/>
                  </a:lnTo>
                  <a:lnTo>
                    <a:pt x="2508" y="1290"/>
                  </a:lnTo>
                  <a:lnTo>
                    <a:pt x="2502" y="1296"/>
                  </a:lnTo>
                  <a:lnTo>
                    <a:pt x="2502" y="1302"/>
                  </a:lnTo>
                  <a:lnTo>
                    <a:pt x="2502" y="1308"/>
                  </a:lnTo>
                  <a:lnTo>
                    <a:pt x="2496" y="1308"/>
                  </a:lnTo>
                  <a:lnTo>
                    <a:pt x="2496" y="1314"/>
                  </a:lnTo>
                  <a:lnTo>
                    <a:pt x="2490" y="1320"/>
                  </a:lnTo>
                  <a:lnTo>
                    <a:pt x="2490" y="1326"/>
                  </a:lnTo>
                  <a:lnTo>
                    <a:pt x="2490" y="1332"/>
                  </a:lnTo>
                  <a:lnTo>
                    <a:pt x="2484" y="1332"/>
                  </a:lnTo>
                  <a:lnTo>
                    <a:pt x="2484" y="1338"/>
                  </a:lnTo>
                  <a:lnTo>
                    <a:pt x="2484" y="1344"/>
                  </a:lnTo>
                  <a:lnTo>
                    <a:pt x="2478" y="1350"/>
                  </a:lnTo>
                  <a:lnTo>
                    <a:pt x="2478" y="1356"/>
                  </a:lnTo>
                  <a:lnTo>
                    <a:pt x="2472" y="1362"/>
                  </a:lnTo>
                  <a:lnTo>
                    <a:pt x="2472" y="1368"/>
                  </a:lnTo>
                  <a:lnTo>
                    <a:pt x="2472" y="1374"/>
                  </a:lnTo>
                  <a:lnTo>
                    <a:pt x="2466" y="1374"/>
                  </a:lnTo>
                  <a:lnTo>
                    <a:pt x="2466" y="1380"/>
                  </a:lnTo>
                  <a:lnTo>
                    <a:pt x="2460" y="1386"/>
                  </a:lnTo>
                  <a:lnTo>
                    <a:pt x="2460" y="1392"/>
                  </a:lnTo>
                  <a:lnTo>
                    <a:pt x="2454" y="1398"/>
                  </a:lnTo>
                  <a:lnTo>
                    <a:pt x="2454" y="1404"/>
                  </a:lnTo>
                  <a:lnTo>
                    <a:pt x="2454" y="1410"/>
                  </a:lnTo>
                  <a:lnTo>
                    <a:pt x="2448" y="1416"/>
                  </a:lnTo>
                  <a:lnTo>
                    <a:pt x="2448" y="1422"/>
                  </a:lnTo>
                  <a:lnTo>
                    <a:pt x="2442" y="1428"/>
                  </a:lnTo>
                  <a:lnTo>
                    <a:pt x="2442" y="1434"/>
                  </a:lnTo>
                  <a:lnTo>
                    <a:pt x="2436" y="1440"/>
                  </a:lnTo>
                  <a:lnTo>
                    <a:pt x="2436" y="1446"/>
                  </a:lnTo>
                  <a:lnTo>
                    <a:pt x="2430" y="1452"/>
                  </a:lnTo>
                  <a:lnTo>
                    <a:pt x="2430" y="1458"/>
                  </a:lnTo>
                  <a:lnTo>
                    <a:pt x="2430" y="1464"/>
                  </a:lnTo>
                  <a:lnTo>
                    <a:pt x="2424" y="1470"/>
                  </a:lnTo>
                  <a:lnTo>
                    <a:pt x="2418" y="1476"/>
                  </a:lnTo>
                  <a:lnTo>
                    <a:pt x="2418" y="1482"/>
                  </a:lnTo>
                  <a:lnTo>
                    <a:pt x="2418" y="1488"/>
                  </a:lnTo>
                  <a:lnTo>
                    <a:pt x="2412" y="1488"/>
                  </a:lnTo>
                  <a:lnTo>
                    <a:pt x="2412" y="1494"/>
                  </a:lnTo>
                  <a:lnTo>
                    <a:pt x="2412" y="1500"/>
                  </a:lnTo>
                  <a:lnTo>
                    <a:pt x="2406" y="1506"/>
                  </a:lnTo>
                  <a:lnTo>
                    <a:pt x="2406" y="1512"/>
                  </a:lnTo>
                  <a:lnTo>
                    <a:pt x="2400" y="1512"/>
                  </a:lnTo>
                  <a:lnTo>
                    <a:pt x="2400" y="1518"/>
                  </a:lnTo>
                  <a:lnTo>
                    <a:pt x="2400" y="1524"/>
                  </a:lnTo>
                  <a:lnTo>
                    <a:pt x="2394" y="1530"/>
                  </a:lnTo>
                  <a:lnTo>
                    <a:pt x="2394" y="1536"/>
                  </a:lnTo>
                  <a:lnTo>
                    <a:pt x="2388" y="1542"/>
                  </a:lnTo>
                  <a:lnTo>
                    <a:pt x="2388" y="1548"/>
                  </a:lnTo>
                  <a:lnTo>
                    <a:pt x="2388" y="1554"/>
                  </a:lnTo>
                  <a:lnTo>
                    <a:pt x="2382" y="1554"/>
                  </a:lnTo>
                  <a:lnTo>
                    <a:pt x="2382" y="1560"/>
                  </a:lnTo>
                  <a:lnTo>
                    <a:pt x="2376" y="1566"/>
                  </a:lnTo>
                  <a:lnTo>
                    <a:pt x="2376" y="1572"/>
                  </a:lnTo>
                  <a:lnTo>
                    <a:pt x="2376" y="1578"/>
                  </a:lnTo>
                  <a:lnTo>
                    <a:pt x="2370" y="1578"/>
                  </a:lnTo>
                  <a:lnTo>
                    <a:pt x="2370" y="1584"/>
                  </a:lnTo>
                  <a:lnTo>
                    <a:pt x="2370" y="1590"/>
                  </a:lnTo>
                  <a:lnTo>
                    <a:pt x="2364" y="1596"/>
                  </a:lnTo>
                  <a:lnTo>
                    <a:pt x="2364" y="1602"/>
                  </a:lnTo>
                  <a:lnTo>
                    <a:pt x="2358" y="1608"/>
                  </a:lnTo>
                  <a:lnTo>
                    <a:pt x="2358" y="1614"/>
                  </a:lnTo>
                  <a:lnTo>
                    <a:pt x="2358" y="1620"/>
                  </a:lnTo>
                  <a:lnTo>
                    <a:pt x="2352" y="1620"/>
                  </a:lnTo>
                  <a:lnTo>
                    <a:pt x="2352" y="1626"/>
                  </a:lnTo>
                  <a:lnTo>
                    <a:pt x="2346" y="1632"/>
                  </a:lnTo>
                  <a:lnTo>
                    <a:pt x="2352" y="1638"/>
                  </a:lnTo>
                  <a:lnTo>
                    <a:pt x="2352" y="1644"/>
                  </a:lnTo>
                  <a:lnTo>
                    <a:pt x="2352" y="1650"/>
                  </a:lnTo>
                  <a:lnTo>
                    <a:pt x="2352" y="1656"/>
                  </a:lnTo>
                  <a:lnTo>
                    <a:pt x="2358" y="1656"/>
                  </a:lnTo>
                  <a:lnTo>
                    <a:pt x="2358" y="1662"/>
                  </a:lnTo>
                  <a:lnTo>
                    <a:pt x="2364" y="1662"/>
                  </a:lnTo>
                  <a:lnTo>
                    <a:pt x="2364" y="1668"/>
                  </a:lnTo>
                  <a:lnTo>
                    <a:pt x="2364" y="1674"/>
                  </a:lnTo>
                  <a:lnTo>
                    <a:pt x="2370" y="1674"/>
                  </a:lnTo>
                  <a:lnTo>
                    <a:pt x="2370" y="1680"/>
                  </a:lnTo>
                  <a:lnTo>
                    <a:pt x="2376" y="1680"/>
                  </a:lnTo>
                  <a:lnTo>
                    <a:pt x="2382" y="1680"/>
                  </a:lnTo>
                  <a:lnTo>
                    <a:pt x="2388" y="1680"/>
                  </a:lnTo>
                  <a:lnTo>
                    <a:pt x="2388" y="1686"/>
                  </a:lnTo>
                  <a:lnTo>
                    <a:pt x="2394" y="1686"/>
                  </a:lnTo>
                  <a:lnTo>
                    <a:pt x="2394" y="1692"/>
                  </a:lnTo>
                  <a:lnTo>
                    <a:pt x="2400" y="1692"/>
                  </a:lnTo>
                  <a:lnTo>
                    <a:pt x="2406" y="1692"/>
                  </a:lnTo>
                  <a:lnTo>
                    <a:pt x="2412" y="1698"/>
                  </a:lnTo>
                  <a:lnTo>
                    <a:pt x="2412" y="1704"/>
                  </a:lnTo>
                  <a:lnTo>
                    <a:pt x="2418" y="1704"/>
                  </a:lnTo>
                  <a:lnTo>
                    <a:pt x="2418" y="1710"/>
                  </a:lnTo>
                  <a:lnTo>
                    <a:pt x="2424" y="1710"/>
                  </a:lnTo>
                  <a:lnTo>
                    <a:pt x="2424" y="1716"/>
                  </a:lnTo>
                  <a:lnTo>
                    <a:pt x="2430" y="1716"/>
                  </a:lnTo>
                  <a:lnTo>
                    <a:pt x="2436" y="1716"/>
                  </a:lnTo>
                  <a:lnTo>
                    <a:pt x="2442" y="1716"/>
                  </a:lnTo>
                  <a:lnTo>
                    <a:pt x="2442" y="1722"/>
                  </a:lnTo>
                  <a:lnTo>
                    <a:pt x="2442" y="1728"/>
                  </a:lnTo>
                  <a:lnTo>
                    <a:pt x="2442" y="1734"/>
                  </a:lnTo>
                  <a:lnTo>
                    <a:pt x="2448" y="1734"/>
                  </a:lnTo>
                  <a:lnTo>
                    <a:pt x="2448" y="1740"/>
                  </a:lnTo>
                  <a:lnTo>
                    <a:pt x="2454" y="1740"/>
                  </a:lnTo>
                  <a:lnTo>
                    <a:pt x="2454" y="1746"/>
                  </a:lnTo>
                  <a:lnTo>
                    <a:pt x="2460" y="1746"/>
                  </a:lnTo>
                  <a:lnTo>
                    <a:pt x="2466" y="1746"/>
                  </a:lnTo>
                  <a:lnTo>
                    <a:pt x="2472" y="1746"/>
                  </a:lnTo>
                  <a:lnTo>
                    <a:pt x="2478" y="1746"/>
                  </a:lnTo>
                  <a:lnTo>
                    <a:pt x="2484" y="1752"/>
                  </a:lnTo>
                  <a:lnTo>
                    <a:pt x="2484" y="1758"/>
                  </a:lnTo>
                  <a:lnTo>
                    <a:pt x="2484" y="1764"/>
                  </a:lnTo>
                  <a:lnTo>
                    <a:pt x="2490" y="1764"/>
                  </a:lnTo>
                  <a:lnTo>
                    <a:pt x="2490" y="1770"/>
                  </a:lnTo>
                  <a:lnTo>
                    <a:pt x="2490" y="1776"/>
                  </a:lnTo>
                  <a:lnTo>
                    <a:pt x="2496" y="1776"/>
                  </a:lnTo>
                  <a:lnTo>
                    <a:pt x="2496" y="1782"/>
                  </a:lnTo>
                  <a:lnTo>
                    <a:pt x="2496" y="1788"/>
                  </a:lnTo>
                  <a:lnTo>
                    <a:pt x="2502" y="1788"/>
                  </a:lnTo>
                  <a:lnTo>
                    <a:pt x="2502" y="1794"/>
                  </a:lnTo>
                  <a:lnTo>
                    <a:pt x="2502" y="1800"/>
                  </a:lnTo>
                  <a:lnTo>
                    <a:pt x="2508" y="1800"/>
                  </a:lnTo>
                  <a:lnTo>
                    <a:pt x="2508" y="1806"/>
                  </a:lnTo>
                  <a:lnTo>
                    <a:pt x="2508" y="1812"/>
                  </a:lnTo>
                  <a:lnTo>
                    <a:pt x="2514" y="1812"/>
                  </a:lnTo>
                  <a:lnTo>
                    <a:pt x="2520" y="1812"/>
                  </a:lnTo>
                  <a:lnTo>
                    <a:pt x="2520" y="1818"/>
                  </a:lnTo>
                  <a:lnTo>
                    <a:pt x="2526" y="1818"/>
                  </a:lnTo>
                  <a:lnTo>
                    <a:pt x="2526" y="1824"/>
                  </a:lnTo>
                  <a:lnTo>
                    <a:pt x="2526" y="1830"/>
                  </a:lnTo>
                  <a:lnTo>
                    <a:pt x="2532" y="1830"/>
                  </a:lnTo>
                  <a:lnTo>
                    <a:pt x="2532" y="1836"/>
                  </a:lnTo>
                  <a:lnTo>
                    <a:pt x="2538" y="1842"/>
                  </a:lnTo>
                  <a:lnTo>
                    <a:pt x="2544" y="1842"/>
                  </a:lnTo>
                  <a:lnTo>
                    <a:pt x="2544" y="1848"/>
                  </a:lnTo>
                  <a:lnTo>
                    <a:pt x="2550" y="1848"/>
                  </a:lnTo>
                  <a:lnTo>
                    <a:pt x="2550" y="1854"/>
                  </a:lnTo>
                  <a:lnTo>
                    <a:pt x="2556" y="1860"/>
                  </a:lnTo>
                  <a:lnTo>
                    <a:pt x="2556" y="1866"/>
                  </a:lnTo>
                  <a:lnTo>
                    <a:pt x="2562" y="1866"/>
                  </a:lnTo>
                  <a:lnTo>
                    <a:pt x="2562" y="1872"/>
                  </a:lnTo>
                  <a:lnTo>
                    <a:pt x="2568" y="1872"/>
                  </a:lnTo>
                  <a:lnTo>
                    <a:pt x="2568" y="1878"/>
                  </a:lnTo>
                  <a:lnTo>
                    <a:pt x="2574" y="1878"/>
                  </a:lnTo>
                  <a:lnTo>
                    <a:pt x="2574" y="1884"/>
                  </a:lnTo>
                  <a:lnTo>
                    <a:pt x="2580" y="1884"/>
                  </a:lnTo>
                  <a:lnTo>
                    <a:pt x="2586" y="1884"/>
                  </a:lnTo>
                  <a:lnTo>
                    <a:pt x="2586" y="1890"/>
                  </a:lnTo>
                  <a:lnTo>
                    <a:pt x="2586" y="1896"/>
                  </a:lnTo>
                  <a:lnTo>
                    <a:pt x="2592" y="1902"/>
                  </a:lnTo>
                  <a:lnTo>
                    <a:pt x="2592" y="1908"/>
                  </a:lnTo>
                  <a:lnTo>
                    <a:pt x="2598" y="1908"/>
                  </a:lnTo>
                  <a:lnTo>
                    <a:pt x="2604" y="1908"/>
                  </a:lnTo>
                  <a:lnTo>
                    <a:pt x="2604" y="1914"/>
                  </a:lnTo>
                  <a:lnTo>
                    <a:pt x="2610" y="1914"/>
                  </a:lnTo>
                  <a:lnTo>
                    <a:pt x="2616" y="1920"/>
                  </a:lnTo>
                  <a:lnTo>
                    <a:pt x="2622" y="1920"/>
                  </a:lnTo>
                  <a:lnTo>
                    <a:pt x="2622" y="1926"/>
                  </a:lnTo>
                  <a:lnTo>
                    <a:pt x="2622" y="1932"/>
                  </a:lnTo>
                  <a:lnTo>
                    <a:pt x="2628" y="1932"/>
                  </a:lnTo>
                  <a:lnTo>
                    <a:pt x="2628" y="1938"/>
                  </a:lnTo>
                  <a:lnTo>
                    <a:pt x="2634" y="1938"/>
                  </a:lnTo>
                  <a:lnTo>
                    <a:pt x="2640" y="1938"/>
                  </a:lnTo>
                  <a:lnTo>
                    <a:pt x="2646" y="1938"/>
                  </a:lnTo>
                  <a:lnTo>
                    <a:pt x="2652" y="1938"/>
                  </a:lnTo>
                  <a:lnTo>
                    <a:pt x="2658" y="1938"/>
                  </a:lnTo>
                  <a:lnTo>
                    <a:pt x="2658" y="1944"/>
                  </a:lnTo>
                  <a:lnTo>
                    <a:pt x="2664" y="1944"/>
                  </a:lnTo>
                  <a:lnTo>
                    <a:pt x="2664" y="1950"/>
                  </a:lnTo>
                  <a:lnTo>
                    <a:pt x="2670" y="1950"/>
                  </a:lnTo>
                  <a:lnTo>
                    <a:pt x="2670" y="1956"/>
                  </a:lnTo>
                  <a:lnTo>
                    <a:pt x="2676" y="1956"/>
                  </a:lnTo>
                  <a:lnTo>
                    <a:pt x="2676" y="1962"/>
                  </a:lnTo>
                  <a:lnTo>
                    <a:pt x="2682" y="2016"/>
                  </a:lnTo>
                  <a:lnTo>
                    <a:pt x="2700" y="2022"/>
                  </a:lnTo>
                  <a:lnTo>
                    <a:pt x="2694" y="2034"/>
                  </a:lnTo>
                  <a:lnTo>
                    <a:pt x="2688" y="2040"/>
                  </a:lnTo>
                  <a:lnTo>
                    <a:pt x="2682" y="2040"/>
                  </a:lnTo>
                  <a:lnTo>
                    <a:pt x="2682" y="2046"/>
                  </a:lnTo>
                  <a:lnTo>
                    <a:pt x="2694" y="2058"/>
                  </a:lnTo>
                  <a:lnTo>
                    <a:pt x="2694" y="2064"/>
                  </a:lnTo>
                  <a:lnTo>
                    <a:pt x="2694" y="2070"/>
                  </a:lnTo>
                  <a:lnTo>
                    <a:pt x="2688" y="2076"/>
                  </a:lnTo>
                  <a:lnTo>
                    <a:pt x="2682" y="2088"/>
                  </a:lnTo>
                  <a:lnTo>
                    <a:pt x="2688" y="2100"/>
                  </a:lnTo>
                  <a:lnTo>
                    <a:pt x="2676" y="2112"/>
                  </a:lnTo>
                  <a:lnTo>
                    <a:pt x="2670" y="2112"/>
                  </a:lnTo>
                  <a:lnTo>
                    <a:pt x="2676" y="2124"/>
                  </a:lnTo>
                  <a:lnTo>
                    <a:pt x="2664" y="2136"/>
                  </a:lnTo>
                  <a:lnTo>
                    <a:pt x="2658" y="2136"/>
                  </a:lnTo>
                  <a:lnTo>
                    <a:pt x="2652" y="2142"/>
                  </a:lnTo>
                  <a:lnTo>
                    <a:pt x="2652" y="2160"/>
                  </a:lnTo>
                  <a:lnTo>
                    <a:pt x="2646" y="2166"/>
                  </a:lnTo>
                  <a:lnTo>
                    <a:pt x="2604" y="2160"/>
                  </a:lnTo>
                  <a:lnTo>
                    <a:pt x="2598" y="2166"/>
                  </a:lnTo>
                  <a:lnTo>
                    <a:pt x="2556" y="2184"/>
                  </a:lnTo>
                  <a:lnTo>
                    <a:pt x="2532" y="2184"/>
                  </a:lnTo>
                  <a:lnTo>
                    <a:pt x="2526" y="2196"/>
                  </a:lnTo>
                  <a:lnTo>
                    <a:pt x="2502" y="2202"/>
                  </a:lnTo>
                  <a:lnTo>
                    <a:pt x="2502" y="2220"/>
                  </a:lnTo>
                  <a:lnTo>
                    <a:pt x="2490" y="2214"/>
                  </a:lnTo>
                  <a:lnTo>
                    <a:pt x="2478" y="2226"/>
                  </a:lnTo>
                  <a:lnTo>
                    <a:pt x="2460" y="2226"/>
                  </a:lnTo>
                  <a:lnTo>
                    <a:pt x="2454" y="2232"/>
                  </a:lnTo>
                  <a:lnTo>
                    <a:pt x="2436" y="2226"/>
                  </a:lnTo>
                  <a:lnTo>
                    <a:pt x="2412" y="2226"/>
                  </a:lnTo>
                  <a:lnTo>
                    <a:pt x="2412" y="2232"/>
                  </a:lnTo>
                  <a:lnTo>
                    <a:pt x="2412" y="2250"/>
                  </a:lnTo>
                  <a:lnTo>
                    <a:pt x="2400" y="2256"/>
                  </a:lnTo>
                  <a:lnTo>
                    <a:pt x="2406" y="2262"/>
                  </a:lnTo>
                  <a:lnTo>
                    <a:pt x="2400" y="2280"/>
                  </a:lnTo>
                  <a:lnTo>
                    <a:pt x="2400" y="2286"/>
                  </a:lnTo>
                  <a:lnTo>
                    <a:pt x="2400" y="2292"/>
                  </a:lnTo>
                  <a:lnTo>
                    <a:pt x="2400" y="2304"/>
                  </a:lnTo>
                  <a:lnTo>
                    <a:pt x="2400" y="2328"/>
                  </a:lnTo>
                  <a:lnTo>
                    <a:pt x="2394" y="2334"/>
                  </a:lnTo>
                  <a:lnTo>
                    <a:pt x="2340" y="2334"/>
                  </a:lnTo>
                  <a:lnTo>
                    <a:pt x="2340" y="2340"/>
                  </a:lnTo>
                  <a:lnTo>
                    <a:pt x="2334" y="2346"/>
                  </a:lnTo>
                  <a:lnTo>
                    <a:pt x="2328" y="2352"/>
                  </a:lnTo>
                  <a:lnTo>
                    <a:pt x="2322" y="2352"/>
                  </a:lnTo>
                  <a:lnTo>
                    <a:pt x="2298" y="2340"/>
                  </a:lnTo>
                  <a:lnTo>
                    <a:pt x="2292" y="2346"/>
                  </a:lnTo>
                  <a:lnTo>
                    <a:pt x="2292" y="2352"/>
                  </a:lnTo>
                  <a:lnTo>
                    <a:pt x="2298" y="2358"/>
                  </a:lnTo>
                  <a:lnTo>
                    <a:pt x="2274" y="2364"/>
                  </a:lnTo>
                  <a:lnTo>
                    <a:pt x="2262" y="2340"/>
                  </a:lnTo>
                  <a:lnTo>
                    <a:pt x="2262" y="2334"/>
                  </a:lnTo>
                  <a:lnTo>
                    <a:pt x="2238" y="2334"/>
                  </a:lnTo>
                  <a:lnTo>
                    <a:pt x="2238" y="2352"/>
                  </a:lnTo>
                  <a:lnTo>
                    <a:pt x="2226" y="2358"/>
                  </a:lnTo>
                  <a:lnTo>
                    <a:pt x="2220" y="2370"/>
                  </a:lnTo>
                  <a:lnTo>
                    <a:pt x="2214" y="2370"/>
                  </a:lnTo>
                  <a:lnTo>
                    <a:pt x="2208" y="2358"/>
                  </a:lnTo>
                  <a:lnTo>
                    <a:pt x="2196" y="2352"/>
                  </a:lnTo>
                  <a:lnTo>
                    <a:pt x="2202" y="2346"/>
                  </a:lnTo>
                  <a:lnTo>
                    <a:pt x="2202" y="2340"/>
                  </a:lnTo>
                  <a:lnTo>
                    <a:pt x="2178" y="2328"/>
                  </a:lnTo>
                  <a:lnTo>
                    <a:pt x="2172" y="2316"/>
                  </a:lnTo>
                  <a:lnTo>
                    <a:pt x="2142" y="2316"/>
                  </a:lnTo>
                  <a:lnTo>
                    <a:pt x="2136" y="2316"/>
                  </a:lnTo>
                  <a:lnTo>
                    <a:pt x="2130" y="2316"/>
                  </a:lnTo>
                  <a:lnTo>
                    <a:pt x="2130" y="2328"/>
                  </a:lnTo>
                  <a:lnTo>
                    <a:pt x="2118" y="2328"/>
                  </a:lnTo>
                  <a:lnTo>
                    <a:pt x="2112" y="2334"/>
                  </a:lnTo>
                  <a:lnTo>
                    <a:pt x="2100" y="2328"/>
                  </a:lnTo>
                  <a:lnTo>
                    <a:pt x="2082" y="2328"/>
                  </a:lnTo>
                  <a:lnTo>
                    <a:pt x="2076" y="2334"/>
                  </a:lnTo>
                  <a:lnTo>
                    <a:pt x="2058" y="2334"/>
                  </a:lnTo>
                  <a:lnTo>
                    <a:pt x="2040" y="2346"/>
                  </a:lnTo>
                  <a:lnTo>
                    <a:pt x="2034" y="2370"/>
                  </a:lnTo>
                  <a:lnTo>
                    <a:pt x="2028" y="2382"/>
                  </a:lnTo>
                  <a:lnTo>
                    <a:pt x="2028" y="2388"/>
                  </a:lnTo>
                  <a:lnTo>
                    <a:pt x="1992" y="2424"/>
                  </a:lnTo>
                  <a:lnTo>
                    <a:pt x="1986" y="2430"/>
                  </a:lnTo>
                  <a:lnTo>
                    <a:pt x="1974" y="2412"/>
                  </a:lnTo>
                  <a:lnTo>
                    <a:pt x="1974" y="2406"/>
                  </a:lnTo>
                  <a:lnTo>
                    <a:pt x="1980" y="2394"/>
                  </a:lnTo>
                  <a:lnTo>
                    <a:pt x="1950" y="2388"/>
                  </a:lnTo>
                  <a:lnTo>
                    <a:pt x="1932" y="2394"/>
                  </a:lnTo>
                  <a:lnTo>
                    <a:pt x="1920" y="2388"/>
                  </a:lnTo>
                  <a:lnTo>
                    <a:pt x="1920" y="2376"/>
                  </a:lnTo>
                  <a:lnTo>
                    <a:pt x="1896" y="2388"/>
                  </a:lnTo>
                  <a:lnTo>
                    <a:pt x="1884" y="2370"/>
                  </a:lnTo>
                  <a:lnTo>
                    <a:pt x="1860" y="2376"/>
                  </a:lnTo>
                  <a:lnTo>
                    <a:pt x="1836" y="2370"/>
                  </a:lnTo>
                  <a:lnTo>
                    <a:pt x="1848" y="2346"/>
                  </a:lnTo>
                  <a:lnTo>
                    <a:pt x="1836" y="2340"/>
                  </a:lnTo>
                  <a:lnTo>
                    <a:pt x="1830" y="2328"/>
                  </a:lnTo>
                  <a:lnTo>
                    <a:pt x="1812" y="2322"/>
                  </a:lnTo>
                  <a:lnTo>
                    <a:pt x="1758" y="2292"/>
                  </a:lnTo>
                  <a:lnTo>
                    <a:pt x="1752" y="2298"/>
                  </a:lnTo>
                  <a:lnTo>
                    <a:pt x="1752" y="2310"/>
                  </a:lnTo>
                  <a:lnTo>
                    <a:pt x="1746" y="2316"/>
                  </a:lnTo>
                  <a:lnTo>
                    <a:pt x="1740" y="2340"/>
                  </a:lnTo>
                  <a:lnTo>
                    <a:pt x="1722" y="2364"/>
                  </a:lnTo>
                  <a:lnTo>
                    <a:pt x="1722" y="2400"/>
                  </a:lnTo>
                  <a:lnTo>
                    <a:pt x="1698" y="2388"/>
                  </a:lnTo>
                  <a:lnTo>
                    <a:pt x="1704" y="2400"/>
                  </a:lnTo>
                  <a:lnTo>
                    <a:pt x="1704" y="2406"/>
                  </a:lnTo>
                  <a:lnTo>
                    <a:pt x="1704" y="2412"/>
                  </a:lnTo>
                  <a:lnTo>
                    <a:pt x="1698" y="2412"/>
                  </a:lnTo>
                  <a:lnTo>
                    <a:pt x="1704" y="2430"/>
                  </a:lnTo>
                  <a:lnTo>
                    <a:pt x="1698" y="2436"/>
                  </a:lnTo>
                  <a:lnTo>
                    <a:pt x="1698" y="2442"/>
                  </a:lnTo>
                  <a:lnTo>
                    <a:pt x="1698" y="2448"/>
                  </a:lnTo>
                  <a:lnTo>
                    <a:pt x="1704" y="2448"/>
                  </a:lnTo>
                  <a:lnTo>
                    <a:pt x="1716" y="2460"/>
                  </a:lnTo>
                  <a:lnTo>
                    <a:pt x="1704" y="2484"/>
                  </a:lnTo>
                  <a:lnTo>
                    <a:pt x="1698" y="2466"/>
                  </a:lnTo>
                  <a:lnTo>
                    <a:pt x="1680" y="2472"/>
                  </a:lnTo>
                  <a:lnTo>
                    <a:pt x="1680" y="2508"/>
                  </a:lnTo>
                  <a:lnTo>
                    <a:pt x="1662" y="2514"/>
                  </a:lnTo>
                  <a:lnTo>
                    <a:pt x="1656" y="2526"/>
                  </a:lnTo>
                  <a:lnTo>
                    <a:pt x="1638" y="2532"/>
                  </a:lnTo>
                  <a:lnTo>
                    <a:pt x="1614" y="2520"/>
                  </a:lnTo>
                  <a:lnTo>
                    <a:pt x="1608" y="2514"/>
                  </a:lnTo>
                  <a:lnTo>
                    <a:pt x="1602" y="2508"/>
                  </a:lnTo>
                  <a:lnTo>
                    <a:pt x="1584" y="2526"/>
                  </a:lnTo>
                  <a:lnTo>
                    <a:pt x="1566" y="2514"/>
                  </a:lnTo>
                  <a:lnTo>
                    <a:pt x="1548" y="2520"/>
                  </a:lnTo>
                  <a:lnTo>
                    <a:pt x="1548" y="2550"/>
                  </a:lnTo>
                  <a:lnTo>
                    <a:pt x="1536" y="2556"/>
                  </a:lnTo>
                  <a:lnTo>
                    <a:pt x="1524" y="2556"/>
                  </a:lnTo>
                  <a:lnTo>
                    <a:pt x="1512" y="2568"/>
                  </a:lnTo>
                  <a:lnTo>
                    <a:pt x="1506" y="2568"/>
                  </a:lnTo>
                  <a:lnTo>
                    <a:pt x="1488" y="2574"/>
                  </a:lnTo>
                  <a:lnTo>
                    <a:pt x="1476" y="2574"/>
                  </a:lnTo>
                  <a:lnTo>
                    <a:pt x="1476" y="2580"/>
                  </a:lnTo>
                  <a:lnTo>
                    <a:pt x="1476" y="2592"/>
                  </a:lnTo>
                  <a:lnTo>
                    <a:pt x="1470" y="2592"/>
                  </a:lnTo>
                  <a:lnTo>
                    <a:pt x="1464" y="2598"/>
                  </a:lnTo>
                  <a:lnTo>
                    <a:pt x="1452" y="2604"/>
                  </a:lnTo>
                  <a:lnTo>
                    <a:pt x="1452" y="2610"/>
                  </a:lnTo>
                  <a:lnTo>
                    <a:pt x="1446" y="2616"/>
                  </a:lnTo>
                  <a:lnTo>
                    <a:pt x="1446" y="2622"/>
                  </a:lnTo>
                  <a:lnTo>
                    <a:pt x="1440" y="2640"/>
                  </a:lnTo>
                  <a:lnTo>
                    <a:pt x="1446" y="2658"/>
                  </a:lnTo>
                  <a:lnTo>
                    <a:pt x="1398" y="2670"/>
                  </a:lnTo>
                  <a:lnTo>
                    <a:pt x="1386" y="2664"/>
                  </a:lnTo>
                  <a:lnTo>
                    <a:pt x="1350" y="2676"/>
                  </a:lnTo>
                  <a:lnTo>
                    <a:pt x="1338" y="2688"/>
                  </a:lnTo>
                  <a:lnTo>
                    <a:pt x="1338" y="2694"/>
                  </a:lnTo>
                  <a:lnTo>
                    <a:pt x="1344" y="2706"/>
                  </a:lnTo>
                  <a:lnTo>
                    <a:pt x="1350" y="2724"/>
                  </a:lnTo>
                  <a:lnTo>
                    <a:pt x="1344" y="2748"/>
                  </a:lnTo>
                  <a:lnTo>
                    <a:pt x="1326" y="2760"/>
                  </a:lnTo>
                  <a:lnTo>
                    <a:pt x="1320" y="2766"/>
                  </a:lnTo>
                  <a:lnTo>
                    <a:pt x="1302" y="2766"/>
                  </a:lnTo>
                  <a:lnTo>
                    <a:pt x="1284" y="2772"/>
                  </a:lnTo>
                  <a:lnTo>
                    <a:pt x="1272" y="2754"/>
                  </a:lnTo>
                  <a:lnTo>
                    <a:pt x="1254" y="2772"/>
                  </a:lnTo>
                  <a:lnTo>
                    <a:pt x="1242" y="2772"/>
                  </a:lnTo>
                  <a:lnTo>
                    <a:pt x="1236" y="2772"/>
                  </a:lnTo>
                  <a:lnTo>
                    <a:pt x="1224" y="2760"/>
                  </a:lnTo>
                  <a:lnTo>
                    <a:pt x="1218" y="2766"/>
                  </a:lnTo>
                  <a:lnTo>
                    <a:pt x="1212" y="2748"/>
                  </a:lnTo>
                  <a:lnTo>
                    <a:pt x="1206" y="2742"/>
                  </a:lnTo>
                  <a:lnTo>
                    <a:pt x="1194" y="2724"/>
                  </a:lnTo>
                  <a:lnTo>
                    <a:pt x="1182" y="2724"/>
                  </a:lnTo>
                  <a:lnTo>
                    <a:pt x="1176" y="2718"/>
                  </a:lnTo>
                  <a:lnTo>
                    <a:pt x="1170" y="2718"/>
                  </a:lnTo>
                  <a:lnTo>
                    <a:pt x="1164" y="2718"/>
                  </a:lnTo>
                  <a:lnTo>
                    <a:pt x="1164" y="2688"/>
                  </a:lnTo>
                  <a:lnTo>
                    <a:pt x="1158" y="2676"/>
                  </a:lnTo>
                  <a:lnTo>
                    <a:pt x="1146" y="2670"/>
                  </a:lnTo>
                  <a:lnTo>
                    <a:pt x="1134" y="2634"/>
                  </a:lnTo>
                  <a:lnTo>
                    <a:pt x="1128" y="2610"/>
                  </a:lnTo>
                  <a:lnTo>
                    <a:pt x="1128" y="2592"/>
                  </a:lnTo>
                  <a:lnTo>
                    <a:pt x="1140" y="2598"/>
                  </a:lnTo>
                  <a:lnTo>
                    <a:pt x="1152" y="2586"/>
                  </a:lnTo>
                  <a:lnTo>
                    <a:pt x="1146" y="2574"/>
                  </a:lnTo>
                  <a:lnTo>
                    <a:pt x="1164" y="2556"/>
                  </a:lnTo>
                  <a:lnTo>
                    <a:pt x="1176" y="2562"/>
                  </a:lnTo>
                  <a:lnTo>
                    <a:pt x="1170" y="2538"/>
                  </a:lnTo>
                  <a:lnTo>
                    <a:pt x="1158" y="2532"/>
                  </a:lnTo>
                  <a:lnTo>
                    <a:pt x="1158" y="2526"/>
                  </a:lnTo>
                  <a:lnTo>
                    <a:pt x="1152" y="2520"/>
                  </a:lnTo>
                  <a:lnTo>
                    <a:pt x="1146" y="2526"/>
                  </a:lnTo>
                  <a:lnTo>
                    <a:pt x="1134" y="2532"/>
                  </a:lnTo>
                  <a:lnTo>
                    <a:pt x="1128" y="2544"/>
                  </a:lnTo>
                  <a:lnTo>
                    <a:pt x="1116" y="2544"/>
                  </a:lnTo>
                  <a:lnTo>
                    <a:pt x="1110" y="2562"/>
                  </a:lnTo>
                  <a:lnTo>
                    <a:pt x="1086" y="2586"/>
                  </a:lnTo>
                  <a:lnTo>
                    <a:pt x="1062" y="2592"/>
                  </a:lnTo>
                  <a:lnTo>
                    <a:pt x="1062" y="2586"/>
                  </a:lnTo>
                  <a:lnTo>
                    <a:pt x="1050" y="2586"/>
                  </a:lnTo>
                  <a:lnTo>
                    <a:pt x="1050" y="2592"/>
                  </a:lnTo>
                  <a:lnTo>
                    <a:pt x="1038" y="2604"/>
                  </a:lnTo>
                  <a:lnTo>
                    <a:pt x="1026" y="2598"/>
                  </a:lnTo>
                  <a:lnTo>
                    <a:pt x="1020" y="2610"/>
                  </a:lnTo>
                  <a:lnTo>
                    <a:pt x="1026" y="2616"/>
                  </a:lnTo>
                  <a:lnTo>
                    <a:pt x="1008" y="2622"/>
                  </a:lnTo>
                  <a:lnTo>
                    <a:pt x="1002" y="2610"/>
                  </a:lnTo>
                  <a:lnTo>
                    <a:pt x="996" y="2616"/>
                  </a:lnTo>
                  <a:lnTo>
                    <a:pt x="996" y="2634"/>
                  </a:lnTo>
                  <a:lnTo>
                    <a:pt x="990" y="2652"/>
                  </a:lnTo>
                  <a:lnTo>
                    <a:pt x="990" y="2658"/>
                  </a:lnTo>
                  <a:lnTo>
                    <a:pt x="990" y="2664"/>
                  </a:lnTo>
                  <a:lnTo>
                    <a:pt x="996" y="2670"/>
                  </a:lnTo>
                  <a:lnTo>
                    <a:pt x="996" y="2676"/>
                  </a:lnTo>
                  <a:lnTo>
                    <a:pt x="978" y="2694"/>
                  </a:lnTo>
                  <a:lnTo>
                    <a:pt x="960" y="2664"/>
                  </a:lnTo>
                  <a:lnTo>
                    <a:pt x="966" y="2628"/>
                  </a:lnTo>
                  <a:lnTo>
                    <a:pt x="960" y="2622"/>
                  </a:lnTo>
                  <a:lnTo>
                    <a:pt x="960" y="2616"/>
                  </a:lnTo>
                  <a:lnTo>
                    <a:pt x="954" y="2610"/>
                  </a:lnTo>
                  <a:lnTo>
                    <a:pt x="948" y="2604"/>
                  </a:lnTo>
                  <a:lnTo>
                    <a:pt x="948" y="2598"/>
                  </a:lnTo>
                  <a:lnTo>
                    <a:pt x="942" y="2592"/>
                  </a:lnTo>
                  <a:lnTo>
                    <a:pt x="936" y="2568"/>
                  </a:lnTo>
                  <a:lnTo>
                    <a:pt x="942" y="2562"/>
                  </a:lnTo>
                  <a:lnTo>
                    <a:pt x="960" y="2550"/>
                  </a:lnTo>
                  <a:lnTo>
                    <a:pt x="960" y="2544"/>
                  </a:lnTo>
                  <a:lnTo>
                    <a:pt x="960" y="2538"/>
                  </a:lnTo>
                  <a:lnTo>
                    <a:pt x="960" y="2532"/>
                  </a:lnTo>
                  <a:lnTo>
                    <a:pt x="954" y="2526"/>
                  </a:lnTo>
                  <a:lnTo>
                    <a:pt x="954" y="2520"/>
                  </a:lnTo>
                  <a:lnTo>
                    <a:pt x="954" y="2514"/>
                  </a:lnTo>
                  <a:lnTo>
                    <a:pt x="954" y="2508"/>
                  </a:lnTo>
                  <a:lnTo>
                    <a:pt x="954" y="2502"/>
                  </a:lnTo>
                  <a:lnTo>
                    <a:pt x="954" y="2496"/>
                  </a:lnTo>
                  <a:lnTo>
                    <a:pt x="948" y="2496"/>
                  </a:lnTo>
                  <a:lnTo>
                    <a:pt x="942" y="2490"/>
                  </a:lnTo>
                  <a:lnTo>
                    <a:pt x="936" y="2484"/>
                  </a:lnTo>
                  <a:lnTo>
                    <a:pt x="930" y="2484"/>
                  </a:lnTo>
                  <a:lnTo>
                    <a:pt x="924" y="2484"/>
                  </a:lnTo>
                  <a:lnTo>
                    <a:pt x="918" y="2484"/>
                  </a:lnTo>
                  <a:lnTo>
                    <a:pt x="918" y="2478"/>
                  </a:lnTo>
                  <a:lnTo>
                    <a:pt x="912" y="2478"/>
                  </a:lnTo>
                  <a:lnTo>
                    <a:pt x="912" y="2484"/>
                  </a:lnTo>
                  <a:lnTo>
                    <a:pt x="906" y="2478"/>
                  </a:lnTo>
                  <a:lnTo>
                    <a:pt x="906" y="2466"/>
                  </a:lnTo>
                  <a:lnTo>
                    <a:pt x="900" y="2466"/>
                  </a:lnTo>
                  <a:lnTo>
                    <a:pt x="900" y="2460"/>
                  </a:lnTo>
                  <a:lnTo>
                    <a:pt x="894" y="2460"/>
                  </a:lnTo>
                  <a:lnTo>
                    <a:pt x="888" y="2460"/>
                  </a:lnTo>
                  <a:lnTo>
                    <a:pt x="882" y="2460"/>
                  </a:lnTo>
                  <a:lnTo>
                    <a:pt x="888" y="2448"/>
                  </a:lnTo>
                  <a:lnTo>
                    <a:pt x="888" y="2442"/>
                  </a:lnTo>
                  <a:lnTo>
                    <a:pt x="888" y="2436"/>
                  </a:lnTo>
                  <a:lnTo>
                    <a:pt x="888" y="2430"/>
                  </a:lnTo>
                  <a:lnTo>
                    <a:pt x="888" y="2424"/>
                  </a:lnTo>
                  <a:lnTo>
                    <a:pt x="870" y="2448"/>
                  </a:lnTo>
                  <a:lnTo>
                    <a:pt x="864" y="2442"/>
                  </a:lnTo>
                  <a:lnTo>
                    <a:pt x="858" y="2442"/>
                  </a:lnTo>
                  <a:lnTo>
                    <a:pt x="852" y="2448"/>
                  </a:lnTo>
                  <a:lnTo>
                    <a:pt x="852" y="2442"/>
                  </a:lnTo>
                  <a:lnTo>
                    <a:pt x="846" y="2442"/>
                  </a:lnTo>
                  <a:lnTo>
                    <a:pt x="840" y="2436"/>
                  </a:lnTo>
                  <a:lnTo>
                    <a:pt x="834" y="2436"/>
                  </a:lnTo>
                  <a:lnTo>
                    <a:pt x="828" y="2436"/>
                  </a:lnTo>
                  <a:lnTo>
                    <a:pt x="822" y="2436"/>
                  </a:lnTo>
                  <a:lnTo>
                    <a:pt x="822" y="2430"/>
                  </a:lnTo>
                  <a:lnTo>
                    <a:pt x="822" y="2418"/>
                  </a:lnTo>
                  <a:lnTo>
                    <a:pt x="834" y="2400"/>
                  </a:lnTo>
                  <a:lnTo>
                    <a:pt x="834" y="2394"/>
                  </a:lnTo>
                  <a:lnTo>
                    <a:pt x="834" y="2388"/>
                  </a:lnTo>
                  <a:lnTo>
                    <a:pt x="834" y="2382"/>
                  </a:lnTo>
                  <a:lnTo>
                    <a:pt x="828" y="2370"/>
                  </a:lnTo>
                  <a:lnTo>
                    <a:pt x="822" y="2352"/>
                  </a:lnTo>
                  <a:lnTo>
                    <a:pt x="828" y="2352"/>
                  </a:lnTo>
                  <a:lnTo>
                    <a:pt x="822" y="2334"/>
                  </a:lnTo>
                  <a:lnTo>
                    <a:pt x="828" y="2328"/>
                  </a:lnTo>
                  <a:lnTo>
                    <a:pt x="822" y="2322"/>
                  </a:lnTo>
                  <a:lnTo>
                    <a:pt x="816" y="2322"/>
                  </a:lnTo>
                  <a:lnTo>
                    <a:pt x="822" y="2304"/>
                  </a:lnTo>
                  <a:lnTo>
                    <a:pt x="804" y="2304"/>
                  </a:lnTo>
                  <a:lnTo>
                    <a:pt x="810" y="2286"/>
                  </a:lnTo>
                  <a:lnTo>
                    <a:pt x="810" y="2262"/>
                  </a:lnTo>
                  <a:lnTo>
                    <a:pt x="792" y="2250"/>
                  </a:lnTo>
                  <a:lnTo>
                    <a:pt x="804" y="2232"/>
                  </a:lnTo>
                  <a:lnTo>
                    <a:pt x="786" y="2226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62" y="2148"/>
                  </a:lnTo>
                  <a:lnTo>
                    <a:pt x="768" y="2130"/>
                  </a:lnTo>
                  <a:lnTo>
                    <a:pt x="786" y="2112"/>
                  </a:lnTo>
                  <a:lnTo>
                    <a:pt x="756" y="2094"/>
                  </a:lnTo>
                  <a:lnTo>
                    <a:pt x="780" y="2088"/>
                  </a:lnTo>
                  <a:lnTo>
                    <a:pt x="774" y="2052"/>
                  </a:lnTo>
                  <a:lnTo>
                    <a:pt x="774" y="2040"/>
                  </a:lnTo>
                  <a:lnTo>
                    <a:pt x="744" y="2040"/>
                  </a:lnTo>
                  <a:lnTo>
                    <a:pt x="720" y="2022"/>
                  </a:lnTo>
                  <a:lnTo>
                    <a:pt x="726" y="2010"/>
                  </a:lnTo>
                  <a:lnTo>
                    <a:pt x="714" y="1992"/>
                  </a:lnTo>
                  <a:lnTo>
                    <a:pt x="684" y="1986"/>
                  </a:lnTo>
                  <a:lnTo>
                    <a:pt x="654" y="1950"/>
                  </a:lnTo>
                  <a:lnTo>
                    <a:pt x="636" y="1956"/>
                  </a:lnTo>
                  <a:lnTo>
                    <a:pt x="636" y="1974"/>
                  </a:lnTo>
                  <a:lnTo>
                    <a:pt x="642" y="1998"/>
                  </a:lnTo>
                  <a:lnTo>
                    <a:pt x="606" y="1956"/>
                  </a:lnTo>
                  <a:lnTo>
                    <a:pt x="612" y="1980"/>
                  </a:lnTo>
                  <a:lnTo>
                    <a:pt x="606" y="1998"/>
                  </a:lnTo>
                  <a:lnTo>
                    <a:pt x="600" y="2028"/>
                  </a:lnTo>
                  <a:lnTo>
                    <a:pt x="588" y="2052"/>
                  </a:lnTo>
                  <a:lnTo>
                    <a:pt x="576" y="2082"/>
                  </a:lnTo>
                  <a:lnTo>
                    <a:pt x="558" y="2082"/>
                  </a:lnTo>
                  <a:lnTo>
                    <a:pt x="552" y="2088"/>
                  </a:lnTo>
                  <a:lnTo>
                    <a:pt x="546" y="2094"/>
                  </a:lnTo>
                  <a:lnTo>
                    <a:pt x="528" y="2076"/>
                  </a:lnTo>
                  <a:lnTo>
                    <a:pt x="522" y="2076"/>
                  </a:lnTo>
                  <a:lnTo>
                    <a:pt x="516" y="2076"/>
                  </a:lnTo>
                  <a:lnTo>
                    <a:pt x="516" y="2070"/>
                  </a:lnTo>
                  <a:lnTo>
                    <a:pt x="510" y="2076"/>
                  </a:lnTo>
                  <a:lnTo>
                    <a:pt x="498" y="2076"/>
                  </a:lnTo>
                  <a:lnTo>
                    <a:pt x="498" y="2118"/>
                  </a:lnTo>
                  <a:lnTo>
                    <a:pt x="462" y="2124"/>
                  </a:lnTo>
                  <a:lnTo>
                    <a:pt x="480" y="2154"/>
                  </a:lnTo>
                  <a:lnTo>
                    <a:pt x="450" y="2178"/>
                  </a:lnTo>
                  <a:lnTo>
                    <a:pt x="456" y="2196"/>
                  </a:lnTo>
                  <a:lnTo>
                    <a:pt x="456" y="2214"/>
                  </a:lnTo>
                  <a:lnTo>
                    <a:pt x="438" y="2202"/>
                  </a:lnTo>
                  <a:lnTo>
                    <a:pt x="438" y="2196"/>
                  </a:lnTo>
                  <a:lnTo>
                    <a:pt x="432" y="2196"/>
                  </a:lnTo>
                  <a:lnTo>
                    <a:pt x="432" y="2190"/>
                  </a:lnTo>
                  <a:lnTo>
                    <a:pt x="426" y="2190"/>
                  </a:lnTo>
                  <a:lnTo>
                    <a:pt x="426" y="2184"/>
                  </a:lnTo>
                  <a:lnTo>
                    <a:pt x="426" y="2178"/>
                  </a:lnTo>
                  <a:lnTo>
                    <a:pt x="420" y="2178"/>
                  </a:lnTo>
                  <a:lnTo>
                    <a:pt x="420" y="2172"/>
                  </a:lnTo>
                  <a:lnTo>
                    <a:pt x="420" y="2166"/>
                  </a:lnTo>
                  <a:lnTo>
                    <a:pt x="414" y="2166"/>
                  </a:lnTo>
                  <a:lnTo>
                    <a:pt x="414" y="2160"/>
                  </a:lnTo>
                  <a:lnTo>
                    <a:pt x="414" y="2154"/>
                  </a:lnTo>
                  <a:lnTo>
                    <a:pt x="408" y="2154"/>
                  </a:lnTo>
                  <a:lnTo>
                    <a:pt x="408" y="2148"/>
                  </a:lnTo>
                  <a:lnTo>
                    <a:pt x="408" y="2142"/>
                  </a:lnTo>
                  <a:lnTo>
                    <a:pt x="402" y="2142"/>
                  </a:lnTo>
                  <a:lnTo>
                    <a:pt x="402" y="2136"/>
                  </a:lnTo>
                  <a:lnTo>
                    <a:pt x="402" y="2142"/>
                  </a:lnTo>
                  <a:lnTo>
                    <a:pt x="402" y="2136"/>
                  </a:lnTo>
                  <a:lnTo>
                    <a:pt x="396" y="2136"/>
                  </a:lnTo>
                  <a:lnTo>
                    <a:pt x="396" y="2130"/>
                  </a:lnTo>
                  <a:lnTo>
                    <a:pt x="390" y="2130"/>
                  </a:lnTo>
                  <a:lnTo>
                    <a:pt x="390" y="2124"/>
                  </a:lnTo>
                  <a:lnTo>
                    <a:pt x="384" y="2124"/>
                  </a:lnTo>
                  <a:lnTo>
                    <a:pt x="390" y="2124"/>
                  </a:lnTo>
                  <a:lnTo>
                    <a:pt x="384" y="2124"/>
                  </a:lnTo>
                  <a:lnTo>
                    <a:pt x="390" y="2124"/>
                  </a:lnTo>
                  <a:lnTo>
                    <a:pt x="390" y="2118"/>
                  </a:lnTo>
                  <a:lnTo>
                    <a:pt x="384" y="2118"/>
                  </a:lnTo>
                  <a:lnTo>
                    <a:pt x="384" y="2112"/>
                  </a:lnTo>
                  <a:lnTo>
                    <a:pt x="378" y="2112"/>
                  </a:lnTo>
                  <a:lnTo>
                    <a:pt x="378" y="2106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84" y="2106"/>
                  </a:lnTo>
                  <a:lnTo>
                    <a:pt x="378" y="2106"/>
                  </a:lnTo>
                  <a:lnTo>
                    <a:pt x="378" y="2100"/>
                  </a:lnTo>
                  <a:lnTo>
                    <a:pt x="372" y="2100"/>
                  </a:lnTo>
                  <a:lnTo>
                    <a:pt x="372" y="2094"/>
                  </a:lnTo>
                  <a:lnTo>
                    <a:pt x="372" y="2088"/>
                  </a:lnTo>
                  <a:lnTo>
                    <a:pt x="366" y="2088"/>
                  </a:lnTo>
                  <a:lnTo>
                    <a:pt x="366" y="2082"/>
                  </a:lnTo>
                  <a:lnTo>
                    <a:pt x="366" y="2076"/>
                  </a:lnTo>
                  <a:lnTo>
                    <a:pt x="366" y="2070"/>
                  </a:lnTo>
                  <a:lnTo>
                    <a:pt x="360" y="2070"/>
                  </a:lnTo>
                  <a:lnTo>
                    <a:pt x="360" y="2064"/>
                  </a:lnTo>
                  <a:lnTo>
                    <a:pt x="354" y="2064"/>
                  </a:lnTo>
                  <a:lnTo>
                    <a:pt x="354" y="2058"/>
                  </a:lnTo>
                  <a:lnTo>
                    <a:pt x="348" y="2058"/>
                  </a:lnTo>
                  <a:lnTo>
                    <a:pt x="348" y="2052"/>
                  </a:lnTo>
                  <a:lnTo>
                    <a:pt x="348" y="2046"/>
                  </a:lnTo>
                  <a:lnTo>
                    <a:pt x="342" y="2046"/>
                  </a:lnTo>
                  <a:lnTo>
                    <a:pt x="342" y="2040"/>
                  </a:lnTo>
                  <a:lnTo>
                    <a:pt x="336" y="2040"/>
                  </a:lnTo>
                  <a:lnTo>
                    <a:pt x="336" y="2034"/>
                  </a:lnTo>
                  <a:lnTo>
                    <a:pt x="336" y="2028"/>
                  </a:lnTo>
                  <a:lnTo>
                    <a:pt x="336" y="2022"/>
                  </a:lnTo>
                  <a:lnTo>
                    <a:pt x="330" y="2022"/>
                  </a:lnTo>
                  <a:lnTo>
                    <a:pt x="330" y="2016"/>
                  </a:lnTo>
                  <a:lnTo>
                    <a:pt x="324" y="2016"/>
                  </a:lnTo>
                  <a:lnTo>
                    <a:pt x="324" y="2010"/>
                  </a:lnTo>
                  <a:lnTo>
                    <a:pt x="324" y="2004"/>
                  </a:lnTo>
                  <a:lnTo>
                    <a:pt x="324" y="1998"/>
                  </a:lnTo>
                  <a:lnTo>
                    <a:pt x="318" y="1998"/>
                  </a:lnTo>
                  <a:lnTo>
                    <a:pt x="318" y="1992"/>
                  </a:lnTo>
                  <a:lnTo>
                    <a:pt x="312" y="1992"/>
                  </a:lnTo>
                  <a:lnTo>
                    <a:pt x="312" y="1986"/>
                  </a:lnTo>
                  <a:lnTo>
                    <a:pt x="312" y="1992"/>
                  </a:lnTo>
                  <a:lnTo>
                    <a:pt x="312" y="1986"/>
                  </a:lnTo>
                  <a:lnTo>
                    <a:pt x="306" y="1986"/>
                  </a:lnTo>
                  <a:lnTo>
                    <a:pt x="312" y="1986"/>
                  </a:lnTo>
                  <a:lnTo>
                    <a:pt x="306" y="1986"/>
                  </a:lnTo>
                  <a:lnTo>
                    <a:pt x="312" y="1986"/>
                  </a:lnTo>
                  <a:lnTo>
                    <a:pt x="312" y="1980"/>
                  </a:lnTo>
                  <a:lnTo>
                    <a:pt x="306" y="1980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0" y="1968"/>
                  </a:lnTo>
                  <a:lnTo>
                    <a:pt x="300" y="1962"/>
                  </a:lnTo>
                  <a:lnTo>
                    <a:pt x="294" y="1962"/>
                  </a:lnTo>
                  <a:lnTo>
                    <a:pt x="294" y="1956"/>
                  </a:lnTo>
                  <a:lnTo>
                    <a:pt x="294" y="1950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44"/>
                  </a:lnTo>
                  <a:lnTo>
                    <a:pt x="288" y="1944"/>
                  </a:lnTo>
                  <a:lnTo>
                    <a:pt x="282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76" y="1932"/>
                  </a:lnTo>
                  <a:lnTo>
                    <a:pt x="276" y="1926"/>
                  </a:lnTo>
                  <a:lnTo>
                    <a:pt x="282" y="1926"/>
                  </a:lnTo>
                  <a:lnTo>
                    <a:pt x="276" y="1926"/>
                  </a:lnTo>
                  <a:lnTo>
                    <a:pt x="276" y="1920"/>
                  </a:lnTo>
                  <a:lnTo>
                    <a:pt x="276" y="1914"/>
                  </a:lnTo>
                  <a:lnTo>
                    <a:pt x="276" y="1908"/>
                  </a:lnTo>
                  <a:lnTo>
                    <a:pt x="270" y="1908"/>
                  </a:lnTo>
                  <a:lnTo>
                    <a:pt x="270" y="1902"/>
                  </a:lnTo>
                  <a:lnTo>
                    <a:pt x="264" y="1902"/>
                  </a:lnTo>
                  <a:lnTo>
                    <a:pt x="270" y="1902"/>
                  </a:lnTo>
                  <a:lnTo>
                    <a:pt x="270" y="1896"/>
                  </a:lnTo>
                  <a:lnTo>
                    <a:pt x="264" y="1896"/>
                  </a:lnTo>
                  <a:lnTo>
                    <a:pt x="264" y="1890"/>
                  </a:lnTo>
                  <a:lnTo>
                    <a:pt x="264" y="1884"/>
                  </a:lnTo>
                  <a:lnTo>
                    <a:pt x="264" y="1878"/>
                  </a:lnTo>
                  <a:lnTo>
                    <a:pt x="258" y="1878"/>
                  </a:lnTo>
                  <a:lnTo>
                    <a:pt x="258" y="1872"/>
                  </a:lnTo>
                  <a:lnTo>
                    <a:pt x="252" y="1872"/>
                  </a:lnTo>
                  <a:lnTo>
                    <a:pt x="252" y="1866"/>
                  </a:lnTo>
                  <a:lnTo>
                    <a:pt x="252" y="1860"/>
                  </a:lnTo>
                  <a:lnTo>
                    <a:pt x="246" y="1860"/>
                  </a:lnTo>
                  <a:lnTo>
                    <a:pt x="246" y="1854"/>
                  </a:lnTo>
                  <a:lnTo>
                    <a:pt x="252" y="1854"/>
                  </a:lnTo>
                  <a:lnTo>
                    <a:pt x="246" y="1854"/>
                  </a:lnTo>
                  <a:lnTo>
                    <a:pt x="246" y="1848"/>
                  </a:lnTo>
                  <a:lnTo>
                    <a:pt x="246" y="1842"/>
                  </a:lnTo>
                  <a:lnTo>
                    <a:pt x="246" y="1836"/>
                  </a:lnTo>
                  <a:lnTo>
                    <a:pt x="240" y="1836"/>
                  </a:lnTo>
                  <a:lnTo>
                    <a:pt x="240" y="1830"/>
                  </a:lnTo>
                  <a:lnTo>
                    <a:pt x="240" y="1824"/>
                  </a:lnTo>
                  <a:lnTo>
                    <a:pt x="240" y="1818"/>
                  </a:lnTo>
                  <a:lnTo>
                    <a:pt x="234" y="1818"/>
                  </a:lnTo>
                  <a:lnTo>
                    <a:pt x="234" y="1812"/>
                  </a:lnTo>
                  <a:lnTo>
                    <a:pt x="234" y="1806"/>
                  </a:lnTo>
                  <a:lnTo>
                    <a:pt x="228" y="1806"/>
                  </a:lnTo>
                  <a:lnTo>
                    <a:pt x="228" y="1800"/>
                  </a:lnTo>
                  <a:lnTo>
                    <a:pt x="222" y="1800"/>
                  </a:lnTo>
                  <a:lnTo>
                    <a:pt x="222" y="1794"/>
                  </a:lnTo>
                  <a:lnTo>
                    <a:pt x="222" y="1788"/>
                  </a:lnTo>
                  <a:lnTo>
                    <a:pt x="222" y="1782"/>
                  </a:lnTo>
                  <a:lnTo>
                    <a:pt x="216" y="1782"/>
                  </a:lnTo>
                  <a:lnTo>
                    <a:pt x="216" y="1776"/>
                  </a:lnTo>
                  <a:lnTo>
                    <a:pt x="216" y="1782"/>
                  </a:lnTo>
                  <a:lnTo>
                    <a:pt x="216" y="1776"/>
                  </a:lnTo>
                  <a:lnTo>
                    <a:pt x="216" y="1770"/>
                  </a:lnTo>
                  <a:lnTo>
                    <a:pt x="210" y="1770"/>
                  </a:lnTo>
                  <a:lnTo>
                    <a:pt x="210" y="1764"/>
                  </a:lnTo>
                  <a:lnTo>
                    <a:pt x="210" y="1758"/>
                  </a:lnTo>
                  <a:lnTo>
                    <a:pt x="210" y="1752"/>
                  </a:lnTo>
                  <a:lnTo>
                    <a:pt x="204" y="1752"/>
                  </a:lnTo>
                  <a:lnTo>
                    <a:pt x="204" y="1746"/>
                  </a:lnTo>
                  <a:lnTo>
                    <a:pt x="204" y="1740"/>
                  </a:lnTo>
                  <a:lnTo>
                    <a:pt x="204" y="1734"/>
                  </a:lnTo>
                  <a:lnTo>
                    <a:pt x="204" y="1728"/>
                  </a:lnTo>
                  <a:lnTo>
                    <a:pt x="204" y="1722"/>
                  </a:lnTo>
                  <a:lnTo>
                    <a:pt x="198" y="1722"/>
                  </a:lnTo>
                  <a:lnTo>
                    <a:pt x="198" y="1716"/>
                  </a:lnTo>
                  <a:lnTo>
                    <a:pt x="198" y="1710"/>
                  </a:lnTo>
                  <a:lnTo>
                    <a:pt x="198" y="1704"/>
                  </a:lnTo>
                  <a:lnTo>
                    <a:pt x="192" y="1704"/>
                  </a:lnTo>
                  <a:lnTo>
                    <a:pt x="192" y="1698"/>
                  </a:lnTo>
                  <a:lnTo>
                    <a:pt x="192" y="1692"/>
                  </a:lnTo>
                  <a:lnTo>
                    <a:pt x="186" y="1692"/>
                  </a:lnTo>
                  <a:lnTo>
                    <a:pt x="186" y="1686"/>
                  </a:lnTo>
                  <a:lnTo>
                    <a:pt x="180" y="1686"/>
                  </a:lnTo>
                  <a:lnTo>
                    <a:pt x="180" y="1680"/>
                  </a:lnTo>
                  <a:lnTo>
                    <a:pt x="186" y="1680"/>
                  </a:lnTo>
                  <a:lnTo>
                    <a:pt x="186" y="1674"/>
                  </a:lnTo>
                  <a:lnTo>
                    <a:pt x="180" y="1674"/>
                  </a:lnTo>
                  <a:lnTo>
                    <a:pt x="180" y="1668"/>
                  </a:lnTo>
                  <a:lnTo>
                    <a:pt x="180" y="1662"/>
                  </a:lnTo>
                  <a:lnTo>
                    <a:pt x="174" y="1662"/>
                  </a:lnTo>
                  <a:lnTo>
                    <a:pt x="174" y="1656"/>
                  </a:lnTo>
                  <a:lnTo>
                    <a:pt x="180" y="1656"/>
                  </a:lnTo>
                  <a:lnTo>
                    <a:pt x="174" y="1656"/>
                  </a:lnTo>
                  <a:lnTo>
                    <a:pt x="174" y="1650"/>
                  </a:lnTo>
                  <a:lnTo>
                    <a:pt x="174" y="1644"/>
                  </a:lnTo>
                  <a:lnTo>
                    <a:pt x="174" y="1638"/>
                  </a:lnTo>
                  <a:lnTo>
                    <a:pt x="168" y="1638"/>
                  </a:lnTo>
                  <a:lnTo>
                    <a:pt x="168" y="1632"/>
                  </a:lnTo>
                  <a:lnTo>
                    <a:pt x="162" y="1632"/>
                  </a:lnTo>
                  <a:lnTo>
                    <a:pt x="162" y="1626"/>
                  </a:lnTo>
                  <a:lnTo>
                    <a:pt x="162" y="1620"/>
                  </a:lnTo>
                  <a:lnTo>
                    <a:pt x="162" y="1614"/>
                  </a:lnTo>
                  <a:lnTo>
                    <a:pt x="156" y="1614"/>
                  </a:lnTo>
                  <a:lnTo>
                    <a:pt x="156" y="1608"/>
                  </a:lnTo>
                  <a:lnTo>
                    <a:pt x="150" y="1608"/>
                  </a:lnTo>
                  <a:lnTo>
                    <a:pt x="150" y="1602"/>
                  </a:lnTo>
                  <a:lnTo>
                    <a:pt x="144" y="1602"/>
                  </a:lnTo>
                  <a:lnTo>
                    <a:pt x="144" y="1596"/>
                  </a:lnTo>
                  <a:lnTo>
                    <a:pt x="144" y="1590"/>
                  </a:lnTo>
                  <a:lnTo>
                    <a:pt x="138" y="1590"/>
                  </a:lnTo>
                  <a:lnTo>
                    <a:pt x="138" y="1584"/>
                  </a:lnTo>
                  <a:lnTo>
                    <a:pt x="138" y="1590"/>
                  </a:lnTo>
                  <a:lnTo>
                    <a:pt x="144" y="1590"/>
                  </a:lnTo>
                  <a:lnTo>
                    <a:pt x="138" y="1590"/>
                  </a:lnTo>
                  <a:lnTo>
                    <a:pt x="138" y="1584"/>
                  </a:lnTo>
                  <a:lnTo>
                    <a:pt x="132" y="1584"/>
                  </a:lnTo>
                  <a:lnTo>
                    <a:pt x="132" y="1578"/>
                  </a:lnTo>
                  <a:lnTo>
                    <a:pt x="138" y="1578"/>
                  </a:lnTo>
                  <a:lnTo>
                    <a:pt x="138" y="1584"/>
                  </a:lnTo>
                  <a:lnTo>
                    <a:pt x="138" y="1578"/>
                  </a:lnTo>
                  <a:lnTo>
                    <a:pt x="132" y="1578"/>
                  </a:lnTo>
                  <a:lnTo>
                    <a:pt x="132" y="1572"/>
                  </a:lnTo>
                  <a:lnTo>
                    <a:pt x="132" y="1578"/>
                  </a:lnTo>
                  <a:lnTo>
                    <a:pt x="132" y="1572"/>
                  </a:lnTo>
                  <a:lnTo>
                    <a:pt x="132" y="1566"/>
                  </a:lnTo>
                  <a:lnTo>
                    <a:pt x="126" y="1566"/>
                  </a:lnTo>
                  <a:lnTo>
                    <a:pt x="126" y="1560"/>
                  </a:lnTo>
                  <a:lnTo>
                    <a:pt x="126" y="1554"/>
                  </a:lnTo>
                  <a:lnTo>
                    <a:pt x="126" y="1548"/>
                  </a:lnTo>
                  <a:lnTo>
                    <a:pt x="126" y="1542"/>
                  </a:lnTo>
                  <a:lnTo>
                    <a:pt x="120" y="1542"/>
                  </a:lnTo>
                  <a:lnTo>
                    <a:pt x="120" y="1536"/>
                  </a:lnTo>
                  <a:lnTo>
                    <a:pt x="120" y="1530"/>
                  </a:lnTo>
                  <a:lnTo>
                    <a:pt x="120" y="1524"/>
                  </a:lnTo>
                  <a:lnTo>
                    <a:pt x="114" y="1524"/>
                  </a:lnTo>
                  <a:lnTo>
                    <a:pt x="114" y="1518"/>
                  </a:lnTo>
                  <a:lnTo>
                    <a:pt x="108" y="1518"/>
                  </a:lnTo>
                  <a:lnTo>
                    <a:pt x="108" y="1512"/>
                  </a:lnTo>
                  <a:lnTo>
                    <a:pt x="108" y="1518"/>
                  </a:lnTo>
                  <a:lnTo>
                    <a:pt x="108" y="1512"/>
                  </a:lnTo>
                  <a:lnTo>
                    <a:pt x="102" y="1512"/>
                  </a:lnTo>
                  <a:lnTo>
                    <a:pt x="96" y="1512"/>
                  </a:lnTo>
                  <a:lnTo>
                    <a:pt x="96" y="1506"/>
                  </a:lnTo>
                  <a:lnTo>
                    <a:pt x="96" y="1512"/>
                  </a:lnTo>
                  <a:lnTo>
                    <a:pt x="96" y="1506"/>
                  </a:lnTo>
                  <a:lnTo>
                    <a:pt x="90" y="1506"/>
                  </a:lnTo>
                  <a:lnTo>
                    <a:pt x="90" y="1500"/>
                  </a:lnTo>
                  <a:lnTo>
                    <a:pt x="90" y="1494"/>
                  </a:lnTo>
                  <a:lnTo>
                    <a:pt x="84" y="1494"/>
                  </a:lnTo>
                  <a:lnTo>
                    <a:pt x="90" y="1494"/>
                  </a:lnTo>
                  <a:lnTo>
                    <a:pt x="84" y="1494"/>
                  </a:lnTo>
                  <a:lnTo>
                    <a:pt x="90" y="1494"/>
                  </a:lnTo>
                  <a:lnTo>
                    <a:pt x="90" y="1488"/>
                  </a:lnTo>
                  <a:lnTo>
                    <a:pt x="84" y="1488"/>
                  </a:lnTo>
                  <a:lnTo>
                    <a:pt x="84" y="1482"/>
                  </a:lnTo>
                  <a:lnTo>
                    <a:pt x="78" y="1482"/>
                  </a:lnTo>
                  <a:lnTo>
                    <a:pt x="78" y="1476"/>
                  </a:lnTo>
                  <a:lnTo>
                    <a:pt x="78" y="1470"/>
                  </a:lnTo>
                  <a:lnTo>
                    <a:pt x="72" y="1470"/>
                  </a:lnTo>
                  <a:lnTo>
                    <a:pt x="72" y="1464"/>
                  </a:lnTo>
                  <a:lnTo>
                    <a:pt x="66" y="1464"/>
                  </a:lnTo>
                  <a:lnTo>
                    <a:pt x="60" y="1464"/>
                  </a:lnTo>
                  <a:lnTo>
                    <a:pt x="60" y="1458"/>
                  </a:lnTo>
                  <a:lnTo>
                    <a:pt x="54" y="1458"/>
                  </a:lnTo>
                  <a:lnTo>
                    <a:pt x="48" y="1458"/>
                  </a:lnTo>
                  <a:lnTo>
                    <a:pt x="48" y="1452"/>
                  </a:lnTo>
                  <a:lnTo>
                    <a:pt x="48" y="1446"/>
                  </a:lnTo>
                  <a:lnTo>
                    <a:pt x="48" y="1440"/>
                  </a:lnTo>
                  <a:lnTo>
                    <a:pt x="42" y="1440"/>
                  </a:lnTo>
                  <a:lnTo>
                    <a:pt x="42" y="1434"/>
                  </a:lnTo>
                  <a:lnTo>
                    <a:pt x="42" y="1428"/>
                  </a:lnTo>
                  <a:lnTo>
                    <a:pt x="36" y="1428"/>
                  </a:lnTo>
                  <a:lnTo>
                    <a:pt x="36" y="1422"/>
                  </a:lnTo>
                  <a:lnTo>
                    <a:pt x="42" y="1422"/>
                  </a:lnTo>
                  <a:lnTo>
                    <a:pt x="36" y="1422"/>
                  </a:lnTo>
                  <a:lnTo>
                    <a:pt x="42" y="1422"/>
                  </a:lnTo>
                  <a:lnTo>
                    <a:pt x="36" y="1422"/>
                  </a:lnTo>
                  <a:lnTo>
                    <a:pt x="36" y="1416"/>
                  </a:lnTo>
                  <a:lnTo>
                    <a:pt x="36" y="1422"/>
                  </a:lnTo>
                  <a:lnTo>
                    <a:pt x="36" y="1416"/>
                  </a:lnTo>
                  <a:lnTo>
                    <a:pt x="36" y="1410"/>
                  </a:lnTo>
                  <a:lnTo>
                    <a:pt x="36" y="1404"/>
                  </a:lnTo>
                  <a:lnTo>
                    <a:pt x="30" y="1404"/>
                  </a:lnTo>
                  <a:lnTo>
                    <a:pt x="30" y="1398"/>
                  </a:lnTo>
                  <a:lnTo>
                    <a:pt x="24" y="1398"/>
                  </a:lnTo>
                  <a:lnTo>
                    <a:pt x="24" y="1392"/>
                  </a:lnTo>
                  <a:lnTo>
                    <a:pt x="18" y="1392"/>
                  </a:lnTo>
                  <a:lnTo>
                    <a:pt x="18" y="1386"/>
                  </a:lnTo>
                  <a:lnTo>
                    <a:pt x="12" y="1386"/>
                  </a:lnTo>
                  <a:lnTo>
                    <a:pt x="12" y="1380"/>
                  </a:lnTo>
                  <a:lnTo>
                    <a:pt x="6" y="1380"/>
                  </a:lnTo>
                  <a:lnTo>
                    <a:pt x="0" y="1380"/>
                  </a:lnTo>
                  <a:lnTo>
                    <a:pt x="6" y="1368"/>
                  </a:lnTo>
                  <a:lnTo>
                    <a:pt x="6" y="1362"/>
                  </a:lnTo>
                  <a:lnTo>
                    <a:pt x="6" y="1356"/>
                  </a:lnTo>
                  <a:lnTo>
                    <a:pt x="6" y="1350"/>
                  </a:lnTo>
                  <a:lnTo>
                    <a:pt x="18" y="1350"/>
                  </a:lnTo>
                  <a:lnTo>
                    <a:pt x="24" y="1350"/>
                  </a:lnTo>
                  <a:lnTo>
                    <a:pt x="30" y="1350"/>
                  </a:lnTo>
                  <a:lnTo>
                    <a:pt x="36" y="1344"/>
                  </a:lnTo>
                  <a:lnTo>
                    <a:pt x="42" y="1338"/>
                  </a:lnTo>
                  <a:lnTo>
                    <a:pt x="42" y="1332"/>
                  </a:lnTo>
                  <a:lnTo>
                    <a:pt x="48" y="1326"/>
                  </a:lnTo>
                  <a:lnTo>
                    <a:pt x="54" y="1320"/>
                  </a:lnTo>
                  <a:lnTo>
                    <a:pt x="60" y="1320"/>
                  </a:lnTo>
                  <a:lnTo>
                    <a:pt x="66" y="1320"/>
                  </a:lnTo>
                  <a:lnTo>
                    <a:pt x="66" y="1326"/>
                  </a:lnTo>
                  <a:lnTo>
                    <a:pt x="72" y="1326"/>
                  </a:lnTo>
                  <a:lnTo>
                    <a:pt x="78" y="1326"/>
                  </a:lnTo>
                  <a:lnTo>
                    <a:pt x="78" y="1320"/>
                  </a:lnTo>
                  <a:lnTo>
                    <a:pt x="84" y="1314"/>
                  </a:lnTo>
                  <a:lnTo>
                    <a:pt x="84" y="1308"/>
                  </a:lnTo>
                  <a:lnTo>
                    <a:pt x="90" y="1308"/>
                  </a:lnTo>
                  <a:lnTo>
                    <a:pt x="90" y="1302"/>
                  </a:lnTo>
                  <a:lnTo>
                    <a:pt x="84" y="1296"/>
                  </a:lnTo>
                  <a:lnTo>
                    <a:pt x="84" y="1290"/>
                  </a:lnTo>
                  <a:lnTo>
                    <a:pt x="90" y="1290"/>
                  </a:lnTo>
                  <a:lnTo>
                    <a:pt x="90" y="1284"/>
                  </a:lnTo>
                  <a:lnTo>
                    <a:pt x="96" y="1278"/>
                  </a:lnTo>
                  <a:lnTo>
                    <a:pt x="102" y="1278"/>
                  </a:lnTo>
                  <a:lnTo>
                    <a:pt x="96" y="1272"/>
                  </a:lnTo>
                  <a:lnTo>
                    <a:pt x="90" y="1272"/>
                  </a:lnTo>
                  <a:lnTo>
                    <a:pt x="90" y="1266"/>
                  </a:lnTo>
                  <a:lnTo>
                    <a:pt x="84" y="1260"/>
                  </a:lnTo>
                  <a:lnTo>
                    <a:pt x="78" y="1254"/>
                  </a:lnTo>
                  <a:lnTo>
                    <a:pt x="78" y="1248"/>
                  </a:lnTo>
                  <a:lnTo>
                    <a:pt x="84" y="1242"/>
                  </a:lnTo>
                  <a:lnTo>
                    <a:pt x="90" y="1248"/>
                  </a:lnTo>
                  <a:lnTo>
                    <a:pt x="96" y="1248"/>
                  </a:lnTo>
                  <a:lnTo>
                    <a:pt x="102" y="1248"/>
                  </a:lnTo>
                  <a:lnTo>
                    <a:pt x="102" y="1242"/>
                  </a:lnTo>
                  <a:lnTo>
                    <a:pt x="102" y="1236"/>
                  </a:lnTo>
                  <a:lnTo>
                    <a:pt x="96" y="1236"/>
                  </a:lnTo>
                  <a:lnTo>
                    <a:pt x="96" y="1230"/>
                  </a:lnTo>
                  <a:lnTo>
                    <a:pt x="102" y="1230"/>
                  </a:lnTo>
                  <a:lnTo>
                    <a:pt x="108" y="1224"/>
                  </a:lnTo>
                  <a:lnTo>
                    <a:pt x="108" y="1218"/>
                  </a:lnTo>
                  <a:lnTo>
                    <a:pt x="102" y="1218"/>
                  </a:lnTo>
                  <a:lnTo>
                    <a:pt x="102" y="1212"/>
                  </a:lnTo>
                  <a:lnTo>
                    <a:pt x="108" y="1212"/>
                  </a:lnTo>
                  <a:lnTo>
                    <a:pt x="114" y="1212"/>
                  </a:lnTo>
                  <a:lnTo>
                    <a:pt x="120" y="1212"/>
                  </a:lnTo>
                  <a:lnTo>
                    <a:pt x="114" y="1206"/>
                  </a:lnTo>
                  <a:lnTo>
                    <a:pt x="120" y="1200"/>
                  </a:lnTo>
                  <a:lnTo>
                    <a:pt x="114" y="1188"/>
                  </a:lnTo>
                  <a:lnTo>
                    <a:pt x="114" y="1182"/>
                  </a:lnTo>
                  <a:lnTo>
                    <a:pt x="120" y="1182"/>
                  </a:lnTo>
                  <a:lnTo>
                    <a:pt x="120" y="1176"/>
                  </a:lnTo>
                  <a:lnTo>
                    <a:pt x="126" y="1176"/>
                  </a:lnTo>
                  <a:lnTo>
                    <a:pt x="132" y="1176"/>
                  </a:lnTo>
                  <a:lnTo>
                    <a:pt x="138" y="1176"/>
                  </a:lnTo>
                  <a:lnTo>
                    <a:pt x="138" y="1170"/>
                  </a:lnTo>
                  <a:lnTo>
                    <a:pt x="144" y="1176"/>
                  </a:lnTo>
                  <a:lnTo>
                    <a:pt x="150" y="1176"/>
                  </a:lnTo>
                  <a:lnTo>
                    <a:pt x="156" y="1170"/>
                  </a:lnTo>
                  <a:lnTo>
                    <a:pt x="168" y="1164"/>
                  </a:lnTo>
                  <a:lnTo>
                    <a:pt x="174" y="1164"/>
                  </a:lnTo>
                  <a:lnTo>
                    <a:pt x="180" y="1164"/>
                  </a:lnTo>
                  <a:lnTo>
                    <a:pt x="180" y="1170"/>
                  </a:lnTo>
                  <a:lnTo>
                    <a:pt x="186" y="1170"/>
                  </a:lnTo>
                  <a:lnTo>
                    <a:pt x="186" y="1176"/>
                  </a:lnTo>
                  <a:lnTo>
                    <a:pt x="192" y="1182"/>
                  </a:lnTo>
                  <a:lnTo>
                    <a:pt x="198" y="1182"/>
                  </a:lnTo>
                  <a:lnTo>
                    <a:pt x="204" y="1182"/>
                  </a:lnTo>
                  <a:lnTo>
                    <a:pt x="204" y="1188"/>
                  </a:lnTo>
                  <a:lnTo>
                    <a:pt x="210" y="1188"/>
                  </a:lnTo>
                  <a:lnTo>
                    <a:pt x="210" y="1194"/>
                  </a:lnTo>
                  <a:lnTo>
                    <a:pt x="204" y="1206"/>
                  </a:lnTo>
                  <a:lnTo>
                    <a:pt x="204" y="1218"/>
                  </a:lnTo>
                  <a:lnTo>
                    <a:pt x="210" y="1224"/>
                  </a:lnTo>
                  <a:lnTo>
                    <a:pt x="216" y="1230"/>
                  </a:lnTo>
                  <a:lnTo>
                    <a:pt x="222" y="1230"/>
                  </a:lnTo>
                  <a:lnTo>
                    <a:pt x="228" y="1230"/>
                  </a:lnTo>
                  <a:lnTo>
                    <a:pt x="228" y="1224"/>
                  </a:lnTo>
                  <a:lnTo>
                    <a:pt x="228" y="1230"/>
                  </a:lnTo>
                  <a:lnTo>
                    <a:pt x="234" y="1230"/>
                  </a:lnTo>
                  <a:lnTo>
                    <a:pt x="240" y="1224"/>
                  </a:lnTo>
                  <a:lnTo>
                    <a:pt x="246" y="1218"/>
                  </a:lnTo>
                  <a:lnTo>
                    <a:pt x="252" y="1224"/>
                  </a:lnTo>
                  <a:lnTo>
                    <a:pt x="258" y="1224"/>
                  </a:lnTo>
                  <a:lnTo>
                    <a:pt x="258" y="1230"/>
                  </a:lnTo>
                  <a:lnTo>
                    <a:pt x="258" y="1236"/>
                  </a:lnTo>
                  <a:lnTo>
                    <a:pt x="264" y="1242"/>
                  </a:lnTo>
                  <a:lnTo>
                    <a:pt x="264" y="1248"/>
                  </a:lnTo>
                  <a:lnTo>
                    <a:pt x="264" y="1254"/>
                  </a:lnTo>
                  <a:lnTo>
                    <a:pt x="270" y="1254"/>
                  </a:lnTo>
                  <a:lnTo>
                    <a:pt x="270" y="1260"/>
                  </a:lnTo>
                  <a:lnTo>
                    <a:pt x="276" y="1260"/>
                  </a:lnTo>
                  <a:lnTo>
                    <a:pt x="276" y="1266"/>
                  </a:lnTo>
                  <a:lnTo>
                    <a:pt x="276" y="1272"/>
                  </a:lnTo>
                  <a:lnTo>
                    <a:pt x="276" y="1284"/>
                  </a:lnTo>
                  <a:lnTo>
                    <a:pt x="270" y="1290"/>
                  </a:lnTo>
                  <a:lnTo>
                    <a:pt x="264" y="1290"/>
                  </a:lnTo>
                  <a:lnTo>
                    <a:pt x="258" y="1296"/>
                  </a:lnTo>
                  <a:lnTo>
                    <a:pt x="258" y="1302"/>
                  </a:lnTo>
                  <a:lnTo>
                    <a:pt x="258" y="1308"/>
                  </a:lnTo>
                  <a:lnTo>
                    <a:pt x="258" y="1314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70" y="1326"/>
                  </a:lnTo>
                  <a:lnTo>
                    <a:pt x="270" y="1332"/>
                  </a:lnTo>
                  <a:lnTo>
                    <a:pt x="270" y="1338"/>
                  </a:lnTo>
                  <a:lnTo>
                    <a:pt x="276" y="1338"/>
                  </a:lnTo>
                  <a:lnTo>
                    <a:pt x="282" y="1338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8" y="1350"/>
                  </a:lnTo>
                  <a:lnTo>
                    <a:pt x="288" y="1356"/>
                  </a:lnTo>
                  <a:lnTo>
                    <a:pt x="288" y="1368"/>
                  </a:lnTo>
                  <a:lnTo>
                    <a:pt x="282" y="1374"/>
                  </a:lnTo>
                  <a:lnTo>
                    <a:pt x="282" y="1380"/>
                  </a:lnTo>
                  <a:lnTo>
                    <a:pt x="282" y="1386"/>
                  </a:lnTo>
                  <a:lnTo>
                    <a:pt x="288" y="1386"/>
                  </a:lnTo>
                  <a:lnTo>
                    <a:pt x="294" y="1386"/>
                  </a:lnTo>
                  <a:lnTo>
                    <a:pt x="300" y="1386"/>
                  </a:lnTo>
                  <a:lnTo>
                    <a:pt x="306" y="1380"/>
                  </a:lnTo>
                  <a:lnTo>
                    <a:pt x="306" y="1374"/>
                  </a:lnTo>
                  <a:lnTo>
                    <a:pt x="312" y="1380"/>
                  </a:lnTo>
                  <a:lnTo>
                    <a:pt x="324" y="1380"/>
                  </a:lnTo>
                  <a:lnTo>
                    <a:pt x="330" y="1374"/>
                  </a:lnTo>
                  <a:lnTo>
                    <a:pt x="336" y="1374"/>
                  </a:lnTo>
                  <a:lnTo>
                    <a:pt x="342" y="1380"/>
                  </a:lnTo>
                  <a:lnTo>
                    <a:pt x="342" y="1392"/>
                  </a:lnTo>
                  <a:lnTo>
                    <a:pt x="342" y="1398"/>
                  </a:lnTo>
                  <a:lnTo>
                    <a:pt x="348" y="1398"/>
                  </a:lnTo>
                  <a:lnTo>
                    <a:pt x="354" y="1398"/>
                  </a:lnTo>
                  <a:lnTo>
                    <a:pt x="360" y="1398"/>
                  </a:lnTo>
                  <a:lnTo>
                    <a:pt x="366" y="1398"/>
                  </a:lnTo>
                  <a:lnTo>
                    <a:pt x="372" y="1392"/>
                  </a:lnTo>
                  <a:lnTo>
                    <a:pt x="378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98"/>
                  </a:lnTo>
                  <a:lnTo>
                    <a:pt x="396" y="1398"/>
                  </a:lnTo>
                  <a:lnTo>
                    <a:pt x="396" y="1392"/>
                  </a:lnTo>
                  <a:lnTo>
                    <a:pt x="408" y="1392"/>
                  </a:lnTo>
                  <a:lnTo>
                    <a:pt x="414" y="1392"/>
                  </a:lnTo>
                  <a:lnTo>
                    <a:pt x="420" y="1392"/>
                  </a:lnTo>
                  <a:lnTo>
                    <a:pt x="426" y="1398"/>
                  </a:lnTo>
                  <a:lnTo>
                    <a:pt x="426" y="1392"/>
                  </a:lnTo>
                  <a:lnTo>
                    <a:pt x="432" y="1398"/>
                  </a:lnTo>
                  <a:lnTo>
                    <a:pt x="432" y="1392"/>
                  </a:lnTo>
                  <a:lnTo>
                    <a:pt x="438" y="1392"/>
                  </a:lnTo>
                  <a:lnTo>
                    <a:pt x="438" y="1398"/>
                  </a:lnTo>
                  <a:lnTo>
                    <a:pt x="444" y="1404"/>
                  </a:lnTo>
                  <a:lnTo>
                    <a:pt x="450" y="1398"/>
                  </a:lnTo>
                  <a:lnTo>
                    <a:pt x="450" y="1404"/>
                  </a:lnTo>
                  <a:lnTo>
                    <a:pt x="456" y="1410"/>
                  </a:lnTo>
                  <a:lnTo>
                    <a:pt x="462" y="1410"/>
                  </a:lnTo>
                  <a:lnTo>
                    <a:pt x="468" y="1416"/>
                  </a:lnTo>
                  <a:lnTo>
                    <a:pt x="468" y="1422"/>
                  </a:lnTo>
                  <a:lnTo>
                    <a:pt x="474" y="1428"/>
                  </a:lnTo>
                  <a:lnTo>
                    <a:pt x="480" y="1428"/>
                  </a:lnTo>
                  <a:lnTo>
                    <a:pt x="486" y="1428"/>
                  </a:lnTo>
                  <a:lnTo>
                    <a:pt x="498" y="1434"/>
                  </a:lnTo>
                  <a:lnTo>
                    <a:pt x="504" y="1434"/>
                  </a:lnTo>
                  <a:lnTo>
                    <a:pt x="510" y="1434"/>
                  </a:lnTo>
                  <a:lnTo>
                    <a:pt x="516" y="1434"/>
                  </a:lnTo>
                  <a:lnTo>
                    <a:pt x="516" y="1440"/>
                  </a:lnTo>
                  <a:lnTo>
                    <a:pt x="522" y="1440"/>
                  </a:lnTo>
                  <a:lnTo>
                    <a:pt x="528" y="1434"/>
                  </a:lnTo>
                  <a:lnTo>
                    <a:pt x="534" y="1434"/>
                  </a:lnTo>
                  <a:lnTo>
                    <a:pt x="540" y="1434"/>
                  </a:lnTo>
                  <a:lnTo>
                    <a:pt x="540" y="1428"/>
                  </a:lnTo>
                  <a:lnTo>
                    <a:pt x="546" y="1428"/>
                  </a:lnTo>
                  <a:lnTo>
                    <a:pt x="558" y="1428"/>
                  </a:lnTo>
                  <a:lnTo>
                    <a:pt x="564" y="1428"/>
                  </a:lnTo>
                  <a:lnTo>
                    <a:pt x="570" y="1428"/>
                  </a:lnTo>
                  <a:lnTo>
                    <a:pt x="576" y="1428"/>
                  </a:lnTo>
                  <a:lnTo>
                    <a:pt x="588" y="1434"/>
                  </a:lnTo>
                  <a:lnTo>
                    <a:pt x="594" y="1428"/>
                  </a:lnTo>
                  <a:lnTo>
                    <a:pt x="600" y="1428"/>
                  </a:lnTo>
                  <a:lnTo>
                    <a:pt x="606" y="1428"/>
                  </a:lnTo>
                  <a:lnTo>
                    <a:pt x="612" y="1428"/>
                  </a:lnTo>
                  <a:lnTo>
                    <a:pt x="618" y="1422"/>
                  </a:lnTo>
                  <a:lnTo>
                    <a:pt x="624" y="1422"/>
                  </a:lnTo>
                  <a:lnTo>
                    <a:pt x="624" y="1416"/>
                  </a:lnTo>
                  <a:lnTo>
                    <a:pt x="630" y="1416"/>
                  </a:lnTo>
                  <a:lnTo>
                    <a:pt x="636" y="1416"/>
                  </a:lnTo>
                  <a:lnTo>
                    <a:pt x="648" y="1410"/>
                  </a:lnTo>
                  <a:lnTo>
                    <a:pt x="654" y="1410"/>
                  </a:lnTo>
                  <a:lnTo>
                    <a:pt x="660" y="1410"/>
                  </a:lnTo>
                  <a:lnTo>
                    <a:pt x="672" y="1410"/>
                  </a:lnTo>
                  <a:lnTo>
                    <a:pt x="678" y="1404"/>
                  </a:lnTo>
                  <a:lnTo>
                    <a:pt x="684" y="1404"/>
                  </a:lnTo>
                  <a:lnTo>
                    <a:pt x="690" y="1410"/>
                  </a:lnTo>
                  <a:lnTo>
                    <a:pt x="696" y="1410"/>
                  </a:lnTo>
                  <a:lnTo>
                    <a:pt x="702" y="1404"/>
                  </a:lnTo>
                  <a:lnTo>
                    <a:pt x="708" y="1404"/>
                  </a:lnTo>
                  <a:lnTo>
                    <a:pt x="714" y="1410"/>
                  </a:lnTo>
                  <a:lnTo>
                    <a:pt x="720" y="1404"/>
                  </a:lnTo>
                  <a:lnTo>
                    <a:pt x="720" y="1410"/>
                  </a:lnTo>
                  <a:lnTo>
                    <a:pt x="726" y="1410"/>
                  </a:lnTo>
                  <a:lnTo>
                    <a:pt x="732" y="1410"/>
                  </a:lnTo>
                  <a:lnTo>
                    <a:pt x="738" y="1410"/>
                  </a:lnTo>
                  <a:lnTo>
                    <a:pt x="744" y="1410"/>
                  </a:lnTo>
                  <a:lnTo>
                    <a:pt x="750" y="1410"/>
                  </a:lnTo>
                  <a:lnTo>
                    <a:pt x="750" y="1416"/>
                  </a:lnTo>
                  <a:lnTo>
                    <a:pt x="756" y="1416"/>
                  </a:lnTo>
                  <a:lnTo>
                    <a:pt x="756" y="1422"/>
                  </a:lnTo>
                  <a:lnTo>
                    <a:pt x="762" y="1428"/>
                  </a:lnTo>
                  <a:lnTo>
                    <a:pt x="762" y="1434"/>
                  </a:lnTo>
                  <a:lnTo>
                    <a:pt x="768" y="1434"/>
                  </a:lnTo>
                  <a:lnTo>
                    <a:pt x="774" y="1434"/>
                  </a:lnTo>
                  <a:lnTo>
                    <a:pt x="780" y="1440"/>
                  </a:lnTo>
                  <a:lnTo>
                    <a:pt x="786" y="1440"/>
                  </a:lnTo>
                  <a:lnTo>
                    <a:pt x="792" y="1446"/>
                  </a:lnTo>
                  <a:lnTo>
                    <a:pt x="798" y="1446"/>
                  </a:lnTo>
                  <a:lnTo>
                    <a:pt x="798" y="1440"/>
                  </a:lnTo>
                  <a:lnTo>
                    <a:pt x="804" y="1440"/>
                  </a:lnTo>
                  <a:lnTo>
                    <a:pt x="810" y="1440"/>
                  </a:lnTo>
                  <a:lnTo>
                    <a:pt x="822" y="1434"/>
                  </a:lnTo>
                  <a:lnTo>
                    <a:pt x="822" y="1428"/>
                  </a:lnTo>
                  <a:lnTo>
                    <a:pt x="828" y="1428"/>
                  </a:lnTo>
                  <a:lnTo>
                    <a:pt x="828" y="1422"/>
                  </a:lnTo>
                  <a:lnTo>
                    <a:pt x="834" y="1422"/>
                  </a:lnTo>
                  <a:lnTo>
                    <a:pt x="840" y="1422"/>
                  </a:lnTo>
                  <a:lnTo>
                    <a:pt x="846" y="1422"/>
                  </a:lnTo>
                  <a:lnTo>
                    <a:pt x="846" y="1416"/>
                  </a:lnTo>
                  <a:lnTo>
                    <a:pt x="846" y="1410"/>
                  </a:lnTo>
                  <a:lnTo>
                    <a:pt x="840" y="1410"/>
                  </a:lnTo>
                  <a:lnTo>
                    <a:pt x="840" y="1404"/>
                  </a:lnTo>
                  <a:lnTo>
                    <a:pt x="834" y="1404"/>
                  </a:lnTo>
                  <a:lnTo>
                    <a:pt x="828" y="1392"/>
                  </a:lnTo>
                  <a:lnTo>
                    <a:pt x="828" y="1386"/>
                  </a:lnTo>
                  <a:lnTo>
                    <a:pt x="834" y="1374"/>
                  </a:lnTo>
                  <a:lnTo>
                    <a:pt x="834" y="1368"/>
                  </a:lnTo>
                  <a:lnTo>
                    <a:pt x="840" y="1362"/>
                  </a:lnTo>
                  <a:lnTo>
                    <a:pt x="846" y="1362"/>
                  </a:lnTo>
                  <a:lnTo>
                    <a:pt x="852" y="1362"/>
                  </a:lnTo>
                  <a:lnTo>
                    <a:pt x="858" y="1362"/>
                  </a:lnTo>
                  <a:lnTo>
                    <a:pt x="864" y="1362"/>
                  </a:lnTo>
                  <a:lnTo>
                    <a:pt x="870" y="1362"/>
                  </a:lnTo>
                  <a:lnTo>
                    <a:pt x="876" y="1362"/>
                  </a:lnTo>
                  <a:lnTo>
                    <a:pt x="882" y="1356"/>
                  </a:lnTo>
                  <a:lnTo>
                    <a:pt x="888" y="1356"/>
                  </a:lnTo>
                  <a:lnTo>
                    <a:pt x="894" y="1350"/>
                  </a:lnTo>
                  <a:lnTo>
                    <a:pt x="900" y="1344"/>
                  </a:lnTo>
                  <a:lnTo>
                    <a:pt x="900" y="1338"/>
                  </a:lnTo>
                  <a:lnTo>
                    <a:pt x="900" y="1332"/>
                  </a:lnTo>
                  <a:lnTo>
                    <a:pt x="906" y="1326"/>
                  </a:lnTo>
                  <a:lnTo>
                    <a:pt x="906" y="1314"/>
                  </a:lnTo>
                  <a:lnTo>
                    <a:pt x="906" y="1308"/>
                  </a:lnTo>
                  <a:lnTo>
                    <a:pt x="918" y="1302"/>
                  </a:lnTo>
                  <a:lnTo>
                    <a:pt x="918" y="1296"/>
                  </a:lnTo>
                  <a:lnTo>
                    <a:pt x="918" y="1290"/>
                  </a:lnTo>
                  <a:lnTo>
                    <a:pt x="924" y="1284"/>
                  </a:lnTo>
                  <a:lnTo>
                    <a:pt x="936" y="1284"/>
                  </a:lnTo>
                  <a:lnTo>
                    <a:pt x="942" y="1284"/>
                  </a:lnTo>
                  <a:lnTo>
                    <a:pt x="948" y="1284"/>
                  </a:lnTo>
                  <a:lnTo>
                    <a:pt x="954" y="1290"/>
                  </a:lnTo>
                  <a:lnTo>
                    <a:pt x="954" y="1284"/>
                  </a:lnTo>
                  <a:lnTo>
                    <a:pt x="960" y="1284"/>
                  </a:lnTo>
                  <a:lnTo>
                    <a:pt x="960" y="1278"/>
                  </a:lnTo>
                  <a:lnTo>
                    <a:pt x="972" y="1272"/>
                  </a:lnTo>
                  <a:lnTo>
                    <a:pt x="978" y="1272"/>
                  </a:lnTo>
                  <a:lnTo>
                    <a:pt x="984" y="1278"/>
                  </a:lnTo>
                  <a:lnTo>
                    <a:pt x="990" y="1278"/>
                  </a:lnTo>
                  <a:lnTo>
                    <a:pt x="996" y="1278"/>
                  </a:lnTo>
                  <a:lnTo>
                    <a:pt x="996" y="1272"/>
                  </a:lnTo>
                  <a:lnTo>
                    <a:pt x="1002" y="1266"/>
                  </a:lnTo>
                  <a:lnTo>
                    <a:pt x="1002" y="1260"/>
                  </a:lnTo>
                  <a:lnTo>
                    <a:pt x="1008" y="1260"/>
                  </a:lnTo>
                  <a:lnTo>
                    <a:pt x="1014" y="1254"/>
                  </a:lnTo>
                  <a:lnTo>
                    <a:pt x="1020" y="1254"/>
                  </a:lnTo>
                  <a:lnTo>
                    <a:pt x="1026" y="1254"/>
                  </a:lnTo>
                  <a:lnTo>
                    <a:pt x="1032" y="1254"/>
                  </a:lnTo>
                  <a:lnTo>
                    <a:pt x="1038" y="1248"/>
                  </a:lnTo>
                  <a:lnTo>
                    <a:pt x="1044" y="1248"/>
                  </a:lnTo>
                  <a:lnTo>
                    <a:pt x="1050" y="1248"/>
                  </a:lnTo>
                  <a:lnTo>
                    <a:pt x="1050" y="1242"/>
                  </a:lnTo>
                  <a:lnTo>
                    <a:pt x="1044" y="1200"/>
                  </a:lnTo>
                  <a:lnTo>
                    <a:pt x="1044" y="1158"/>
                  </a:lnTo>
                  <a:lnTo>
                    <a:pt x="1044" y="1116"/>
                  </a:lnTo>
                  <a:lnTo>
                    <a:pt x="1038" y="1068"/>
                  </a:lnTo>
                  <a:lnTo>
                    <a:pt x="1038" y="1026"/>
                  </a:lnTo>
                  <a:lnTo>
                    <a:pt x="1038" y="984"/>
                  </a:lnTo>
                  <a:lnTo>
                    <a:pt x="1038" y="942"/>
                  </a:lnTo>
                  <a:lnTo>
                    <a:pt x="1032" y="900"/>
                  </a:lnTo>
                  <a:lnTo>
                    <a:pt x="1032" y="888"/>
                  </a:lnTo>
                  <a:lnTo>
                    <a:pt x="1032" y="858"/>
                  </a:lnTo>
                  <a:lnTo>
                    <a:pt x="1032" y="810"/>
                  </a:lnTo>
                  <a:lnTo>
                    <a:pt x="1026" y="768"/>
                  </a:lnTo>
                  <a:lnTo>
                    <a:pt x="1026" y="726"/>
                  </a:lnTo>
                  <a:lnTo>
                    <a:pt x="1026" y="684"/>
                  </a:lnTo>
                  <a:lnTo>
                    <a:pt x="1026" y="642"/>
                  </a:lnTo>
                  <a:lnTo>
                    <a:pt x="1020" y="600"/>
                  </a:lnTo>
                  <a:lnTo>
                    <a:pt x="1020" y="558"/>
                  </a:lnTo>
                  <a:lnTo>
                    <a:pt x="1020" y="510"/>
                  </a:lnTo>
                  <a:lnTo>
                    <a:pt x="1020" y="468"/>
                  </a:lnTo>
                  <a:lnTo>
                    <a:pt x="1014" y="426"/>
                  </a:lnTo>
                  <a:lnTo>
                    <a:pt x="1014" y="384"/>
                  </a:lnTo>
                  <a:lnTo>
                    <a:pt x="1014" y="342"/>
                  </a:lnTo>
                  <a:lnTo>
                    <a:pt x="1014" y="312"/>
                  </a:lnTo>
                  <a:lnTo>
                    <a:pt x="1014" y="300"/>
                  </a:lnTo>
                  <a:lnTo>
                    <a:pt x="1008" y="294"/>
                  </a:lnTo>
                  <a:lnTo>
                    <a:pt x="1008" y="288"/>
                  </a:lnTo>
                  <a:lnTo>
                    <a:pt x="1008" y="282"/>
                  </a:lnTo>
                  <a:lnTo>
                    <a:pt x="1008" y="258"/>
                  </a:lnTo>
                  <a:lnTo>
                    <a:pt x="1008" y="252"/>
                  </a:lnTo>
                  <a:lnTo>
                    <a:pt x="1008" y="222"/>
                  </a:lnTo>
                  <a:lnTo>
                    <a:pt x="1008" y="210"/>
                  </a:lnTo>
                  <a:lnTo>
                    <a:pt x="1008" y="198"/>
                  </a:lnTo>
                  <a:lnTo>
                    <a:pt x="1008" y="168"/>
                  </a:lnTo>
                  <a:lnTo>
                    <a:pt x="1008" y="138"/>
                  </a:lnTo>
                  <a:lnTo>
                    <a:pt x="1002" y="126"/>
                  </a:lnTo>
                  <a:lnTo>
                    <a:pt x="1002" y="114"/>
                  </a:lnTo>
                  <a:lnTo>
                    <a:pt x="1002" y="84"/>
                  </a:lnTo>
                  <a:lnTo>
                    <a:pt x="1002" y="54"/>
                  </a:lnTo>
                  <a:lnTo>
                    <a:pt x="1002" y="42"/>
                  </a:lnTo>
                  <a:lnTo>
                    <a:pt x="1002" y="24"/>
                  </a:lnTo>
                  <a:lnTo>
                    <a:pt x="1002" y="0"/>
                  </a:lnTo>
                  <a:lnTo>
                    <a:pt x="1002" y="6"/>
                  </a:lnTo>
                  <a:lnTo>
                    <a:pt x="1008" y="6"/>
                  </a:lnTo>
                  <a:lnTo>
                    <a:pt x="1008" y="12"/>
                  </a:lnTo>
                  <a:lnTo>
                    <a:pt x="1014" y="12"/>
                  </a:lnTo>
                  <a:lnTo>
                    <a:pt x="1014" y="18"/>
                  </a:lnTo>
                  <a:lnTo>
                    <a:pt x="1020" y="18"/>
                  </a:lnTo>
                  <a:lnTo>
                    <a:pt x="1020" y="24"/>
                  </a:lnTo>
                  <a:lnTo>
                    <a:pt x="1026" y="24"/>
                  </a:lnTo>
                  <a:lnTo>
                    <a:pt x="1032" y="30"/>
                  </a:lnTo>
                  <a:lnTo>
                    <a:pt x="1032" y="36"/>
                  </a:lnTo>
                  <a:close/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dirty="0">
                <a:latin typeface="Source Sans Pro"/>
                <a:cs typeface="Source Sans Pro"/>
              </a:endParaRPr>
            </a:p>
          </p:txBody>
        </p:sp>
        <p:pic>
          <p:nvPicPr>
            <p:cNvPr id="51" name="Picture 10" descr="http://www.clker.com/cliparts/F/R/r/z/K/S/crossroad-sign-blank-hi.png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851211" y="4819650"/>
              <a:ext cx="171810" cy="211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2" name="map_world"/>
            <p:cNvGrpSpPr>
              <a:grpSpLocks/>
            </p:cNvGrpSpPr>
            <p:nvPr/>
          </p:nvGrpSpPr>
          <p:grpSpPr bwMode="auto">
            <a:xfrm>
              <a:off x="2820637" y="4835525"/>
              <a:ext cx="353430" cy="177777"/>
              <a:chOff x="543" y="1020"/>
              <a:chExt cx="5164" cy="2895"/>
            </a:xfrm>
          </p:grpSpPr>
          <p:sp>
            <p:nvSpPr>
              <p:cNvPr id="53" name="Freeform 176"/>
              <p:cNvSpPr>
                <a:spLocks/>
              </p:cNvSpPr>
              <p:nvPr/>
            </p:nvSpPr>
            <p:spPr bwMode="gray">
              <a:xfrm>
                <a:off x="543" y="1189"/>
                <a:ext cx="1610" cy="2718"/>
              </a:xfrm>
              <a:custGeom>
                <a:avLst/>
                <a:gdLst>
                  <a:gd name="T0" fmla="*/ 1 w 3219"/>
                  <a:gd name="T1" fmla="*/ 1 h 5435"/>
                  <a:gd name="T2" fmla="*/ 1 w 3219"/>
                  <a:gd name="T3" fmla="*/ 1 h 5435"/>
                  <a:gd name="T4" fmla="*/ 1 w 3219"/>
                  <a:gd name="T5" fmla="*/ 1 h 5435"/>
                  <a:gd name="T6" fmla="*/ 1 w 3219"/>
                  <a:gd name="T7" fmla="*/ 1 h 5435"/>
                  <a:gd name="T8" fmla="*/ 1 w 3219"/>
                  <a:gd name="T9" fmla="*/ 1 h 5435"/>
                  <a:gd name="T10" fmla="*/ 1 w 3219"/>
                  <a:gd name="T11" fmla="*/ 1 h 5435"/>
                  <a:gd name="T12" fmla="*/ 1 w 3219"/>
                  <a:gd name="T13" fmla="*/ 1 h 5435"/>
                  <a:gd name="T14" fmla="*/ 1 w 3219"/>
                  <a:gd name="T15" fmla="*/ 1 h 5435"/>
                  <a:gd name="T16" fmla="*/ 1 w 3219"/>
                  <a:gd name="T17" fmla="*/ 1 h 5435"/>
                  <a:gd name="T18" fmla="*/ 1 w 3219"/>
                  <a:gd name="T19" fmla="*/ 1 h 5435"/>
                  <a:gd name="T20" fmla="*/ 1 w 3219"/>
                  <a:gd name="T21" fmla="*/ 1 h 5435"/>
                  <a:gd name="T22" fmla="*/ 1 w 3219"/>
                  <a:gd name="T23" fmla="*/ 1 h 5435"/>
                  <a:gd name="T24" fmla="*/ 1 w 3219"/>
                  <a:gd name="T25" fmla="*/ 1 h 5435"/>
                  <a:gd name="T26" fmla="*/ 1 w 3219"/>
                  <a:gd name="T27" fmla="*/ 1 h 5435"/>
                  <a:gd name="T28" fmla="*/ 1 w 3219"/>
                  <a:gd name="T29" fmla="*/ 1 h 5435"/>
                  <a:gd name="T30" fmla="*/ 1 w 3219"/>
                  <a:gd name="T31" fmla="*/ 1 h 5435"/>
                  <a:gd name="T32" fmla="*/ 1 w 3219"/>
                  <a:gd name="T33" fmla="*/ 1 h 5435"/>
                  <a:gd name="T34" fmla="*/ 1 w 3219"/>
                  <a:gd name="T35" fmla="*/ 1 h 5435"/>
                  <a:gd name="T36" fmla="*/ 1 w 3219"/>
                  <a:gd name="T37" fmla="*/ 1 h 5435"/>
                  <a:gd name="T38" fmla="*/ 1 w 3219"/>
                  <a:gd name="T39" fmla="*/ 1 h 5435"/>
                  <a:gd name="T40" fmla="*/ 1 w 3219"/>
                  <a:gd name="T41" fmla="*/ 1 h 5435"/>
                  <a:gd name="T42" fmla="*/ 1 w 3219"/>
                  <a:gd name="T43" fmla="*/ 1 h 5435"/>
                  <a:gd name="T44" fmla="*/ 1 w 3219"/>
                  <a:gd name="T45" fmla="*/ 1 h 5435"/>
                  <a:gd name="T46" fmla="*/ 1 w 3219"/>
                  <a:gd name="T47" fmla="*/ 1 h 5435"/>
                  <a:gd name="T48" fmla="*/ 1 w 3219"/>
                  <a:gd name="T49" fmla="*/ 1 h 5435"/>
                  <a:gd name="T50" fmla="*/ 1 w 3219"/>
                  <a:gd name="T51" fmla="*/ 1 h 5435"/>
                  <a:gd name="T52" fmla="*/ 1 w 3219"/>
                  <a:gd name="T53" fmla="*/ 1 h 5435"/>
                  <a:gd name="T54" fmla="*/ 1 w 3219"/>
                  <a:gd name="T55" fmla="*/ 1 h 5435"/>
                  <a:gd name="T56" fmla="*/ 1 w 3219"/>
                  <a:gd name="T57" fmla="*/ 1 h 5435"/>
                  <a:gd name="T58" fmla="*/ 1 w 3219"/>
                  <a:gd name="T59" fmla="*/ 1 h 5435"/>
                  <a:gd name="T60" fmla="*/ 1 w 3219"/>
                  <a:gd name="T61" fmla="*/ 1 h 5435"/>
                  <a:gd name="T62" fmla="*/ 1 w 3219"/>
                  <a:gd name="T63" fmla="*/ 1 h 5435"/>
                  <a:gd name="T64" fmla="*/ 1 w 3219"/>
                  <a:gd name="T65" fmla="*/ 1 h 5435"/>
                  <a:gd name="T66" fmla="*/ 1 w 3219"/>
                  <a:gd name="T67" fmla="*/ 1 h 5435"/>
                  <a:gd name="T68" fmla="*/ 1 w 3219"/>
                  <a:gd name="T69" fmla="*/ 2 h 5435"/>
                  <a:gd name="T70" fmla="*/ 1 w 3219"/>
                  <a:gd name="T71" fmla="*/ 2 h 5435"/>
                  <a:gd name="T72" fmla="*/ 1 w 3219"/>
                  <a:gd name="T73" fmla="*/ 2 h 5435"/>
                  <a:gd name="T74" fmla="*/ 1 w 3219"/>
                  <a:gd name="T75" fmla="*/ 2 h 5435"/>
                  <a:gd name="T76" fmla="*/ 1 w 3219"/>
                  <a:gd name="T77" fmla="*/ 2 h 5435"/>
                  <a:gd name="T78" fmla="*/ 1 w 3219"/>
                  <a:gd name="T79" fmla="*/ 1 h 5435"/>
                  <a:gd name="T80" fmla="*/ 1 w 3219"/>
                  <a:gd name="T81" fmla="*/ 1 h 5435"/>
                  <a:gd name="T82" fmla="*/ 1 w 3219"/>
                  <a:gd name="T83" fmla="*/ 1 h 5435"/>
                  <a:gd name="T84" fmla="*/ 1 w 3219"/>
                  <a:gd name="T85" fmla="*/ 1 h 5435"/>
                  <a:gd name="T86" fmla="*/ 1 w 3219"/>
                  <a:gd name="T87" fmla="*/ 1 h 5435"/>
                  <a:gd name="T88" fmla="*/ 1 w 3219"/>
                  <a:gd name="T89" fmla="*/ 1 h 5435"/>
                  <a:gd name="T90" fmla="*/ 1 w 3219"/>
                  <a:gd name="T91" fmla="*/ 1 h 5435"/>
                  <a:gd name="T92" fmla="*/ 1 w 3219"/>
                  <a:gd name="T93" fmla="*/ 1 h 5435"/>
                  <a:gd name="T94" fmla="*/ 1 w 3219"/>
                  <a:gd name="T95" fmla="*/ 1 h 5435"/>
                  <a:gd name="T96" fmla="*/ 1 w 3219"/>
                  <a:gd name="T97" fmla="*/ 1 h 5435"/>
                  <a:gd name="T98" fmla="*/ 1 w 3219"/>
                  <a:gd name="T99" fmla="*/ 1 h 5435"/>
                  <a:gd name="T100" fmla="*/ 1 w 3219"/>
                  <a:gd name="T101" fmla="*/ 1 h 5435"/>
                  <a:gd name="T102" fmla="*/ 1 w 3219"/>
                  <a:gd name="T103" fmla="*/ 1 h 5435"/>
                  <a:gd name="T104" fmla="*/ 1 w 3219"/>
                  <a:gd name="T105" fmla="*/ 1 h 5435"/>
                  <a:gd name="T106" fmla="*/ 1 w 3219"/>
                  <a:gd name="T107" fmla="*/ 1 h 5435"/>
                  <a:gd name="T108" fmla="*/ 1 w 3219"/>
                  <a:gd name="T109" fmla="*/ 1 h 5435"/>
                  <a:gd name="T110" fmla="*/ 1 w 3219"/>
                  <a:gd name="T111" fmla="*/ 1 h 5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219"/>
                  <a:gd name="T169" fmla="*/ 0 h 5435"/>
                  <a:gd name="T170" fmla="*/ 3219 w 3219"/>
                  <a:gd name="T171" fmla="*/ 5435 h 5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219" h="5435">
                    <a:moveTo>
                      <a:pt x="1196" y="75"/>
                    </a:moveTo>
                    <a:lnTo>
                      <a:pt x="1488" y="81"/>
                    </a:lnTo>
                    <a:lnTo>
                      <a:pt x="1670" y="154"/>
                    </a:lnTo>
                    <a:lnTo>
                      <a:pt x="1705" y="188"/>
                    </a:lnTo>
                    <a:lnTo>
                      <a:pt x="1806" y="188"/>
                    </a:lnTo>
                    <a:lnTo>
                      <a:pt x="1810" y="184"/>
                    </a:lnTo>
                    <a:lnTo>
                      <a:pt x="1810" y="173"/>
                    </a:lnTo>
                    <a:lnTo>
                      <a:pt x="1914" y="173"/>
                    </a:lnTo>
                    <a:lnTo>
                      <a:pt x="1996" y="238"/>
                    </a:lnTo>
                    <a:lnTo>
                      <a:pt x="2004" y="248"/>
                    </a:lnTo>
                    <a:lnTo>
                      <a:pt x="2338" y="40"/>
                    </a:lnTo>
                    <a:lnTo>
                      <a:pt x="2710" y="40"/>
                    </a:lnTo>
                    <a:lnTo>
                      <a:pt x="2885" y="173"/>
                    </a:lnTo>
                    <a:lnTo>
                      <a:pt x="2900" y="307"/>
                    </a:lnTo>
                    <a:lnTo>
                      <a:pt x="2900" y="324"/>
                    </a:lnTo>
                    <a:lnTo>
                      <a:pt x="2701" y="516"/>
                    </a:lnTo>
                    <a:lnTo>
                      <a:pt x="2693" y="526"/>
                    </a:lnTo>
                    <a:lnTo>
                      <a:pt x="2578" y="426"/>
                    </a:lnTo>
                    <a:lnTo>
                      <a:pt x="2467" y="376"/>
                    </a:lnTo>
                    <a:lnTo>
                      <a:pt x="2463" y="372"/>
                    </a:lnTo>
                    <a:lnTo>
                      <a:pt x="2463" y="359"/>
                    </a:lnTo>
                    <a:lnTo>
                      <a:pt x="2584" y="359"/>
                    </a:lnTo>
                    <a:lnTo>
                      <a:pt x="2687" y="248"/>
                    </a:lnTo>
                    <a:lnTo>
                      <a:pt x="2601" y="173"/>
                    </a:lnTo>
                    <a:lnTo>
                      <a:pt x="2534" y="188"/>
                    </a:lnTo>
                    <a:lnTo>
                      <a:pt x="2534" y="163"/>
                    </a:lnTo>
                    <a:lnTo>
                      <a:pt x="2530" y="157"/>
                    </a:lnTo>
                    <a:lnTo>
                      <a:pt x="2486" y="217"/>
                    </a:lnTo>
                    <a:lnTo>
                      <a:pt x="2426" y="320"/>
                    </a:lnTo>
                    <a:lnTo>
                      <a:pt x="2282" y="324"/>
                    </a:lnTo>
                    <a:lnTo>
                      <a:pt x="2232" y="340"/>
                    </a:lnTo>
                    <a:lnTo>
                      <a:pt x="2232" y="372"/>
                    </a:lnTo>
                    <a:lnTo>
                      <a:pt x="2254" y="372"/>
                    </a:lnTo>
                    <a:lnTo>
                      <a:pt x="2292" y="359"/>
                    </a:lnTo>
                    <a:lnTo>
                      <a:pt x="2305" y="359"/>
                    </a:lnTo>
                    <a:lnTo>
                      <a:pt x="2338" y="426"/>
                    </a:lnTo>
                    <a:lnTo>
                      <a:pt x="2319" y="445"/>
                    </a:lnTo>
                    <a:lnTo>
                      <a:pt x="2292" y="445"/>
                    </a:lnTo>
                    <a:lnTo>
                      <a:pt x="2236" y="413"/>
                    </a:lnTo>
                    <a:lnTo>
                      <a:pt x="2133" y="432"/>
                    </a:lnTo>
                    <a:lnTo>
                      <a:pt x="1914" y="526"/>
                    </a:lnTo>
                    <a:lnTo>
                      <a:pt x="1831" y="618"/>
                    </a:lnTo>
                    <a:lnTo>
                      <a:pt x="1850" y="633"/>
                    </a:lnTo>
                    <a:lnTo>
                      <a:pt x="1854" y="633"/>
                    </a:lnTo>
                    <a:lnTo>
                      <a:pt x="1864" y="699"/>
                    </a:lnTo>
                    <a:lnTo>
                      <a:pt x="2017" y="787"/>
                    </a:lnTo>
                    <a:lnTo>
                      <a:pt x="2039" y="787"/>
                    </a:lnTo>
                    <a:lnTo>
                      <a:pt x="2071" y="825"/>
                    </a:lnTo>
                    <a:lnTo>
                      <a:pt x="2004" y="835"/>
                    </a:lnTo>
                    <a:lnTo>
                      <a:pt x="2004" y="898"/>
                    </a:lnTo>
                    <a:lnTo>
                      <a:pt x="2025" y="906"/>
                    </a:lnTo>
                    <a:lnTo>
                      <a:pt x="2042" y="925"/>
                    </a:lnTo>
                    <a:lnTo>
                      <a:pt x="2108" y="925"/>
                    </a:lnTo>
                    <a:lnTo>
                      <a:pt x="2127" y="796"/>
                    </a:lnTo>
                    <a:lnTo>
                      <a:pt x="2150" y="781"/>
                    </a:lnTo>
                    <a:lnTo>
                      <a:pt x="2227" y="737"/>
                    </a:lnTo>
                    <a:lnTo>
                      <a:pt x="2250" y="716"/>
                    </a:lnTo>
                    <a:lnTo>
                      <a:pt x="2232" y="639"/>
                    </a:lnTo>
                    <a:lnTo>
                      <a:pt x="2325" y="558"/>
                    </a:lnTo>
                    <a:lnTo>
                      <a:pt x="2338" y="545"/>
                    </a:lnTo>
                    <a:lnTo>
                      <a:pt x="2338" y="526"/>
                    </a:lnTo>
                    <a:lnTo>
                      <a:pt x="2478" y="507"/>
                    </a:lnTo>
                    <a:lnTo>
                      <a:pt x="2572" y="526"/>
                    </a:lnTo>
                    <a:lnTo>
                      <a:pt x="2584" y="526"/>
                    </a:lnTo>
                    <a:lnTo>
                      <a:pt x="2538" y="629"/>
                    </a:lnTo>
                    <a:lnTo>
                      <a:pt x="2534" y="633"/>
                    </a:lnTo>
                    <a:lnTo>
                      <a:pt x="2568" y="653"/>
                    </a:lnTo>
                    <a:lnTo>
                      <a:pt x="2611" y="653"/>
                    </a:lnTo>
                    <a:lnTo>
                      <a:pt x="2685" y="620"/>
                    </a:lnTo>
                    <a:lnTo>
                      <a:pt x="2693" y="620"/>
                    </a:lnTo>
                    <a:lnTo>
                      <a:pt x="2743" y="716"/>
                    </a:lnTo>
                    <a:lnTo>
                      <a:pt x="2743" y="787"/>
                    </a:lnTo>
                    <a:lnTo>
                      <a:pt x="2812" y="846"/>
                    </a:lnTo>
                    <a:lnTo>
                      <a:pt x="2762" y="925"/>
                    </a:lnTo>
                    <a:lnTo>
                      <a:pt x="2611" y="1013"/>
                    </a:lnTo>
                    <a:lnTo>
                      <a:pt x="2426" y="1019"/>
                    </a:lnTo>
                    <a:lnTo>
                      <a:pt x="2338" y="1034"/>
                    </a:lnTo>
                    <a:lnTo>
                      <a:pt x="2338" y="1065"/>
                    </a:lnTo>
                    <a:lnTo>
                      <a:pt x="2449" y="1071"/>
                    </a:lnTo>
                    <a:lnTo>
                      <a:pt x="2463" y="1071"/>
                    </a:lnTo>
                    <a:lnTo>
                      <a:pt x="2463" y="1090"/>
                    </a:lnTo>
                    <a:lnTo>
                      <a:pt x="2426" y="1125"/>
                    </a:lnTo>
                    <a:lnTo>
                      <a:pt x="2457" y="1194"/>
                    </a:lnTo>
                    <a:lnTo>
                      <a:pt x="2467" y="1201"/>
                    </a:lnTo>
                    <a:lnTo>
                      <a:pt x="2551" y="1128"/>
                    </a:lnTo>
                    <a:lnTo>
                      <a:pt x="2584" y="1178"/>
                    </a:lnTo>
                    <a:lnTo>
                      <a:pt x="2551" y="1207"/>
                    </a:lnTo>
                    <a:lnTo>
                      <a:pt x="2449" y="1261"/>
                    </a:lnTo>
                    <a:lnTo>
                      <a:pt x="2342" y="1280"/>
                    </a:lnTo>
                    <a:lnTo>
                      <a:pt x="2338" y="1276"/>
                    </a:lnTo>
                    <a:lnTo>
                      <a:pt x="2338" y="1261"/>
                    </a:lnTo>
                    <a:lnTo>
                      <a:pt x="2401" y="1226"/>
                    </a:lnTo>
                    <a:lnTo>
                      <a:pt x="2407" y="1221"/>
                    </a:lnTo>
                    <a:lnTo>
                      <a:pt x="2365" y="1201"/>
                    </a:lnTo>
                    <a:lnTo>
                      <a:pt x="2219" y="1276"/>
                    </a:lnTo>
                    <a:lnTo>
                      <a:pt x="2192" y="1340"/>
                    </a:lnTo>
                    <a:lnTo>
                      <a:pt x="2183" y="1370"/>
                    </a:lnTo>
                    <a:lnTo>
                      <a:pt x="2133" y="1380"/>
                    </a:lnTo>
                    <a:lnTo>
                      <a:pt x="2042" y="1393"/>
                    </a:lnTo>
                    <a:lnTo>
                      <a:pt x="2035" y="1457"/>
                    </a:lnTo>
                    <a:lnTo>
                      <a:pt x="2008" y="1497"/>
                    </a:lnTo>
                    <a:lnTo>
                      <a:pt x="2000" y="1507"/>
                    </a:lnTo>
                    <a:lnTo>
                      <a:pt x="1937" y="1507"/>
                    </a:lnTo>
                    <a:lnTo>
                      <a:pt x="1933" y="1547"/>
                    </a:lnTo>
                    <a:lnTo>
                      <a:pt x="1933" y="1560"/>
                    </a:lnTo>
                    <a:lnTo>
                      <a:pt x="1900" y="1547"/>
                    </a:lnTo>
                    <a:lnTo>
                      <a:pt x="1895" y="1606"/>
                    </a:lnTo>
                    <a:lnTo>
                      <a:pt x="1645" y="1835"/>
                    </a:lnTo>
                    <a:lnTo>
                      <a:pt x="1636" y="1856"/>
                    </a:lnTo>
                    <a:lnTo>
                      <a:pt x="1636" y="1894"/>
                    </a:lnTo>
                    <a:lnTo>
                      <a:pt x="1649" y="1963"/>
                    </a:lnTo>
                    <a:lnTo>
                      <a:pt x="1634" y="2071"/>
                    </a:lnTo>
                    <a:lnTo>
                      <a:pt x="1603" y="2071"/>
                    </a:lnTo>
                    <a:lnTo>
                      <a:pt x="1564" y="1969"/>
                    </a:lnTo>
                    <a:lnTo>
                      <a:pt x="1564" y="1865"/>
                    </a:lnTo>
                    <a:lnTo>
                      <a:pt x="1467" y="1856"/>
                    </a:lnTo>
                    <a:lnTo>
                      <a:pt x="1422" y="1825"/>
                    </a:lnTo>
                    <a:lnTo>
                      <a:pt x="1346" y="1839"/>
                    </a:lnTo>
                    <a:lnTo>
                      <a:pt x="1336" y="1848"/>
                    </a:lnTo>
                    <a:lnTo>
                      <a:pt x="1371" y="1915"/>
                    </a:lnTo>
                    <a:lnTo>
                      <a:pt x="1136" y="1875"/>
                    </a:lnTo>
                    <a:lnTo>
                      <a:pt x="1012" y="1961"/>
                    </a:lnTo>
                    <a:lnTo>
                      <a:pt x="944" y="2184"/>
                    </a:lnTo>
                    <a:lnTo>
                      <a:pt x="931" y="2209"/>
                    </a:lnTo>
                    <a:lnTo>
                      <a:pt x="935" y="2238"/>
                    </a:lnTo>
                    <a:lnTo>
                      <a:pt x="960" y="2301"/>
                    </a:lnTo>
                    <a:lnTo>
                      <a:pt x="977" y="2318"/>
                    </a:lnTo>
                    <a:lnTo>
                      <a:pt x="1031" y="2332"/>
                    </a:lnTo>
                    <a:lnTo>
                      <a:pt x="1136" y="2332"/>
                    </a:lnTo>
                    <a:lnTo>
                      <a:pt x="1192" y="2224"/>
                    </a:lnTo>
                    <a:lnTo>
                      <a:pt x="1317" y="2219"/>
                    </a:lnTo>
                    <a:lnTo>
                      <a:pt x="1332" y="2232"/>
                    </a:lnTo>
                    <a:lnTo>
                      <a:pt x="1319" y="2263"/>
                    </a:lnTo>
                    <a:lnTo>
                      <a:pt x="1332" y="2288"/>
                    </a:lnTo>
                    <a:lnTo>
                      <a:pt x="1332" y="2297"/>
                    </a:lnTo>
                    <a:lnTo>
                      <a:pt x="1277" y="2309"/>
                    </a:lnTo>
                    <a:lnTo>
                      <a:pt x="1271" y="2309"/>
                    </a:lnTo>
                    <a:lnTo>
                      <a:pt x="1261" y="2322"/>
                    </a:lnTo>
                    <a:lnTo>
                      <a:pt x="1248" y="2414"/>
                    </a:lnTo>
                    <a:lnTo>
                      <a:pt x="1242" y="2418"/>
                    </a:lnTo>
                    <a:lnTo>
                      <a:pt x="1332" y="2434"/>
                    </a:lnTo>
                    <a:lnTo>
                      <a:pt x="1421" y="2443"/>
                    </a:lnTo>
                    <a:lnTo>
                      <a:pt x="1371" y="2520"/>
                    </a:lnTo>
                    <a:lnTo>
                      <a:pt x="1421" y="2700"/>
                    </a:lnTo>
                    <a:lnTo>
                      <a:pt x="1470" y="2758"/>
                    </a:lnTo>
                    <a:lnTo>
                      <a:pt x="1476" y="2723"/>
                    </a:lnTo>
                    <a:lnTo>
                      <a:pt x="1476" y="2710"/>
                    </a:lnTo>
                    <a:lnTo>
                      <a:pt x="1624" y="2758"/>
                    </a:lnTo>
                    <a:lnTo>
                      <a:pt x="1628" y="2758"/>
                    </a:lnTo>
                    <a:lnTo>
                      <a:pt x="1634" y="2764"/>
                    </a:lnTo>
                    <a:lnTo>
                      <a:pt x="1705" y="2614"/>
                    </a:lnTo>
                    <a:lnTo>
                      <a:pt x="1854" y="2597"/>
                    </a:lnTo>
                    <a:lnTo>
                      <a:pt x="1868" y="2597"/>
                    </a:lnTo>
                    <a:lnTo>
                      <a:pt x="2000" y="2689"/>
                    </a:lnTo>
                    <a:lnTo>
                      <a:pt x="2211" y="2670"/>
                    </a:lnTo>
                    <a:lnTo>
                      <a:pt x="2227" y="2733"/>
                    </a:lnTo>
                    <a:lnTo>
                      <a:pt x="2227" y="2754"/>
                    </a:lnTo>
                    <a:lnTo>
                      <a:pt x="2282" y="2792"/>
                    </a:lnTo>
                    <a:lnTo>
                      <a:pt x="2376" y="2833"/>
                    </a:lnTo>
                    <a:lnTo>
                      <a:pt x="2584" y="2896"/>
                    </a:lnTo>
                    <a:lnTo>
                      <a:pt x="2637" y="3096"/>
                    </a:lnTo>
                    <a:lnTo>
                      <a:pt x="2678" y="3101"/>
                    </a:lnTo>
                    <a:lnTo>
                      <a:pt x="2687" y="3101"/>
                    </a:lnTo>
                    <a:lnTo>
                      <a:pt x="2687" y="3134"/>
                    </a:lnTo>
                    <a:lnTo>
                      <a:pt x="2697" y="3140"/>
                    </a:lnTo>
                    <a:lnTo>
                      <a:pt x="2804" y="3159"/>
                    </a:lnTo>
                    <a:lnTo>
                      <a:pt x="3219" y="3328"/>
                    </a:lnTo>
                    <a:lnTo>
                      <a:pt x="3219" y="3458"/>
                    </a:lnTo>
                    <a:lnTo>
                      <a:pt x="3148" y="3480"/>
                    </a:lnTo>
                    <a:lnTo>
                      <a:pt x="3096" y="3666"/>
                    </a:lnTo>
                    <a:lnTo>
                      <a:pt x="3096" y="3890"/>
                    </a:lnTo>
                    <a:lnTo>
                      <a:pt x="3012" y="4036"/>
                    </a:lnTo>
                    <a:lnTo>
                      <a:pt x="2937" y="4044"/>
                    </a:lnTo>
                    <a:lnTo>
                      <a:pt x="2816" y="4136"/>
                    </a:lnTo>
                    <a:lnTo>
                      <a:pt x="2812" y="4293"/>
                    </a:lnTo>
                    <a:lnTo>
                      <a:pt x="2762" y="4380"/>
                    </a:lnTo>
                    <a:lnTo>
                      <a:pt x="2757" y="4464"/>
                    </a:lnTo>
                    <a:lnTo>
                      <a:pt x="2693" y="4562"/>
                    </a:lnTo>
                    <a:lnTo>
                      <a:pt x="2593" y="4568"/>
                    </a:lnTo>
                    <a:lnTo>
                      <a:pt x="2590" y="4572"/>
                    </a:lnTo>
                    <a:lnTo>
                      <a:pt x="2637" y="4641"/>
                    </a:lnTo>
                    <a:lnTo>
                      <a:pt x="2478" y="4825"/>
                    </a:lnTo>
                    <a:lnTo>
                      <a:pt x="2463" y="4852"/>
                    </a:lnTo>
                    <a:lnTo>
                      <a:pt x="2463" y="5051"/>
                    </a:lnTo>
                    <a:lnTo>
                      <a:pt x="2534" y="5061"/>
                    </a:lnTo>
                    <a:lnTo>
                      <a:pt x="2551" y="5130"/>
                    </a:lnTo>
                    <a:lnTo>
                      <a:pt x="2534" y="5149"/>
                    </a:lnTo>
                    <a:lnTo>
                      <a:pt x="2584" y="5263"/>
                    </a:lnTo>
                    <a:lnTo>
                      <a:pt x="2697" y="5362"/>
                    </a:lnTo>
                    <a:lnTo>
                      <a:pt x="2762" y="5393"/>
                    </a:lnTo>
                    <a:lnTo>
                      <a:pt x="2693" y="5435"/>
                    </a:lnTo>
                    <a:lnTo>
                      <a:pt x="2463" y="5393"/>
                    </a:lnTo>
                    <a:lnTo>
                      <a:pt x="2305" y="5199"/>
                    </a:lnTo>
                    <a:lnTo>
                      <a:pt x="2213" y="5055"/>
                    </a:lnTo>
                    <a:lnTo>
                      <a:pt x="2213" y="4942"/>
                    </a:lnTo>
                    <a:lnTo>
                      <a:pt x="2127" y="4748"/>
                    </a:lnTo>
                    <a:lnTo>
                      <a:pt x="2004" y="4000"/>
                    </a:lnTo>
                    <a:lnTo>
                      <a:pt x="1914" y="3890"/>
                    </a:lnTo>
                    <a:lnTo>
                      <a:pt x="1778" y="3758"/>
                    </a:lnTo>
                    <a:lnTo>
                      <a:pt x="1476" y="3364"/>
                    </a:lnTo>
                    <a:lnTo>
                      <a:pt x="1541" y="3272"/>
                    </a:lnTo>
                    <a:lnTo>
                      <a:pt x="1528" y="3263"/>
                    </a:lnTo>
                    <a:lnTo>
                      <a:pt x="1478" y="3253"/>
                    </a:lnTo>
                    <a:lnTo>
                      <a:pt x="1478" y="3242"/>
                    </a:lnTo>
                    <a:lnTo>
                      <a:pt x="1653" y="2969"/>
                    </a:lnTo>
                    <a:lnTo>
                      <a:pt x="1603" y="2796"/>
                    </a:lnTo>
                    <a:lnTo>
                      <a:pt x="1603" y="2792"/>
                    </a:lnTo>
                    <a:lnTo>
                      <a:pt x="1593" y="2783"/>
                    </a:lnTo>
                    <a:lnTo>
                      <a:pt x="1526" y="2787"/>
                    </a:lnTo>
                    <a:lnTo>
                      <a:pt x="1488" y="2802"/>
                    </a:lnTo>
                    <a:lnTo>
                      <a:pt x="1463" y="2796"/>
                    </a:lnTo>
                    <a:lnTo>
                      <a:pt x="1323" y="2720"/>
                    </a:lnTo>
                    <a:lnTo>
                      <a:pt x="1021" y="2474"/>
                    </a:lnTo>
                    <a:lnTo>
                      <a:pt x="918" y="2437"/>
                    </a:lnTo>
                    <a:lnTo>
                      <a:pt x="735" y="2332"/>
                    </a:lnTo>
                    <a:lnTo>
                      <a:pt x="670" y="2245"/>
                    </a:lnTo>
                    <a:lnTo>
                      <a:pt x="666" y="2242"/>
                    </a:lnTo>
                    <a:lnTo>
                      <a:pt x="666" y="2232"/>
                    </a:lnTo>
                    <a:lnTo>
                      <a:pt x="670" y="2232"/>
                    </a:lnTo>
                    <a:lnTo>
                      <a:pt x="680" y="2224"/>
                    </a:lnTo>
                    <a:lnTo>
                      <a:pt x="635" y="2046"/>
                    </a:lnTo>
                    <a:lnTo>
                      <a:pt x="607" y="1958"/>
                    </a:lnTo>
                    <a:lnTo>
                      <a:pt x="566" y="1850"/>
                    </a:lnTo>
                    <a:lnTo>
                      <a:pt x="545" y="1775"/>
                    </a:lnTo>
                    <a:lnTo>
                      <a:pt x="536" y="1766"/>
                    </a:lnTo>
                    <a:lnTo>
                      <a:pt x="493" y="1766"/>
                    </a:lnTo>
                    <a:lnTo>
                      <a:pt x="493" y="1781"/>
                    </a:lnTo>
                    <a:lnTo>
                      <a:pt x="539" y="1856"/>
                    </a:lnTo>
                    <a:lnTo>
                      <a:pt x="545" y="2055"/>
                    </a:lnTo>
                    <a:lnTo>
                      <a:pt x="559" y="2115"/>
                    </a:lnTo>
                    <a:lnTo>
                      <a:pt x="559" y="2125"/>
                    </a:lnTo>
                    <a:lnTo>
                      <a:pt x="539" y="2125"/>
                    </a:lnTo>
                    <a:lnTo>
                      <a:pt x="476" y="1988"/>
                    </a:lnTo>
                    <a:lnTo>
                      <a:pt x="434" y="1919"/>
                    </a:lnTo>
                    <a:lnTo>
                      <a:pt x="455" y="1894"/>
                    </a:lnTo>
                    <a:lnTo>
                      <a:pt x="468" y="1879"/>
                    </a:lnTo>
                    <a:lnTo>
                      <a:pt x="451" y="1829"/>
                    </a:lnTo>
                    <a:lnTo>
                      <a:pt x="451" y="1645"/>
                    </a:lnTo>
                    <a:lnTo>
                      <a:pt x="401" y="1581"/>
                    </a:lnTo>
                    <a:lnTo>
                      <a:pt x="434" y="1315"/>
                    </a:lnTo>
                    <a:lnTo>
                      <a:pt x="553" y="1173"/>
                    </a:lnTo>
                    <a:lnTo>
                      <a:pt x="645" y="1071"/>
                    </a:lnTo>
                    <a:lnTo>
                      <a:pt x="645" y="998"/>
                    </a:lnTo>
                    <a:lnTo>
                      <a:pt x="662" y="998"/>
                    </a:lnTo>
                    <a:lnTo>
                      <a:pt x="680" y="1013"/>
                    </a:lnTo>
                    <a:lnTo>
                      <a:pt x="726" y="1013"/>
                    </a:lnTo>
                    <a:lnTo>
                      <a:pt x="726" y="992"/>
                    </a:lnTo>
                    <a:lnTo>
                      <a:pt x="666" y="850"/>
                    </a:lnTo>
                    <a:lnTo>
                      <a:pt x="718" y="889"/>
                    </a:lnTo>
                    <a:lnTo>
                      <a:pt x="731" y="900"/>
                    </a:lnTo>
                    <a:lnTo>
                      <a:pt x="751" y="549"/>
                    </a:lnTo>
                    <a:lnTo>
                      <a:pt x="680" y="545"/>
                    </a:lnTo>
                    <a:lnTo>
                      <a:pt x="680" y="472"/>
                    </a:lnTo>
                    <a:lnTo>
                      <a:pt x="576" y="432"/>
                    </a:lnTo>
                    <a:lnTo>
                      <a:pt x="447" y="451"/>
                    </a:lnTo>
                    <a:lnTo>
                      <a:pt x="434" y="451"/>
                    </a:lnTo>
                    <a:lnTo>
                      <a:pt x="447" y="426"/>
                    </a:lnTo>
                    <a:lnTo>
                      <a:pt x="447" y="422"/>
                    </a:lnTo>
                    <a:lnTo>
                      <a:pt x="420" y="422"/>
                    </a:lnTo>
                    <a:lnTo>
                      <a:pt x="65" y="545"/>
                    </a:lnTo>
                    <a:lnTo>
                      <a:pt x="0" y="545"/>
                    </a:lnTo>
                    <a:lnTo>
                      <a:pt x="234" y="436"/>
                    </a:lnTo>
                    <a:lnTo>
                      <a:pt x="290" y="344"/>
                    </a:lnTo>
                    <a:lnTo>
                      <a:pt x="290" y="340"/>
                    </a:lnTo>
                    <a:lnTo>
                      <a:pt x="209" y="320"/>
                    </a:lnTo>
                    <a:lnTo>
                      <a:pt x="294" y="226"/>
                    </a:lnTo>
                    <a:lnTo>
                      <a:pt x="388" y="242"/>
                    </a:lnTo>
                    <a:lnTo>
                      <a:pt x="409" y="242"/>
                    </a:lnTo>
                    <a:lnTo>
                      <a:pt x="430" y="228"/>
                    </a:lnTo>
                    <a:lnTo>
                      <a:pt x="409" y="211"/>
                    </a:lnTo>
                    <a:lnTo>
                      <a:pt x="369" y="194"/>
                    </a:lnTo>
                    <a:lnTo>
                      <a:pt x="369" y="175"/>
                    </a:lnTo>
                    <a:lnTo>
                      <a:pt x="395" y="138"/>
                    </a:lnTo>
                    <a:lnTo>
                      <a:pt x="405" y="129"/>
                    </a:lnTo>
                    <a:lnTo>
                      <a:pt x="553" y="134"/>
                    </a:lnTo>
                    <a:lnTo>
                      <a:pt x="562" y="125"/>
                    </a:lnTo>
                    <a:lnTo>
                      <a:pt x="576" y="59"/>
                    </a:lnTo>
                    <a:lnTo>
                      <a:pt x="708" y="25"/>
                    </a:lnTo>
                    <a:lnTo>
                      <a:pt x="787" y="0"/>
                    </a:lnTo>
                    <a:lnTo>
                      <a:pt x="998" y="2"/>
                    </a:lnTo>
                    <a:lnTo>
                      <a:pt x="1196" y="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4" name="Freeform 177"/>
              <p:cNvSpPr>
                <a:spLocks/>
              </p:cNvSpPr>
              <p:nvPr/>
            </p:nvSpPr>
            <p:spPr bwMode="gray">
              <a:xfrm>
                <a:off x="2491" y="1076"/>
                <a:ext cx="2739" cy="2340"/>
              </a:xfrm>
              <a:custGeom>
                <a:avLst/>
                <a:gdLst>
                  <a:gd name="T0" fmla="*/ 1 w 5476"/>
                  <a:gd name="T1" fmla="*/ 1 h 4679"/>
                  <a:gd name="T2" fmla="*/ 2 w 5476"/>
                  <a:gd name="T3" fmla="*/ 1 h 4679"/>
                  <a:gd name="T4" fmla="*/ 2 w 5476"/>
                  <a:gd name="T5" fmla="*/ 1 h 4679"/>
                  <a:gd name="T6" fmla="*/ 2 w 5476"/>
                  <a:gd name="T7" fmla="*/ 1 h 4679"/>
                  <a:gd name="T8" fmla="*/ 2 w 5476"/>
                  <a:gd name="T9" fmla="*/ 1 h 4679"/>
                  <a:gd name="T10" fmla="*/ 2 w 5476"/>
                  <a:gd name="T11" fmla="*/ 1 h 4679"/>
                  <a:gd name="T12" fmla="*/ 2 w 5476"/>
                  <a:gd name="T13" fmla="*/ 1 h 4679"/>
                  <a:gd name="T14" fmla="*/ 2 w 5476"/>
                  <a:gd name="T15" fmla="*/ 1 h 4679"/>
                  <a:gd name="T16" fmla="*/ 2 w 5476"/>
                  <a:gd name="T17" fmla="*/ 1 h 4679"/>
                  <a:gd name="T18" fmla="*/ 2 w 5476"/>
                  <a:gd name="T19" fmla="*/ 1 h 4679"/>
                  <a:gd name="T20" fmla="*/ 2 w 5476"/>
                  <a:gd name="T21" fmla="*/ 1 h 4679"/>
                  <a:gd name="T22" fmla="*/ 2 w 5476"/>
                  <a:gd name="T23" fmla="*/ 1 h 4679"/>
                  <a:gd name="T24" fmla="*/ 2 w 5476"/>
                  <a:gd name="T25" fmla="*/ 1 h 4679"/>
                  <a:gd name="T26" fmla="*/ 2 w 5476"/>
                  <a:gd name="T27" fmla="*/ 1 h 4679"/>
                  <a:gd name="T28" fmla="*/ 2 w 5476"/>
                  <a:gd name="T29" fmla="*/ 1 h 4679"/>
                  <a:gd name="T30" fmla="*/ 2 w 5476"/>
                  <a:gd name="T31" fmla="*/ 1 h 4679"/>
                  <a:gd name="T32" fmla="*/ 2 w 5476"/>
                  <a:gd name="T33" fmla="*/ 1 h 4679"/>
                  <a:gd name="T34" fmla="*/ 2 w 5476"/>
                  <a:gd name="T35" fmla="*/ 1 h 4679"/>
                  <a:gd name="T36" fmla="*/ 2 w 5476"/>
                  <a:gd name="T37" fmla="*/ 1 h 4679"/>
                  <a:gd name="T38" fmla="*/ 1 w 5476"/>
                  <a:gd name="T39" fmla="*/ 1 h 4679"/>
                  <a:gd name="T40" fmla="*/ 1 w 5476"/>
                  <a:gd name="T41" fmla="*/ 1 h 4679"/>
                  <a:gd name="T42" fmla="*/ 1 w 5476"/>
                  <a:gd name="T43" fmla="*/ 1 h 4679"/>
                  <a:gd name="T44" fmla="*/ 1 w 5476"/>
                  <a:gd name="T45" fmla="*/ 1 h 4679"/>
                  <a:gd name="T46" fmla="*/ 1 w 5476"/>
                  <a:gd name="T47" fmla="*/ 1 h 4679"/>
                  <a:gd name="T48" fmla="*/ 1 w 5476"/>
                  <a:gd name="T49" fmla="*/ 1 h 4679"/>
                  <a:gd name="T50" fmla="*/ 1 w 5476"/>
                  <a:gd name="T51" fmla="*/ 1 h 4679"/>
                  <a:gd name="T52" fmla="*/ 1 w 5476"/>
                  <a:gd name="T53" fmla="*/ 1 h 4679"/>
                  <a:gd name="T54" fmla="*/ 1 w 5476"/>
                  <a:gd name="T55" fmla="*/ 1 h 4679"/>
                  <a:gd name="T56" fmla="*/ 1 w 5476"/>
                  <a:gd name="T57" fmla="*/ 2 h 4679"/>
                  <a:gd name="T58" fmla="*/ 1 w 5476"/>
                  <a:gd name="T59" fmla="*/ 1 h 4679"/>
                  <a:gd name="T60" fmla="*/ 1 w 5476"/>
                  <a:gd name="T61" fmla="*/ 1 h 4679"/>
                  <a:gd name="T62" fmla="*/ 1 w 5476"/>
                  <a:gd name="T63" fmla="*/ 1 h 4679"/>
                  <a:gd name="T64" fmla="*/ 1 w 5476"/>
                  <a:gd name="T65" fmla="*/ 1 h 4679"/>
                  <a:gd name="T66" fmla="*/ 1 w 5476"/>
                  <a:gd name="T67" fmla="*/ 1 h 4679"/>
                  <a:gd name="T68" fmla="*/ 1 w 5476"/>
                  <a:gd name="T69" fmla="*/ 1 h 4679"/>
                  <a:gd name="T70" fmla="*/ 1 w 5476"/>
                  <a:gd name="T71" fmla="*/ 1 h 4679"/>
                  <a:gd name="T72" fmla="*/ 1 w 5476"/>
                  <a:gd name="T73" fmla="*/ 1 h 4679"/>
                  <a:gd name="T74" fmla="*/ 1 w 5476"/>
                  <a:gd name="T75" fmla="*/ 1 h 4679"/>
                  <a:gd name="T76" fmla="*/ 1 w 5476"/>
                  <a:gd name="T77" fmla="*/ 1 h 4679"/>
                  <a:gd name="T78" fmla="*/ 1 w 5476"/>
                  <a:gd name="T79" fmla="*/ 1 h 4679"/>
                  <a:gd name="T80" fmla="*/ 1 w 5476"/>
                  <a:gd name="T81" fmla="*/ 1 h 4679"/>
                  <a:gd name="T82" fmla="*/ 1 w 5476"/>
                  <a:gd name="T83" fmla="*/ 1 h 4679"/>
                  <a:gd name="T84" fmla="*/ 1 w 5476"/>
                  <a:gd name="T85" fmla="*/ 1 h 4679"/>
                  <a:gd name="T86" fmla="*/ 1 w 5476"/>
                  <a:gd name="T87" fmla="*/ 1 h 4679"/>
                  <a:gd name="T88" fmla="*/ 1 w 5476"/>
                  <a:gd name="T89" fmla="*/ 1 h 4679"/>
                  <a:gd name="T90" fmla="*/ 1 w 5476"/>
                  <a:gd name="T91" fmla="*/ 1 h 4679"/>
                  <a:gd name="T92" fmla="*/ 1 w 5476"/>
                  <a:gd name="T93" fmla="*/ 1 h 4679"/>
                  <a:gd name="T94" fmla="*/ 1 w 5476"/>
                  <a:gd name="T95" fmla="*/ 1 h 4679"/>
                  <a:gd name="T96" fmla="*/ 1 w 5476"/>
                  <a:gd name="T97" fmla="*/ 1 h 4679"/>
                  <a:gd name="T98" fmla="*/ 1 w 5476"/>
                  <a:gd name="T99" fmla="*/ 1 h 4679"/>
                  <a:gd name="T100" fmla="*/ 1 w 5476"/>
                  <a:gd name="T101" fmla="*/ 1 h 4679"/>
                  <a:gd name="T102" fmla="*/ 1 w 5476"/>
                  <a:gd name="T103" fmla="*/ 1 h 4679"/>
                  <a:gd name="T104" fmla="*/ 1 w 5476"/>
                  <a:gd name="T105" fmla="*/ 1 h 4679"/>
                  <a:gd name="T106" fmla="*/ 1 w 5476"/>
                  <a:gd name="T107" fmla="*/ 1 h 4679"/>
                  <a:gd name="T108" fmla="*/ 1 w 5476"/>
                  <a:gd name="T109" fmla="*/ 1 h 4679"/>
                  <a:gd name="T110" fmla="*/ 1 w 5476"/>
                  <a:gd name="T111" fmla="*/ 1 h 4679"/>
                  <a:gd name="T112" fmla="*/ 1 w 5476"/>
                  <a:gd name="T113" fmla="*/ 1 h 4679"/>
                  <a:gd name="T114" fmla="*/ 1 w 5476"/>
                  <a:gd name="T115" fmla="*/ 1 h 46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476"/>
                  <a:gd name="T175" fmla="*/ 0 h 4679"/>
                  <a:gd name="T176" fmla="*/ 5476 w 5476"/>
                  <a:gd name="T177" fmla="*/ 4679 h 46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476" h="4679">
                    <a:moveTo>
                      <a:pt x="3288" y="40"/>
                    </a:moveTo>
                    <a:lnTo>
                      <a:pt x="3301" y="99"/>
                    </a:lnTo>
                    <a:lnTo>
                      <a:pt x="3301" y="103"/>
                    </a:lnTo>
                    <a:lnTo>
                      <a:pt x="3307" y="113"/>
                    </a:lnTo>
                    <a:lnTo>
                      <a:pt x="3666" y="109"/>
                    </a:lnTo>
                    <a:lnTo>
                      <a:pt x="3743" y="94"/>
                    </a:lnTo>
                    <a:lnTo>
                      <a:pt x="3821" y="172"/>
                    </a:lnTo>
                    <a:lnTo>
                      <a:pt x="4046" y="113"/>
                    </a:lnTo>
                    <a:lnTo>
                      <a:pt x="4063" y="94"/>
                    </a:lnTo>
                    <a:lnTo>
                      <a:pt x="4171" y="80"/>
                    </a:lnTo>
                    <a:lnTo>
                      <a:pt x="4286" y="80"/>
                    </a:lnTo>
                    <a:lnTo>
                      <a:pt x="4823" y="113"/>
                    </a:lnTo>
                    <a:lnTo>
                      <a:pt x="4973" y="76"/>
                    </a:lnTo>
                    <a:lnTo>
                      <a:pt x="5461" y="113"/>
                    </a:lnTo>
                    <a:lnTo>
                      <a:pt x="5476" y="174"/>
                    </a:lnTo>
                    <a:lnTo>
                      <a:pt x="5476" y="190"/>
                    </a:lnTo>
                    <a:lnTo>
                      <a:pt x="5392" y="190"/>
                    </a:lnTo>
                    <a:lnTo>
                      <a:pt x="5374" y="172"/>
                    </a:lnTo>
                    <a:lnTo>
                      <a:pt x="5286" y="190"/>
                    </a:lnTo>
                    <a:lnTo>
                      <a:pt x="5280" y="253"/>
                    </a:lnTo>
                    <a:lnTo>
                      <a:pt x="5280" y="262"/>
                    </a:lnTo>
                    <a:lnTo>
                      <a:pt x="5359" y="266"/>
                    </a:lnTo>
                    <a:lnTo>
                      <a:pt x="5369" y="295"/>
                    </a:lnTo>
                    <a:lnTo>
                      <a:pt x="5336" y="378"/>
                    </a:lnTo>
                    <a:lnTo>
                      <a:pt x="5353" y="408"/>
                    </a:lnTo>
                    <a:lnTo>
                      <a:pt x="5294" y="452"/>
                    </a:lnTo>
                    <a:lnTo>
                      <a:pt x="5267" y="468"/>
                    </a:lnTo>
                    <a:lnTo>
                      <a:pt x="5230" y="412"/>
                    </a:lnTo>
                    <a:lnTo>
                      <a:pt x="5182" y="451"/>
                    </a:lnTo>
                    <a:lnTo>
                      <a:pt x="5234" y="472"/>
                    </a:lnTo>
                    <a:lnTo>
                      <a:pt x="5263" y="504"/>
                    </a:lnTo>
                    <a:lnTo>
                      <a:pt x="5263" y="558"/>
                    </a:lnTo>
                    <a:lnTo>
                      <a:pt x="5273" y="566"/>
                    </a:lnTo>
                    <a:lnTo>
                      <a:pt x="5332" y="579"/>
                    </a:lnTo>
                    <a:lnTo>
                      <a:pt x="5340" y="662"/>
                    </a:lnTo>
                    <a:lnTo>
                      <a:pt x="5369" y="677"/>
                    </a:lnTo>
                    <a:lnTo>
                      <a:pt x="5369" y="771"/>
                    </a:lnTo>
                    <a:lnTo>
                      <a:pt x="5259" y="748"/>
                    </a:lnTo>
                    <a:lnTo>
                      <a:pt x="5092" y="604"/>
                    </a:lnTo>
                    <a:lnTo>
                      <a:pt x="5140" y="452"/>
                    </a:lnTo>
                    <a:lnTo>
                      <a:pt x="5075" y="397"/>
                    </a:lnTo>
                    <a:lnTo>
                      <a:pt x="4964" y="397"/>
                    </a:lnTo>
                    <a:lnTo>
                      <a:pt x="4935" y="412"/>
                    </a:lnTo>
                    <a:lnTo>
                      <a:pt x="4931" y="504"/>
                    </a:lnTo>
                    <a:lnTo>
                      <a:pt x="4950" y="506"/>
                    </a:lnTo>
                    <a:lnTo>
                      <a:pt x="4964" y="506"/>
                    </a:lnTo>
                    <a:lnTo>
                      <a:pt x="4964" y="545"/>
                    </a:lnTo>
                    <a:lnTo>
                      <a:pt x="4839" y="545"/>
                    </a:lnTo>
                    <a:lnTo>
                      <a:pt x="4816" y="564"/>
                    </a:lnTo>
                    <a:lnTo>
                      <a:pt x="4704" y="564"/>
                    </a:lnTo>
                    <a:lnTo>
                      <a:pt x="4695" y="662"/>
                    </a:lnTo>
                    <a:lnTo>
                      <a:pt x="4635" y="742"/>
                    </a:lnTo>
                    <a:lnTo>
                      <a:pt x="4632" y="748"/>
                    </a:lnTo>
                    <a:lnTo>
                      <a:pt x="4789" y="752"/>
                    </a:lnTo>
                    <a:lnTo>
                      <a:pt x="4862" y="846"/>
                    </a:lnTo>
                    <a:lnTo>
                      <a:pt x="4891" y="846"/>
                    </a:lnTo>
                    <a:lnTo>
                      <a:pt x="4895" y="752"/>
                    </a:lnTo>
                    <a:lnTo>
                      <a:pt x="4964" y="877"/>
                    </a:lnTo>
                    <a:lnTo>
                      <a:pt x="5131" y="1021"/>
                    </a:lnTo>
                    <a:lnTo>
                      <a:pt x="5136" y="1030"/>
                    </a:lnTo>
                    <a:lnTo>
                      <a:pt x="5140" y="1030"/>
                    </a:lnTo>
                    <a:lnTo>
                      <a:pt x="5092" y="1053"/>
                    </a:lnTo>
                    <a:lnTo>
                      <a:pt x="4964" y="936"/>
                    </a:lnTo>
                    <a:lnTo>
                      <a:pt x="4935" y="871"/>
                    </a:lnTo>
                    <a:lnTo>
                      <a:pt x="4935" y="963"/>
                    </a:lnTo>
                    <a:lnTo>
                      <a:pt x="4967" y="1017"/>
                    </a:lnTo>
                    <a:lnTo>
                      <a:pt x="4977" y="1080"/>
                    </a:lnTo>
                    <a:lnTo>
                      <a:pt x="5002" y="1222"/>
                    </a:lnTo>
                    <a:lnTo>
                      <a:pt x="4946" y="1297"/>
                    </a:lnTo>
                    <a:lnTo>
                      <a:pt x="4862" y="1297"/>
                    </a:lnTo>
                    <a:lnTo>
                      <a:pt x="4848" y="1351"/>
                    </a:lnTo>
                    <a:lnTo>
                      <a:pt x="4845" y="1402"/>
                    </a:lnTo>
                    <a:lnTo>
                      <a:pt x="4839" y="1404"/>
                    </a:lnTo>
                    <a:lnTo>
                      <a:pt x="5002" y="1575"/>
                    </a:lnTo>
                    <a:lnTo>
                      <a:pt x="4935" y="1635"/>
                    </a:lnTo>
                    <a:lnTo>
                      <a:pt x="4891" y="1589"/>
                    </a:lnTo>
                    <a:lnTo>
                      <a:pt x="4866" y="1531"/>
                    </a:lnTo>
                    <a:lnTo>
                      <a:pt x="4852" y="1516"/>
                    </a:lnTo>
                    <a:lnTo>
                      <a:pt x="4793" y="1504"/>
                    </a:lnTo>
                    <a:lnTo>
                      <a:pt x="4754" y="1449"/>
                    </a:lnTo>
                    <a:lnTo>
                      <a:pt x="4704" y="1481"/>
                    </a:lnTo>
                    <a:lnTo>
                      <a:pt x="4681" y="1449"/>
                    </a:lnTo>
                    <a:lnTo>
                      <a:pt x="4681" y="1433"/>
                    </a:lnTo>
                    <a:lnTo>
                      <a:pt x="4649" y="1414"/>
                    </a:lnTo>
                    <a:lnTo>
                      <a:pt x="4632" y="1410"/>
                    </a:lnTo>
                    <a:lnTo>
                      <a:pt x="4593" y="1481"/>
                    </a:lnTo>
                    <a:lnTo>
                      <a:pt x="4593" y="1516"/>
                    </a:lnTo>
                    <a:lnTo>
                      <a:pt x="4639" y="1535"/>
                    </a:lnTo>
                    <a:lnTo>
                      <a:pt x="4751" y="1539"/>
                    </a:lnTo>
                    <a:lnTo>
                      <a:pt x="4751" y="1594"/>
                    </a:lnTo>
                    <a:lnTo>
                      <a:pt x="4704" y="1594"/>
                    </a:lnTo>
                    <a:lnTo>
                      <a:pt x="4701" y="1658"/>
                    </a:lnTo>
                    <a:lnTo>
                      <a:pt x="4701" y="1667"/>
                    </a:lnTo>
                    <a:lnTo>
                      <a:pt x="4760" y="1677"/>
                    </a:lnTo>
                    <a:lnTo>
                      <a:pt x="4852" y="1794"/>
                    </a:lnTo>
                    <a:lnTo>
                      <a:pt x="4858" y="1796"/>
                    </a:lnTo>
                    <a:lnTo>
                      <a:pt x="4810" y="1806"/>
                    </a:lnTo>
                    <a:lnTo>
                      <a:pt x="4858" y="1855"/>
                    </a:lnTo>
                    <a:lnTo>
                      <a:pt x="4806" y="2139"/>
                    </a:lnTo>
                    <a:lnTo>
                      <a:pt x="4632" y="2235"/>
                    </a:lnTo>
                    <a:lnTo>
                      <a:pt x="4597" y="2203"/>
                    </a:lnTo>
                    <a:lnTo>
                      <a:pt x="4593" y="2197"/>
                    </a:lnTo>
                    <a:lnTo>
                      <a:pt x="4576" y="2230"/>
                    </a:lnTo>
                    <a:lnTo>
                      <a:pt x="4626" y="2295"/>
                    </a:lnTo>
                    <a:lnTo>
                      <a:pt x="4597" y="2360"/>
                    </a:lnTo>
                    <a:lnTo>
                      <a:pt x="4580" y="2360"/>
                    </a:lnTo>
                    <a:lnTo>
                      <a:pt x="4561" y="2349"/>
                    </a:lnTo>
                    <a:lnTo>
                      <a:pt x="4576" y="2251"/>
                    </a:lnTo>
                    <a:lnTo>
                      <a:pt x="4561" y="2235"/>
                    </a:lnTo>
                    <a:lnTo>
                      <a:pt x="4474" y="2235"/>
                    </a:lnTo>
                    <a:lnTo>
                      <a:pt x="4465" y="2247"/>
                    </a:lnTo>
                    <a:lnTo>
                      <a:pt x="4453" y="2364"/>
                    </a:lnTo>
                    <a:lnTo>
                      <a:pt x="4593" y="2537"/>
                    </a:lnTo>
                    <a:lnTo>
                      <a:pt x="4593" y="2667"/>
                    </a:lnTo>
                    <a:lnTo>
                      <a:pt x="4488" y="2744"/>
                    </a:lnTo>
                    <a:lnTo>
                      <a:pt x="4401" y="2667"/>
                    </a:lnTo>
                    <a:lnTo>
                      <a:pt x="4388" y="2635"/>
                    </a:lnTo>
                    <a:lnTo>
                      <a:pt x="4361" y="2631"/>
                    </a:lnTo>
                    <a:lnTo>
                      <a:pt x="4349" y="2631"/>
                    </a:lnTo>
                    <a:lnTo>
                      <a:pt x="4280" y="2542"/>
                    </a:lnTo>
                    <a:lnTo>
                      <a:pt x="4280" y="2625"/>
                    </a:lnTo>
                    <a:lnTo>
                      <a:pt x="4294" y="2761"/>
                    </a:lnTo>
                    <a:lnTo>
                      <a:pt x="4294" y="2798"/>
                    </a:lnTo>
                    <a:lnTo>
                      <a:pt x="4415" y="2919"/>
                    </a:lnTo>
                    <a:lnTo>
                      <a:pt x="4465" y="2947"/>
                    </a:lnTo>
                    <a:lnTo>
                      <a:pt x="4482" y="3065"/>
                    </a:lnTo>
                    <a:lnTo>
                      <a:pt x="4488" y="3080"/>
                    </a:lnTo>
                    <a:lnTo>
                      <a:pt x="4465" y="3084"/>
                    </a:lnTo>
                    <a:lnTo>
                      <a:pt x="4453" y="3084"/>
                    </a:lnTo>
                    <a:lnTo>
                      <a:pt x="4346" y="2898"/>
                    </a:lnTo>
                    <a:lnTo>
                      <a:pt x="4276" y="2798"/>
                    </a:lnTo>
                    <a:lnTo>
                      <a:pt x="4192" y="2744"/>
                    </a:lnTo>
                    <a:lnTo>
                      <a:pt x="4182" y="2581"/>
                    </a:lnTo>
                    <a:lnTo>
                      <a:pt x="4171" y="2533"/>
                    </a:lnTo>
                    <a:lnTo>
                      <a:pt x="4171" y="2483"/>
                    </a:lnTo>
                    <a:lnTo>
                      <a:pt x="4063" y="2477"/>
                    </a:lnTo>
                    <a:lnTo>
                      <a:pt x="3962" y="2299"/>
                    </a:lnTo>
                    <a:lnTo>
                      <a:pt x="3893" y="2257"/>
                    </a:lnTo>
                    <a:lnTo>
                      <a:pt x="3846" y="2280"/>
                    </a:lnTo>
                    <a:lnTo>
                      <a:pt x="3701" y="2379"/>
                    </a:lnTo>
                    <a:lnTo>
                      <a:pt x="3566" y="2537"/>
                    </a:lnTo>
                    <a:lnTo>
                      <a:pt x="3487" y="2828"/>
                    </a:lnTo>
                    <a:lnTo>
                      <a:pt x="3464" y="2884"/>
                    </a:lnTo>
                    <a:lnTo>
                      <a:pt x="3464" y="2888"/>
                    </a:lnTo>
                    <a:lnTo>
                      <a:pt x="3418" y="2834"/>
                    </a:lnTo>
                    <a:lnTo>
                      <a:pt x="3393" y="2794"/>
                    </a:lnTo>
                    <a:lnTo>
                      <a:pt x="3390" y="2731"/>
                    </a:lnTo>
                    <a:lnTo>
                      <a:pt x="3288" y="2537"/>
                    </a:lnTo>
                    <a:lnTo>
                      <a:pt x="3284" y="2433"/>
                    </a:lnTo>
                    <a:lnTo>
                      <a:pt x="3219" y="2333"/>
                    </a:lnTo>
                    <a:lnTo>
                      <a:pt x="3201" y="2333"/>
                    </a:lnTo>
                    <a:lnTo>
                      <a:pt x="3173" y="2349"/>
                    </a:lnTo>
                    <a:lnTo>
                      <a:pt x="3159" y="2349"/>
                    </a:lnTo>
                    <a:lnTo>
                      <a:pt x="2971" y="2182"/>
                    </a:lnTo>
                    <a:lnTo>
                      <a:pt x="2804" y="2197"/>
                    </a:lnTo>
                    <a:lnTo>
                      <a:pt x="2595" y="2139"/>
                    </a:lnTo>
                    <a:lnTo>
                      <a:pt x="2507" y="2157"/>
                    </a:lnTo>
                    <a:lnTo>
                      <a:pt x="2334" y="1992"/>
                    </a:lnTo>
                    <a:lnTo>
                      <a:pt x="2261" y="2049"/>
                    </a:lnTo>
                    <a:lnTo>
                      <a:pt x="2299" y="2143"/>
                    </a:lnTo>
                    <a:lnTo>
                      <a:pt x="2434" y="2182"/>
                    </a:lnTo>
                    <a:lnTo>
                      <a:pt x="2434" y="2230"/>
                    </a:lnTo>
                    <a:lnTo>
                      <a:pt x="2466" y="2247"/>
                    </a:lnTo>
                    <a:lnTo>
                      <a:pt x="2503" y="2247"/>
                    </a:lnTo>
                    <a:lnTo>
                      <a:pt x="2595" y="2182"/>
                    </a:lnTo>
                    <a:lnTo>
                      <a:pt x="2616" y="2239"/>
                    </a:lnTo>
                    <a:lnTo>
                      <a:pt x="2716" y="2289"/>
                    </a:lnTo>
                    <a:lnTo>
                      <a:pt x="2716" y="2399"/>
                    </a:lnTo>
                    <a:lnTo>
                      <a:pt x="2685" y="2443"/>
                    </a:lnTo>
                    <a:lnTo>
                      <a:pt x="2685" y="2462"/>
                    </a:lnTo>
                    <a:lnTo>
                      <a:pt x="2299" y="2702"/>
                    </a:lnTo>
                    <a:lnTo>
                      <a:pt x="2228" y="2702"/>
                    </a:lnTo>
                    <a:lnTo>
                      <a:pt x="2186" y="2600"/>
                    </a:lnTo>
                    <a:lnTo>
                      <a:pt x="1985" y="2316"/>
                    </a:lnTo>
                    <a:lnTo>
                      <a:pt x="1917" y="2247"/>
                    </a:lnTo>
                    <a:lnTo>
                      <a:pt x="1894" y="2239"/>
                    </a:lnTo>
                    <a:lnTo>
                      <a:pt x="1789" y="2109"/>
                    </a:lnTo>
                    <a:lnTo>
                      <a:pt x="1789" y="2126"/>
                    </a:lnTo>
                    <a:lnTo>
                      <a:pt x="1835" y="2257"/>
                    </a:lnTo>
                    <a:lnTo>
                      <a:pt x="1917" y="2379"/>
                    </a:lnTo>
                    <a:lnTo>
                      <a:pt x="1927" y="2389"/>
                    </a:lnTo>
                    <a:lnTo>
                      <a:pt x="1927" y="2462"/>
                    </a:lnTo>
                    <a:lnTo>
                      <a:pt x="2180" y="2725"/>
                    </a:lnTo>
                    <a:lnTo>
                      <a:pt x="2261" y="2798"/>
                    </a:lnTo>
                    <a:lnTo>
                      <a:pt x="2317" y="2794"/>
                    </a:lnTo>
                    <a:lnTo>
                      <a:pt x="2438" y="2744"/>
                    </a:lnTo>
                    <a:lnTo>
                      <a:pt x="2489" y="2744"/>
                    </a:lnTo>
                    <a:lnTo>
                      <a:pt x="2485" y="2771"/>
                    </a:lnTo>
                    <a:lnTo>
                      <a:pt x="2401" y="2934"/>
                    </a:lnTo>
                    <a:lnTo>
                      <a:pt x="2386" y="3028"/>
                    </a:lnTo>
                    <a:lnTo>
                      <a:pt x="2100" y="3383"/>
                    </a:lnTo>
                    <a:lnTo>
                      <a:pt x="2104" y="3590"/>
                    </a:lnTo>
                    <a:lnTo>
                      <a:pt x="2127" y="3736"/>
                    </a:lnTo>
                    <a:lnTo>
                      <a:pt x="2127" y="3763"/>
                    </a:lnTo>
                    <a:lnTo>
                      <a:pt x="2140" y="3844"/>
                    </a:lnTo>
                    <a:lnTo>
                      <a:pt x="2140" y="3853"/>
                    </a:lnTo>
                    <a:lnTo>
                      <a:pt x="1927" y="4024"/>
                    </a:lnTo>
                    <a:lnTo>
                      <a:pt x="1913" y="4149"/>
                    </a:lnTo>
                    <a:lnTo>
                      <a:pt x="1904" y="4201"/>
                    </a:lnTo>
                    <a:lnTo>
                      <a:pt x="1904" y="4214"/>
                    </a:lnTo>
                    <a:lnTo>
                      <a:pt x="1819" y="4262"/>
                    </a:lnTo>
                    <a:lnTo>
                      <a:pt x="1626" y="4583"/>
                    </a:lnTo>
                    <a:lnTo>
                      <a:pt x="1522" y="4679"/>
                    </a:lnTo>
                    <a:lnTo>
                      <a:pt x="1322" y="4679"/>
                    </a:lnTo>
                    <a:lnTo>
                      <a:pt x="1280" y="4500"/>
                    </a:lnTo>
                    <a:lnTo>
                      <a:pt x="1171" y="4178"/>
                    </a:lnTo>
                    <a:lnTo>
                      <a:pt x="1092" y="4015"/>
                    </a:lnTo>
                    <a:lnTo>
                      <a:pt x="1115" y="3755"/>
                    </a:lnTo>
                    <a:lnTo>
                      <a:pt x="1128" y="3713"/>
                    </a:lnTo>
                    <a:lnTo>
                      <a:pt x="1128" y="3704"/>
                    </a:lnTo>
                    <a:lnTo>
                      <a:pt x="1092" y="3683"/>
                    </a:lnTo>
                    <a:lnTo>
                      <a:pt x="1092" y="3546"/>
                    </a:lnTo>
                    <a:lnTo>
                      <a:pt x="936" y="3324"/>
                    </a:lnTo>
                    <a:lnTo>
                      <a:pt x="988" y="3193"/>
                    </a:lnTo>
                    <a:lnTo>
                      <a:pt x="921" y="3105"/>
                    </a:lnTo>
                    <a:lnTo>
                      <a:pt x="792" y="3101"/>
                    </a:lnTo>
                    <a:lnTo>
                      <a:pt x="704" y="3007"/>
                    </a:lnTo>
                    <a:lnTo>
                      <a:pt x="649" y="3028"/>
                    </a:lnTo>
                    <a:lnTo>
                      <a:pt x="614" y="3084"/>
                    </a:lnTo>
                    <a:lnTo>
                      <a:pt x="263" y="3101"/>
                    </a:lnTo>
                    <a:lnTo>
                      <a:pt x="124" y="2988"/>
                    </a:lnTo>
                    <a:lnTo>
                      <a:pt x="46" y="2805"/>
                    </a:lnTo>
                    <a:lnTo>
                      <a:pt x="0" y="2744"/>
                    </a:lnTo>
                    <a:lnTo>
                      <a:pt x="17" y="2606"/>
                    </a:lnTo>
                    <a:lnTo>
                      <a:pt x="0" y="2414"/>
                    </a:lnTo>
                    <a:lnTo>
                      <a:pt x="119" y="2166"/>
                    </a:lnTo>
                    <a:lnTo>
                      <a:pt x="132" y="2157"/>
                    </a:lnTo>
                    <a:lnTo>
                      <a:pt x="220" y="2143"/>
                    </a:lnTo>
                    <a:lnTo>
                      <a:pt x="234" y="2122"/>
                    </a:lnTo>
                    <a:lnTo>
                      <a:pt x="263" y="1961"/>
                    </a:lnTo>
                    <a:lnTo>
                      <a:pt x="301" y="1925"/>
                    </a:lnTo>
                    <a:lnTo>
                      <a:pt x="389" y="1861"/>
                    </a:lnTo>
                    <a:lnTo>
                      <a:pt x="547" y="1861"/>
                    </a:lnTo>
                    <a:lnTo>
                      <a:pt x="610" y="1825"/>
                    </a:lnTo>
                    <a:lnTo>
                      <a:pt x="658" y="1815"/>
                    </a:lnTo>
                    <a:lnTo>
                      <a:pt x="827" y="1784"/>
                    </a:lnTo>
                    <a:lnTo>
                      <a:pt x="946" y="1794"/>
                    </a:lnTo>
                    <a:lnTo>
                      <a:pt x="977" y="1802"/>
                    </a:lnTo>
                    <a:lnTo>
                      <a:pt x="984" y="1802"/>
                    </a:lnTo>
                    <a:lnTo>
                      <a:pt x="1002" y="1853"/>
                    </a:lnTo>
                    <a:lnTo>
                      <a:pt x="1025" y="1951"/>
                    </a:lnTo>
                    <a:lnTo>
                      <a:pt x="1115" y="1997"/>
                    </a:lnTo>
                    <a:lnTo>
                      <a:pt x="1148" y="2049"/>
                    </a:lnTo>
                    <a:lnTo>
                      <a:pt x="1322" y="2011"/>
                    </a:lnTo>
                    <a:lnTo>
                      <a:pt x="1328" y="1944"/>
                    </a:lnTo>
                    <a:lnTo>
                      <a:pt x="1341" y="1919"/>
                    </a:lnTo>
                    <a:lnTo>
                      <a:pt x="1518" y="2011"/>
                    </a:lnTo>
                    <a:lnTo>
                      <a:pt x="1583" y="1997"/>
                    </a:lnTo>
                    <a:lnTo>
                      <a:pt x="1587" y="1992"/>
                    </a:lnTo>
                    <a:lnTo>
                      <a:pt x="1591" y="2047"/>
                    </a:lnTo>
                    <a:lnTo>
                      <a:pt x="1612" y="2049"/>
                    </a:lnTo>
                    <a:lnTo>
                      <a:pt x="1626" y="2049"/>
                    </a:lnTo>
                    <a:lnTo>
                      <a:pt x="1626" y="2080"/>
                    </a:lnTo>
                    <a:lnTo>
                      <a:pt x="1637" y="2080"/>
                    </a:lnTo>
                    <a:lnTo>
                      <a:pt x="1802" y="1992"/>
                    </a:lnTo>
                    <a:lnTo>
                      <a:pt x="1819" y="1844"/>
                    </a:lnTo>
                    <a:lnTo>
                      <a:pt x="1819" y="1771"/>
                    </a:lnTo>
                    <a:lnTo>
                      <a:pt x="1798" y="1771"/>
                    </a:lnTo>
                    <a:lnTo>
                      <a:pt x="1702" y="1802"/>
                    </a:lnTo>
                    <a:lnTo>
                      <a:pt x="1522" y="1765"/>
                    </a:lnTo>
                    <a:lnTo>
                      <a:pt x="1489" y="1734"/>
                    </a:lnTo>
                    <a:lnTo>
                      <a:pt x="1485" y="1671"/>
                    </a:lnTo>
                    <a:lnTo>
                      <a:pt x="1518" y="1614"/>
                    </a:lnTo>
                    <a:lnTo>
                      <a:pt x="1518" y="1598"/>
                    </a:lnTo>
                    <a:lnTo>
                      <a:pt x="1651" y="1569"/>
                    </a:lnTo>
                    <a:lnTo>
                      <a:pt x="1785" y="1521"/>
                    </a:lnTo>
                    <a:lnTo>
                      <a:pt x="1904" y="1575"/>
                    </a:lnTo>
                    <a:lnTo>
                      <a:pt x="2006" y="1544"/>
                    </a:lnTo>
                    <a:lnTo>
                      <a:pt x="2011" y="1544"/>
                    </a:lnTo>
                    <a:lnTo>
                      <a:pt x="2011" y="1531"/>
                    </a:lnTo>
                    <a:lnTo>
                      <a:pt x="1998" y="1510"/>
                    </a:lnTo>
                    <a:lnTo>
                      <a:pt x="1921" y="1500"/>
                    </a:lnTo>
                    <a:lnTo>
                      <a:pt x="1821" y="1433"/>
                    </a:lnTo>
                    <a:lnTo>
                      <a:pt x="1816" y="1410"/>
                    </a:lnTo>
                    <a:lnTo>
                      <a:pt x="1802" y="1410"/>
                    </a:lnTo>
                    <a:lnTo>
                      <a:pt x="1779" y="1449"/>
                    </a:lnTo>
                    <a:lnTo>
                      <a:pt x="1685" y="1443"/>
                    </a:lnTo>
                    <a:lnTo>
                      <a:pt x="1629" y="1410"/>
                    </a:lnTo>
                    <a:lnTo>
                      <a:pt x="1608" y="1410"/>
                    </a:lnTo>
                    <a:lnTo>
                      <a:pt x="1514" y="1514"/>
                    </a:lnTo>
                    <a:lnTo>
                      <a:pt x="1503" y="1594"/>
                    </a:lnTo>
                    <a:lnTo>
                      <a:pt x="1489" y="1594"/>
                    </a:lnTo>
                    <a:lnTo>
                      <a:pt x="1480" y="1604"/>
                    </a:lnTo>
                    <a:lnTo>
                      <a:pt x="1480" y="1617"/>
                    </a:lnTo>
                    <a:lnTo>
                      <a:pt x="1403" y="1667"/>
                    </a:lnTo>
                    <a:lnTo>
                      <a:pt x="1397" y="1677"/>
                    </a:lnTo>
                    <a:lnTo>
                      <a:pt x="1397" y="1784"/>
                    </a:lnTo>
                    <a:lnTo>
                      <a:pt x="1341" y="1784"/>
                    </a:lnTo>
                    <a:lnTo>
                      <a:pt x="1341" y="1727"/>
                    </a:lnTo>
                    <a:lnTo>
                      <a:pt x="1234" y="1575"/>
                    </a:lnTo>
                    <a:lnTo>
                      <a:pt x="1115" y="1504"/>
                    </a:lnTo>
                    <a:lnTo>
                      <a:pt x="1042" y="1504"/>
                    </a:lnTo>
                    <a:lnTo>
                      <a:pt x="1036" y="1510"/>
                    </a:lnTo>
                    <a:lnTo>
                      <a:pt x="1036" y="1516"/>
                    </a:lnTo>
                    <a:lnTo>
                      <a:pt x="1230" y="1629"/>
                    </a:lnTo>
                    <a:lnTo>
                      <a:pt x="1230" y="1648"/>
                    </a:lnTo>
                    <a:lnTo>
                      <a:pt x="1207" y="1683"/>
                    </a:lnTo>
                    <a:lnTo>
                      <a:pt x="1148" y="1761"/>
                    </a:lnTo>
                    <a:lnTo>
                      <a:pt x="1144" y="1671"/>
                    </a:lnTo>
                    <a:lnTo>
                      <a:pt x="1019" y="1594"/>
                    </a:lnTo>
                    <a:lnTo>
                      <a:pt x="1002" y="1594"/>
                    </a:lnTo>
                    <a:lnTo>
                      <a:pt x="904" y="1504"/>
                    </a:lnTo>
                    <a:lnTo>
                      <a:pt x="827" y="1510"/>
                    </a:lnTo>
                    <a:lnTo>
                      <a:pt x="798" y="1521"/>
                    </a:lnTo>
                    <a:lnTo>
                      <a:pt x="654" y="1521"/>
                    </a:lnTo>
                    <a:lnTo>
                      <a:pt x="599" y="1711"/>
                    </a:lnTo>
                    <a:lnTo>
                      <a:pt x="599" y="1731"/>
                    </a:lnTo>
                    <a:lnTo>
                      <a:pt x="497" y="1802"/>
                    </a:lnTo>
                    <a:lnTo>
                      <a:pt x="318" y="1802"/>
                    </a:lnTo>
                    <a:lnTo>
                      <a:pt x="263" y="1708"/>
                    </a:lnTo>
                    <a:lnTo>
                      <a:pt x="318" y="1594"/>
                    </a:lnTo>
                    <a:lnTo>
                      <a:pt x="318" y="1521"/>
                    </a:lnTo>
                    <a:lnTo>
                      <a:pt x="349" y="1485"/>
                    </a:lnTo>
                    <a:lnTo>
                      <a:pt x="460" y="1491"/>
                    </a:lnTo>
                    <a:lnTo>
                      <a:pt x="543" y="1521"/>
                    </a:lnTo>
                    <a:lnTo>
                      <a:pt x="547" y="1410"/>
                    </a:lnTo>
                    <a:lnTo>
                      <a:pt x="460" y="1320"/>
                    </a:lnTo>
                    <a:lnTo>
                      <a:pt x="483" y="1301"/>
                    </a:lnTo>
                    <a:lnTo>
                      <a:pt x="606" y="1257"/>
                    </a:lnTo>
                    <a:lnTo>
                      <a:pt x="677" y="1207"/>
                    </a:lnTo>
                    <a:lnTo>
                      <a:pt x="831" y="1113"/>
                    </a:lnTo>
                    <a:lnTo>
                      <a:pt x="900" y="1053"/>
                    </a:lnTo>
                    <a:lnTo>
                      <a:pt x="900" y="957"/>
                    </a:lnTo>
                    <a:lnTo>
                      <a:pt x="917" y="940"/>
                    </a:lnTo>
                    <a:lnTo>
                      <a:pt x="921" y="940"/>
                    </a:lnTo>
                    <a:lnTo>
                      <a:pt x="933" y="955"/>
                    </a:lnTo>
                    <a:lnTo>
                      <a:pt x="933" y="1049"/>
                    </a:lnTo>
                    <a:lnTo>
                      <a:pt x="1105" y="1124"/>
                    </a:lnTo>
                    <a:lnTo>
                      <a:pt x="1148" y="1103"/>
                    </a:lnTo>
                    <a:lnTo>
                      <a:pt x="1269" y="1017"/>
                    </a:lnTo>
                    <a:lnTo>
                      <a:pt x="1272" y="971"/>
                    </a:lnTo>
                    <a:lnTo>
                      <a:pt x="1272" y="957"/>
                    </a:lnTo>
                    <a:lnTo>
                      <a:pt x="1336" y="940"/>
                    </a:lnTo>
                    <a:lnTo>
                      <a:pt x="1351" y="917"/>
                    </a:lnTo>
                    <a:lnTo>
                      <a:pt x="1374" y="871"/>
                    </a:lnTo>
                    <a:lnTo>
                      <a:pt x="1403" y="855"/>
                    </a:lnTo>
                    <a:lnTo>
                      <a:pt x="1336" y="855"/>
                    </a:lnTo>
                    <a:lnTo>
                      <a:pt x="1297" y="865"/>
                    </a:lnTo>
                    <a:lnTo>
                      <a:pt x="1290" y="865"/>
                    </a:lnTo>
                    <a:lnTo>
                      <a:pt x="1221" y="758"/>
                    </a:lnTo>
                    <a:lnTo>
                      <a:pt x="1293" y="685"/>
                    </a:lnTo>
                    <a:lnTo>
                      <a:pt x="1305" y="677"/>
                    </a:lnTo>
                    <a:lnTo>
                      <a:pt x="1322" y="658"/>
                    </a:lnTo>
                    <a:lnTo>
                      <a:pt x="1290" y="639"/>
                    </a:lnTo>
                    <a:lnTo>
                      <a:pt x="1132" y="752"/>
                    </a:lnTo>
                    <a:lnTo>
                      <a:pt x="1184" y="865"/>
                    </a:lnTo>
                    <a:lnTo>
                      <a:pt x="1144" y="886"/>
                    </a:lnTo>
                    <a:lnTo>
                      <a:pt x="1144" y="923"/>
                    </a:lnTo>
                    <a:lnTo>
                      <a:pt x="1115" y="936"/>
                    </a:lnTo>
                    <a:lnTo>
                      <a:pt x="1115" y="963"/>
                    </a:lnTo>
                    <a:lnTo>
                      <a:pt x="1128" y="999"/>
                    </a:lnTo>
                    <a:lnTo>
                      <a:pt x="1128" y="1011"/>
                    </a:lnTo>
                    <a:lnTo>
                      <a:pt x="1042" y="1011"/>
                    </a:lnTo>
                    <a:lnTo>
                      <a:pt x="1025" y="940"/>
                    </a:lnTo>
                    <a:lnTo>
                      <a:pt x="933" y="882"/>
                    </a:lnTo>
                    <a:lnTo>
                      <a:pt x="831" y="940"/>
                    </a:lnTo>
                    <a:lnTo>
                      <a:pt x="792" y="865"/>
                    </a:lnTo>
                    <a:lnTo>
                      <a:pt x="812" y="742"/>
                    </a:lnTo>
                    <a:lnTo>
                      <a:pt x="812" y="733"/>
                    </a:lnTo>
                    <a:lnTo>
                      <a:pt x="1006" y="658"/>
                    </a:lnTo>
                    <a:lnTo>
                      <a:pt x="1140" y="458"/>
                    </a:lnTo>
                    <a:lnTo>
                      <a:pt x="1203" y="422"/>
                    </a:lnTo>
                    <a:lnTo>
                      <a:pt x="1341" y="358"/>
                    </a:lnTo>
                    <a:lnTo>
                      <a:pt x="1426" y="391"/>
                    </a:lnTo>
                    <a:lnTo>
                      <a:pt x="1434" y="451"/>
                    </a:lnTo>
                    <a:lnTo>
                      <a:pt x="1651" y="452"/>
                    </a:lnTo>
                    <a:lnTo>
                      <a:pt x="1714" y="472"/>
                    </a:lnTo>
                    <a:lnTo>
                      <a:pt x="1779" y="558"/>
                    </a:lnTo>
                    <a:lnTo>
                      <a:pt x="1779" y="564"/>
                    </a:lnTo>
                    <a:lnTo>
                      <a:pt x="1675" y="579"/>
                    </a:lnTo>
                    <a:lnTo>
                      <a:pt x="1597" y="579"/>
                    </a:lnTo>
                    <a:lnTo>
                      <a:pt x="1597" y="594"/>
                    </a:lnTo>
                    <a:lnTo>
                      <a:pt x="1626" y="658"/>
                    </a:lnTo>
                    <a:lnTo>
                      <a:pt x="1685" y="639"/>
                    </a:lnTo>
                    <a:lnTo>
                      <a:pt x="1771" y="658"/>
                    </a:lnTo>
                    <a:lnTo>
                      <a:pt x="1779" y="658"/>
                    </a:lnTo>
                    <a:lnTo>
                      <a:pt x="1785" y="579"/>
                    </a:lnTo>
                    <a:lnTo>
                      <a:pt x="2121" y="445"/>
                    </a:lnTo>
                    <a:lnTo>
                      <a:pt x="2228" y="412"/>
                    </a:lnTo>
                    <a:lnTo>
                      <a:pt x="2261" y="378"/>
                    </a:lnTo>
                    <a:lnTo>
                      <a:pt x="2393" y="445"/>
                    </a:lnTo>
                    <a:lnTo>
                      <a:pt x="2395" y="451"/>
                    </a:lnTo>
                    <a:lnTo>
                      <a:pt x="2395" y="431"/>
                    </a:lnTo>
                    <a:lnTo>
                      <a:pt x="2366" y="355"/>
                    </a:lnTo>
                    <a:lnTo>
                      <a:pt x="2366" y="266"/>
                    </a:lnTo>
                    <a:lnTo>
                      <a:pt x="2438" y="266"/>
                    </a:lnTo>
                    <a:lnTo>
                      <a:pt x="2493" y="358"/>
                    </a:lnTo>
                    <a:lnTo>
                      <a:pt x="2545" y="397"/>
                    </a:lnTo>
                    <a:lnTo>
                      <a:pt x="2574" y="495"/>
                    </a:lnTo>
                    <a:lnTo>
                      <a:pt x="2574" y="500"/>
                    </a:lnTo>
                    <a:lnTo>
                      <a:pt x="2578" y="504"/>
                    </a:lnTo>
                    <a:lnTo>
                      <a:pt x="2614" y="418"/>
                    </a:lnTo>
                    <a:lnTo>
                      <a:pt x="2614" y="408"/>
                    </a:lnTo>
                    <a:lnTo>
                      <a:pt x="2507" y="295"/>
                    </a:lnTo>
                    <a:lnTo>
                      <a:pt x="2507" y="266"/>
                    </a:lnTo>
                    <a:lnTo>
                      <a:pt x="2578" y="266"/>
                    </a:lnTo>
                    <a:lnTo>
                      <a:pt x="2578" y="293"/>
                    </a:lnTo>
                    <a:lnTo>
                      <a:pt x="2583" y="295"/>
                    </a:lnTo>
                    <a:lnTo>
                      <a:pt x="2614" y="266"/>
                    </a:lnTo>
                    <a:lnTo>
                      <a:pt x="2614" y="172"/>
                    </a:lnTo>
                    <a:lnTo>
                      <a:pt x="2706" y="172"/>
                    </a:lnTo>
                    <a:lnTo>
                      <a:pt x="2795" y="113"/>
                    </a:lnTo>
                    <a:lnTo>
                      <a:pt x="2965" y="76"/>
                    </a:lnTo>
                    <a:lnTo>
                      <a:pt x="2975" y="17"/>
                    </a:lnTo>
                    <a:lnTo>
                      <a:pt x="3027" y="0"/>
                    </a:lnTo>
                    <a:lnTo>
                      <a:pt x="3067" y="17"/>
                    </a:lnTo>
                    <a:lnTo>
                      <a:pt x="3288" y="4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5" name="Freeform 178"/>
              <p:cNvSpPr>
                <a:spLocks/>
              </p:cNvSpPr>
              <p:nvPr/>
            </p:nvSpPr>
            <p:spPr bwMode="gray">
              <a:xfrm>
                <a:off x="4841" y="2529"/>
                <a:ext cx="175" cy="199"/>
              </a:xfrm>
              <a:custGeom>
                <a:avLst/>
                <a:gdLst>
                  <a:gd name="T0" fmla="*/ 0 w 351"/>
                  <a:gd name="T1" fmla="*/ 1 h 398"/>
                  <a:gd name="T2" fmla="*/ 0 w 351"/>
                  <a:gd name="T3" fmla="*/ 1 h 398"/>
                  <a:gd name="T4" fmla="*/ 0 w 351"/>
                  <a:gd name="T5" fmla="*/ 1 h 398"/>
                  <a:gd name="T6" fmla="*/ 0 w 351"/>
                  <a:gd name="T7" fmla="*/ 1 h 398"/>
                  <a:gd name="T8" fmla="*/ 0 w 351"/>
                  <a:gd name="T9" fmla="*/ 1 h 398"/>
                  <a:gd name="T10" fmla="*/ 0 w 351"/>
                  <a:gd name="T11" fmla="*/ 1 h 398"/>
                  <a:gd name="T12" fmla="*/ 0 w 351"/>
                  <a:gd name="T13" fmla="*/ 1 h 398"/>
                  <a:gd name="T14" fmla="*/ 0 w 351"/>
                  <a:gd name="T15" fmla="*/ 1 h 398"/>
                  <a:gd name="T16" fmla="*/ 0 w 351"/>
                  <a:gd name="T17" fmla="*/ 1 h 398"/>
                  <a:gd name="T18" fmla="*/ 0 w 351"/>
                  <a:gd name="T19" fmla="*/ 1 h 398"/>
                  <a:gd name="T20" fmla="*/ 0 w 351"/>
                  <a:gd name="T21" fmla="*/ 1 h 398"/>
                  <a:gd name="T22" fmla="*/ 0 w 351"/>
                  <a:gd name="T23" fmla="*/ 1 h 398"/>
                  <a:gd name="T24" fmla="*/ 0 w 351"/>
                  <a:gd name="T25" fmla="*/ 1 h 398"/>
                  <a:gd name="T26" fmla="*/ 0 w 351"/>
                  <a:gd name="T27" fmla="*/ 0 h 398"/>
                  <a:gd name="T28" fmla="*/ 0 w 351"/>
                  <a:gd name="T29" fmla="*/ 0 h 398"/>
                  <a:gd name="T30" fmla="*/ 0 w 351"/>
                  <a:gd name="T31" fmla="*/ 1 h 3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1"/>
                  <a:gd name="T49" fmla="*/ 0 h 398"/>
                  <a:gd name="T50" fmla="*/ 351 w 351"/>
                  <a:gd name="T51" fmla="*/ 398 h 3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1" h="398">
                    <a:moveTo>
                      <a:pt x="351" y="37"/>
                    </a:moveTo>
                    <a:lnTo>
                      <a:pt x="276" y="52"/>
                    </a:lnTo>
                    <a:lnTo>
                      <a:pt x="276" y="65"/>
                    </a:lnTo>
                    <a:lnTo>
                      <a:pt x="297" y="98"/>
                    </a:lnTo>
                    <a:lnTo>
                      <a:pt x="307" y="146"/>
                    </a:lnTo>
                    <a:lnTo>
                      <a:pt x="351" y="192"/>
                    </a:lnTo>
                    <a:lnTo>
                      <a:pt x="236" y="398"/>
                    </a:lnTo>
                    <a:lnTo>
                      <a:pt x="21" y="378"/>
                    </a:lnTo>
                    <a:lnTo>
                      <a:pt x="13" y="315"/>
                    </a:lnTo>
                    <a:lnTo>
                      <a:pt x="0" y="181"/>
                    </a:lnTo>
                    <a:lnTo>
                      <a:pt x="113" y="113"/>
                    </a:lnTo>
                    <a:lnTo>
                      <a:pt x="165" y="37"/>
                    </a:lnTo>
                    <a:lnTo>
                      <a:pt x="240" y="19"/>
                    </a:lnTo>
                    <a:lnTo>
                      <a:pt x="253" y="0"/>
                    </a:lnTo>
                    <a:lnTo>
                      <a:pt x="351" y="0"/>
                    </a:lnTo>
                    <a:lnTo>
                      <a:pt x="351" y="3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6" name="Freeform 179"/>
              <p:cNvSpPr>
                <a:spLocks/>
              </p:cNvSpPr>
              <p:nvPr/>
            </p:nvSpPr>
            <p:spPr bwMode="gray">
              <a:xfrm>
                <a:off x="4595" y="2576"/>
                <a:ext cx="192" cy="199"/>
              </a:xfrm>
              <a:custGeom>
                <a:avLst/>
                <a:gdLst>
                  <a:gd name="T0" fmla="*/ 1 w 384"/>
                  <a:gd name="T1" fmla="*/ 1 h 398"/>
                  <a:gd name="T2" fmla="*/ 1 w 384"/>
                  <a:gd name="T3" fmla="*/ 1 h 398"/>
                  <a:gd name="T4" fmla="*/ 1 w 384"/>
                  <a:gd name="T5" fmla="*/ 1 h 398"/>
                  <a:gd name="T6" fmla="*/ 1 w 384"/>
                  <a:gd name="T7" fmla="*/ 1 h 398"/>
                  <a:gd name="T8" fmla="*/ 1 w 384"/>
                  <a:gd name="T9" fmla="*/ 1 h 398"/>
                  <a:gd name="T10" fmla="*/ 1 w 384"/>
                  <a:gd name="T11" fmla="*/ 1 h 398"/>
                  <a:gd name="T12" fmla="*/ 1 w 384"/>
                  <a:gd name="T13" fmla="*/ 1 h 398"/>
                  <a:gd name="T14" fmla="*/ 1 w 384"/>
                  <a:gd name="T15" fmla="*/ 1 h 398"/>
                  <a:gd name="T16" fmla="*/ 1 w 384"/>
                  <a:gd name="T17" fmla="*/ 1 h 398"/>
                  <a:gd name="T18" fmla="*/ 1 w 384"/>
                  <a:gd name="T19" fmla="*/ 1 h 398"/>
                  <a:gd name="T20" fmla="*/ 1 w 384"/>
                  <a:gd name="T21" fmla="*/ 1 h 398"/>
                  <a:gd name="T22" fmla="*/ 1 w 384"/>
                  <a:gd name="T23" fmla="*/ 1 h 398"/>
                  <a:gd name="T24" fmla="*/ 1 w 384"/>
                  <a:gd name="T25" fmla="*/ 1 h 398"/>
                  <a:gd name="T26" fmla="*/ 1 w 384"/>
                  <a:gd name="T27" fmla="*/ 1 h 398"/>
                  <a:gd name="T28" fmla="*/ 1 w 384"/>
                  <a:gd name="T29" fmla="*/ 1 h 398"/>
                  <a:gd name="T30" fmla="*/ 1 w 384"/>
                  <a:gd name="T31" fmla="*/ 1 h 398"/>
                  <a:gd name="T32" fmla="*/ 0 w 384"/>
                  <a:gd name="T33" fmla="*/ 1 h 398"/>
                  <a:gd name="T34" fmla="*/ 1 w 384"/>
                  <a:gd name="T35" fmla="*/ 1 h 398"/>
                  <a:gd name="T36" fmla="*/ 1 w 384"/>
                  <a:gd name="T37" fmla="*/ 0 h 398"/>
                  <a:gd name="T38" fmla="*/ 1 w 384"/>
                  <a:gd name="T39" fmla="*/ 1 h 398"/>
                  <a:gd name="T40" fmla="*/ 1 w 384"/>
                  <a:gd name="T41" fmla="*/ 1 h 3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84"/>
                  <a:gd name="T64" fmla="*/ 0 h 398"/>
                  <a:gd name="T65" fmla="*/ 384 w 384"/>
                  <a:gd name="T66" fmla="*/ 398 h 3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84" h="398">
                    <a:moveTo>
                      <a:pt x="350" y="263"/>
                    </a:moveTo>
                    <a:lnTo>
                      <a:pt x="363" y="242"/>
                    </a:lnTo>
                    <a:lnTo>
                      <a:pt x="363" y="238"/>
                    </a:lnTo>
                    <a:lnTo>
                      <a:pt x="367" y="233"/>
                    </a:lnTo>
                    <a:lnTo>
                      <a:pt x="384" y="267"/>
                    </a:lnTo>
                    <a:lnTo>
                      <a:pt x="367" y="307"/>
                    </a:lnTo>
                    <a:lnTo>
                      <a:pt x="384" y="378"/>
                    </a:lnTo>
                    <a:lnTo>
                      <a:pt x="359" y="392"/>
                    </a:lnTo>
                    <a:lnTo>
                      <a:pt x="354" y="398"/>
                    </a:lnTo>
                    <a:lnTo>
                      <a:pt x="198" y="284"/>
                    </a:lnTo>
                    <a:lnTo>
                      <a:pt x="187" y="223"/>
                    </a:lnTo>
                    <a:lnTo>
                      <a:pt x="187" y="221"/>
                    </a:lnTo>
                    <a:lnTo>
                      <a:pt x="162" y="217"/>
                    </a:lnTo>
                    <a:lnTo>
                      <a:pt x="150" y="217"/>
                    </a:lnTo>
                    <a:lnTo>
                      <a:pt x="102" y="114"/>
                    </a:lnTo>
                    <a:lnTo>
                      <a:pt x="58" y="83"/>
                    </a:lnTo>
                    <a:lnTo>
                      <a:pt x="0" y="23"/>
                    </a:lnTo>
                    <a:lnTo>
                      <a:pt x="31" y="4"/>
                    </a:lnTo>
                    <a:lnTo>
                      <a:pt x="44" y="0"/>
                    </a:lnTo>
                    <a:lnTo>
                      <a:pt x="269" y="146"/>
                    </a:lnTo>
                    <a:lnTo>
                      <a:pt x="350" y="26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7" name="Freeform 180"/>
              <p:cNvSpPr>
                <a:spLocks/>
              </p:cNvSpPr>
              <p:nvPr/>
            </p:nvSpPr>
            <p:spPr bwMode="gray">
              <a:xfrm>
                <a:off x="5267" y="2642"/>
                <a:ext cx="345" cy="227"/>
              </a:xfrm>
              <a:custGeom>
                <a:avLst/>
                <a:gdLst>
                  <a:gd name="T0" fmla="*/ 1 w 689"/>
                  <a:gd name="T1" fmla="*/ 1 h 453"/>
                  <a:gd name="T2" fmla="*/ 1 w 689"/>
                  <a:gd name="T3" fmla="*/ 1 h 453"/>
                  <a:gd name="T4" fmla="*/ 1 w 689"/>
                  <a:gd name="T5" fmla="*/ 1 h 453"/>
                  <a:gd name="T6" fmla="*/ 1 w 689"/>
                  <a:gd name="T7" fmla="*/ 1 h 453"/>
                  <a:gd name="T8" fmla="*/ 1 w 689"/>
                  <a:gd name="T9" fmla="*/ 1 h 453"/>
                  <a:gd name="T10" fmla="*/ 1 w 689"/>
                  <a:gd name="T11" fmla="*/ 1 h 453"/>
                  <a:gd name="T12" fmla="*/ 1 w 689"/>
                  <a:gd name="T13" fmla="*/ 1 h 453"/>
                  <a:gd name="T14" fmla="*/ 1 w 689"/>
                  <a:gd name="T15" fmla="*/ 1 h 453"/>
                  <a:gd name="T16" fmla="*/ 1 w 689"/>
                  <a:gd name="T17" fmla="*/ 1 h 453"/>
                  <a:gd name="T18" fmla="*/ 1 w 689"/>
                  <a:gd name="T19" fmla="*/ 1 h 453"/>
                  <a:gd name="T20" fmla="*/ 1 w 689"/>
                  <a:gd name="T21" fmla="*/ 1 h 453"/>
                  <a:gd name="T22" fmla="*/ 1 w 689"/>
                  <a:gd name="T23" fmla="*/ 1 h 453"/>
                  <a:gd name="T24" fmla="*/ 1 w 689"/>
                  <a:gd name="T25" fmla="*/ 1 h 453"/>
                  <a:gd name="T26" fmla="*/ 1 w 689"/>
                  <a:gd name="T27" fmla="*/ 1 h 453"/>
                  <a:gd name="T28" fmla="*/ 1 w 689"/>
                  <a:gd name="T29" fmla="*/ 1 h 453"/>
                  <a:gd name="T30" fmla="*/ 1 w 689"/>
                  <a:gd name="T31" fmla="*/ 1 h 453"/>
                  <a:gd name="T32" fmla="*/ 1 w 689"/>
                  <a:gd name="T33" fmla="*/ 1 h 453"/>
                  <a:gd name="T34" fmla="*/ 1 w 689"/>
                  <a:gd name="T35" fmla="*/ 1 h 453"/>
                  <a:gd name="T36" fmla="*/ 1 w 689"/>
                  <a:gd name="T37" fmla="*/ 1 h 453"/>
                  <a:gd name="T38" fmla="*/ 1 w 689"/>
                  <a:gd name="T39" fmla="*/ 1 h 453"/>
                  <a:gd name="T40" fmla="*/ 0 w 689"/>
                  <a:gd name="T41" fmla="*/ 1 h 453"/>
                  <a:gd name="T42" fmla="*/ 1 w 689"/>
                  <a:gd name="T43" fmla="*/ 0 h 453"/>
                  <a:gd name="T44" fmla="*/ 1 w 689"/>
                  <a:gd name="T45" fmla="*/ 1 h 453"/>
                  <a:gd name="T46" fmla="*/ 1 w 689"/>
                  <a:gd name="T47" fmla="*/ 1 h 4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9"/>
                  <a:gd name="T73" fmla="*/ 0 h 453"/>
                  <a:gd name="T74" fmla="*/ 689 w 689"/>
                  <a:gd name="T75" fmla="*/ 453 h 4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9" h="453">
                    <a:moveTo>
                      <a:pt x="152" y="159"/>
                    </a:moveTo>
                    <a:lnTo>
                      <a:pt x="228" y="88"/>
                    </a:lnTo>
                    <a:lnTo>
                      <a:pt x="269" y="94"/>
                    </a:lnTo>
                    <a:lnTo>
                      <a:pt x="461" y="178"/>
                    </a:lnTo>
                    <a:lnTo>
                      <a:pt x="603" y="251"/>
                    </a:lnTo>
                    <a:lnTo>
                      <a:pt x="539" y="290"/>
                    </a:lnTo>
                    <a:lnTo>
                      <a:pt x="679" y="407"/>
                    </a:lnTo>
                    <a:lnTo>
                      <a:pt x="689" y="416"/>
                    </a:lnTo>
                    <a:lnTo>
                      <a:pt x="689" y="453"/>
                    </a:lnTo>
                    <a:lnTo>
                      <a:pt x="607" y="453"/>
                    </a:lnTo>
                    <a:lnTo>
                      <a:pt x="518" y="361"/>
                    </a:lnTo>
                    <a:lnTo>
                      <a:pt x="440" y="345"/>
                    </a:lnTo>
                    <a:lnTo>
                      <a:pt x="436" y="343"/>
                    </a:lnTo>
                    <a:lnTo>
                      <a:pt x="426" y="385"/>
                    </a:lnTo>
                    <a:lnTo>
                      <a:pt x="388" y="412"/>
                    </a:lnTo>
                    <a:lnTo>
                      <a:pt x="369" y="412"/>
                    </a:lnTo>
                    <a:lnTo>
                      <a:pt x="257" y="361"/>
                    </a:lnTo>
                    <a:lnTo>
                      <a:pt x="257" y="253"/>
                    </a:lnTo>
                    <a:lnTo>
                      <a:pt x="152" y="236"/>
                    </a:lnTo>
                    <a:lnTo>
                      <a:pt x="52" y="165"/>
                    </a:lnTo>
                    <a:lnTo>
                      <a:pt x="0" y="21"/>
                    </a:lnTo>
                    <a:lnTo>
                      <a:pt x="48" y="0"/>
                    </a:lnTo>
                    <a:lnTo>
                      <a:pt x="104" y="107"/>
                    </a:lnTo>
                    <a:lnTo>
                      <a:pt x="152" y="15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8" name="Freeform 181"/>
              <p:cNvSpPr>
                <a:spLocks/>
              </p:cNvSpPr>
              <p:nvPr/>
            </p:nvSpPr>
            <p:spPr bwMode="gray">
              <a:xfrm>
                <a:off x="4841" y="2877"/>
                <a:ext cx="725" cy="651"/>
              </a:xfrm>
              <a:custGeom>
                <a:avLst/>
                <a:gdLst>
                  <a:gd name="T0" fmla="*/ 0 w 1451"/>
                  <a:gd name="T1" fmla="*/ 1 h 1301"/>
                  <a:gd name="T2" fmla="*/ 0 w 1451"/>
                  <a:gd name="T3" fmla="*/ 1 h 1301"/>
                  <a:gd name="T4" fmla="*/ 0 w 1451"/>
                  <a:gd name="T5" fmla="*/ 1 h 1301"/>
                  <a:gd name="T6" fmla="*/ 0 w 1451"/>
                  <a:gd name="T7" fmla="*/ 1 h 1301"/>
                  <a:gd name="T8" fmla="*/ 0 w 1451"/>
                  <a:gd name="T9" fmla="*/ 1 h 1301"/>
                  <a:gd name="T10" fmla="*/ 0 w 1451"/>
                  <a:gd name="T11" fmla="*/ 1 h 1301"/>
                  <a:gd name="T12" fmla="*/ 0 w 1451"/>
                  <a:gd name="T13" fmla="*/ 1 h 1301"/>
                  <a:gd name="T14" fmla="*/ 0 w 1451"/>
                  <a:gd name="T15" fmla="*/ 1 h 1301"/>
                  <a:gd name="T16" fmla="*/ 0 w 1451"/>
                  <a:gd name="T17" fmla="*/ 1 h 1301"/>
                  <a:gd name="T18" fmla="*/ 0 w 1451"/>
                  <a:gd name="T19" fmla="*/ 1 h 1301"/>
                  <a:gd name="T20" fmla="*/ 0 w 1451"/>
                  <a:gd name="T21" fmla="*/ 1 h 1301"/>
                  <a:gd name="T22" fmla="*/ 0 w 1451"/>
                  <a:gd name="T23" fmla="*/ 1 h 1301"/>
                  <a:gd name="T24" fmla="*/ 0 w 1451"/>
                  <a:gd name="T25" fmla="*/ 1 h 1301"/>
                  <a:gd name="T26" fmla="*/ 0 w 1451"/>
                  <a:gd name="T27" fmla="*/ 1 h 1301"/>
                  <a:gd name="T28" fmla="*/ 0 w 1451"/>
                  <a:gd name="T29" fmla="*/ 1 h 1301"/>
                  <a:gd name="T30" fmla="*/ 0 w 1451"/>
                  <a:gd name="T31" fmla="*/ 1 h 1301"/>
                  <a:gd name="T32" fmla="*/ 0 w 1451"/>
                  <a:gd name="T33" fmla="*/ 1 h 1301"/>
                  <a:gd name="T34" fmla="*/ 0 w 1451"/>
                  <a:gd name="T35" fmla="*/ 1 h 1301"/>
                  <a:gd name="T36" fmla="*/ 0 w 1451"/>
                  <a:gd name="T37" fmla="*/ 1 h 1301"/>
                  <a:gd name="T38" fmla="*/ 0 w 1451"/>
                  <a:gd name="T39" fmla="*/ 1 h 1301"/>
                  <a:gd name="T40" fmla="*/ 0 w 1451"/>
                  <a:gd name="T41" fmla="*/ 1 h 1301"/>
                  <a:gd name="T42" fmla="*/ 0 w 1451"/>
                  <a:gd name="T43" fmla="*/ 1 h 1301"/>
                  <a:gd name="T44" fmla="*/ 0 w 1451"/>
                  <a:gd name="T45" fmla="*/ 1 h 1301"/>
                  <a:gd name="T46" fmla="*/ 0 w 1451"/>
                  <a:gd name="T47" fmla="*/ 1 h 1301"/>
                  <a:gd name="T48" fmla="*/ 0 w 1451"/>
                  <a:gd name="T49" fmla="*/ 1 h 1301"/>
                  <a:gd name="T50" fmla="*/ 0 w 1451"/>
                  <a:gd name="T51" fmla="*/ 1 h 1301"/>
                  <a:gd name="T52" fmla="*/ 0 w 1451"/>
                  <a:gd name="T53" fmla="*/ 1 h 1301"/>
                  <a:gd name="T54" fmla="*/ 0 w 1451"/>
                  <a:gd name="T55" fmla="*/ 1 h 1301"/>
                  <a:gd name="T56" fmla="*/ 0 w 1451"/>
                  <a:gd name="T57" fmla="*/ 1 h 1301"/>
                  <a:gd name="T58" fmla="*/ 0 w 1451"/>
                  <a:gd name="T59" fmla="*/ 1 h 1301"/>
                  <a:gd name="T60" fmla="*/ 0 w 1451"/>
                  <a:gd name="T61" fmla="*/ 1 h 1301"/>
                  <a:gd name="T62" fmla="*/ 0 w 1451"/>
                  <a:gd name="T63" fmla="*/ 1 h 1301"/>
                  <a:gd name="T64" fmla="*/ 0 w 1451"/>
                  <a:gd name="T65" fmla="*/ 1 h 1301"/>
                  <a:gd name="T66" fmla="*/ 0 w 1451"/>
                  <a:gd name="T67" fmla="*/ 1 h 1301"/>
                  <a:gd name="T68" fmla="*/ 0 w 1451"/>
                  <a:gd name="T69" fmla="*/ 1 h 1301"/>
                  <a:gd name="T70" fmla="*/ 0 w 1451"/>
                  <a:gd name="T71" fmla="*/ 1 h 1301"/>
                  <a:gd name="T72" fmla="*/ 0 w 1451"/>
                  <a:gd name="T73" fmla="*/ 1 h 1301"/>
                  <a:gd name="T74" fmla="*/ 0 w 1451"/>
                  <a:gd name="T75" fmla="*/ 1 h 1301"/>
                  <a:gd name="T76" fmla="*/ 0 w 1451"/>
                  <a:gd name="T77" fmla="*/ 1 h 1301"/>
                  <a:gd name="T78" fmla="*/ 0 w 1451"/>
                  <a:gd name="T79" fmla="*/ 1 h 1301"/>
                  <a:gd name="T80" fmla="*/ 0 w 1451"/>
                  <a:gd name="T81" fmla="*/ 1 h 1301"/>
                  <a:gd name="T82" fmla="*/ 0 w 1451"/>
                  <a:gd name="T83" fmla="*/ 1 h 1301"/>
                  <a:gd name="T84" fmla="*/ 0 w 1451"/>
                  <a:gd name="T85" fmla="*/ 1 h 1301"/>
                  <a:gd name="T86" fmla="*/ 0 w 1451"/>
                  <a:gd name="T87" fmla="*/ 1 h 1301"/>
                  <a:gd name="T88" fmla="*/ 0 w 1451"/>
                  <a:gd name="T89" fmla="*/ 1 h 1301"/>
                  <a:gd name="T90" fmla="*/ 0 w 1451"/>
                  <a:gd name="T91" fmla="*/ 1 h 1301"/>
                  <a:gd name="T92" fmla="*/ 0 w 1451"/>
                  <a:gd name="T93" fmla="*/ 1 h 1301"/>
                  <a:gd name="T94" fmla="*/ 0 w 1451"/>
                  <a:gd name="T95" fmla="*/ 1 h 1301"/>
                  <a:gd name="T96" fmla="*/ 0 w 1451"/>
                  <a:gd name="T97" fmla="*/ 1 h 1301"/>
                  <a:gd name="T98" fmla="*/ 0 w 1451"/>
                  <a:gd name="T99" fmla="*/ 1 h 1301"/>
                  <a:gd name="T100" fmla="*/ 0 w 1451"/>
                  <a:gd name="T101" fmla="*/ 1 h 1301"/>
                  <a:gd name="T102" fmla="*/ 0 w 1451"/>
                  <a:gd name="T103" fmla="*/ 1 h 1301"/>
                  <a:gd name="T104" fmla="*/ 0 w 1451"/>
                  <a:gd name="T105" fmla="*/ 1 h 1301"/>
                  <a:gd name="T106" fmla="*/ 0 w 1451"/>
                  <a:gd name="T107" fmla="*/ 1 h 1301"/>
                  <a:gd name="T108" fmla="*/ 0 w 1451"/>
                  <a:gd name="T109" fmla="*/ 1 h 1301"/>
                  <a:gd name="T110" fmla="*/ 0 w 1451"/>
                  <a:gd name="T111" fmla="*/ 1 h 1301"/>
                  <a:gd name="T112" fmla="*/ 0 w 1451"/>
                  <a:gd name="T113" fmla="*/ 1 h 1301"/>
                  <a:gd name="T114" fmla="*/ 0 w 1451"/>
                  <a:gd name="T115" fmla="*/ 1 h 1301"/>
                  <a:gd name="T116" fmla="*/ 0 w 1451"/>
                  <a:gd name="T117" fmla="*/ 0 h 1301"/>
                  <a:gd name="T118" fmla="*/ 0 w 1451"/>
                  <a:gd name="T119" fmla="*/ 1 h 1301"/>
                  <a:gd name="T120" fmla="*/ 0 w 1451"/>
                  <a:gd name="T121" fmla="*/ 1 h 1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1"/>
                  <a:gd name="T184" fmla="*/ 0 h 1301"/>
                  <a:gd name="T185" fmla="*/ 1451 w 1451"/>
                  <a:gd name="T186" fmla="*/ 1301 h 1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1" h="1301">
                    <a:moveTo>
                      <a:pt x="1240" y="17"/>
                    </a:moveTo>
                    <a:lnTo>
                      <a:pt x="1255" y="119"/>
                    </a:lnTo>
                    <a:lnTo>
                      <a:pt x="1265" y="161"/>
                    </a:lnTo>
                    <a:lnTo>
                      <a:pt x="1282" y="201"/>
                    </a:lnTo>
                    <a:lnTo>
                      <a:pt x="1328" y="422"/>
                    </a:lnTo>
                    <a:lnTo>
                      <a:pt x="1364" y="449"/>
                    </a:lnTo>
                    <a:lnTo>
                      <a:pt x="1351" y="551"/>
                    </a:lnTo>
                    <a:lnTo>
                      <a:pt x="1368" y="637"/>
                    </a:lnTo>
                    <a:lnTo>
                      <a:pt x="1451" y="668"/>
                    </a:lnTo>
                    <a:lnTo>
                      <a:pt x="1451" y="710"/>
                    </a:lnTo>
                    <a:lnTo>
                      <a:pt x="1434" y="796"/>
                    </a:lnTo>
                    <a:lnTo>
                      <a:pt x="1222" y="1082"/>
                    </a:lnTo>
                    <a:lnTo>
                      <a:pt x="996" y="1267"/>
                    </a:lnTo>
                    <a:lnTo>
                      <a:pt x="862" y="1282"/>
                    </a:lnTo>
                    <a:lnTo>
                      <a:pt x="844" y="1282"/>
                    </a:lnTo>
                    <a:lnTo>
                      <a:pt x="839" y="1288"/>
                    </a:lnTo>
                    <a:lnTo>
                      <a:pt x="839" y="1301"/>
                    </a:lnTo>
                    <a:lnTo>
                      <a:pt x="706" y="1215"/>
                    </a:lnTo>
                    <a:lnTo>
                      <a:pt x="702" y="1215"/>
                    </a:lnTo>
                    <a:lnTo>
                      <a:pt x="771" y="1173"/>
                    </a:lnTo>
                    <a:lnTo>
                      <a:pt x="739" y="1119"/>
                    </a:lnTo>
                    <a:lnTo>
                      <a:pt x="739" y="1109"/>
                    </a:lnTo>
                    <a:lnTo>
                      <a:pt x="771" y="1079"/>
                    </a:lnTo>
                    <a:lnTo>
                      <a:pt x="668" y="977"/>
                    </a:lnTo>
                    <a:lnTo>
                      <a:pt x="597" y="931"/>
                    </a:lnTo>
                    <a:lnTo>
                      <a:pt x="458" y="937"/>
                    </a:lnTo>
                    <a:lnTo>
                      <a:pt x="318" y="1002"/>
                    </a:lnTo>
                    <a:lnTo>
                      <a:pt x="0" y="1021"/>
                    </a:lnTo>
                    <a:lnTo>
                      <a:pt x="17" y="990"/>
                    </a:lnTo>
                    <a:lnTo>
                      <a:pt x="7" y="837"/>
                    </a:lnTo>
                    <a:lnTo>
                      <a:pt x="0" y="727"/>
                    </a:lnTo>
                    <a:lnTo>
                      <a:pt x="63" y="710"/>
                    </a:lnTo>
                    <a:lnTo>
                      <a:pt x="69" y="706"/>
                    </a:lnTo>
                    <a:lnTo>
                      <a:pt x="17" y="651"/>
                    </a:lnTo>
                    <a:lnTo>
                      <a:pt x="172" y="449"/>
                    </a:lnTo>
                    <a:lnTo>
                      <a:pt x="374" y="428"/>
                    </a:lnTo>
                    <a:lnTo>
                      <a:pt x="453" y="376"/>
                    </a:lnTo>
                    <a:lnTo>
                      <a:pt x="409" y="338"/>
                    </a:lnTo>
                    <a:lnTo>
                      <a:pt x="437" y="320"/>
                    </a:lnTo>
                    <a:lnTo>
                      <a:pt x="533" y="284"/>
                    </a:lnTo>
                    <a:lnTo>
                      <a:pt x="597" y="186"/>
                    </a:lnTo>
                    <a:lnTo>
                      <a:pt x="693" y="242"/>
                    </a:lnTo>
                    <a:lnTo>
                      <a:pt x="702" y="242"/>
                    </a:lnTo>
                    <a:lnTo>
                      <a:pt x="781" y="119"/>
                    </a:lnTo>
                    <a:lnTo>
                      <a:pt x="791" y="109"/>
                    </a:lnTo>
                    <a:lnTo>
                      <a:pt x="981" y="77"/>
                    </a:lnTo>
                    <a:lnTo>
                      <a:pt x="981" y="109"/>
                    </a:lnTo>
                    <a:lnTo>
                      <a:pt x="950" y="109"/>
                    </a:lnTo>
                    <a:lnTo>
                      <a:pt x="946" y="186"/>
                    </a:lnTo>
                    <a:lnTo>
                      <a:pt x="998" y="246"/>
                    </a:lnTo>
                    <a:lnTo>
                      <a:pt x="1046" y="257"/>
                    </a:lnTo>
                    <a:lnTo>
                      <a:pt x="1054" y="303"/>
                    </a:lnTo>
                    <a:lnTo>
                      <a:pt x="1096" y="330"/>
                    </a:lnTo>
                    <a:lnTo>
                      <a:pt x="1102" y="334"/>
                    </a:lnTo>
                    <a:lnTo>
                      <a:pt x="1151" y="267"/>
                    </a:lnTo>
                    <a:lnTo>
                      <a:pt x="1174" y="246"/>
                    </a:lnTo>
                    <a:lnTo>
                      <a:pt x="1169" y="242"/>
                    </a:lnTo>
                    <a:lnTo>
                      <a:pt x="1155" y="242"/>
                    </a:lnTo>
                    <a:lnTo>
                      <a:pt x="1174" y="0"/>
                    </a:lnTo>
                    <a:lnTo>
                      <a:pt x="1236" y="17"/>
                    </a:lnTo>
                    <a:lnTo>
                      <a:pt x="1240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59" name="Freeform 182"/>
              <p:cNvSpPr>
                <a:spLocks/>
              </p:cNvSpPr>
              <p:nvPr/>
            </p:nvSpPr>
            <p:spPr bwMode="gray">
              <a:xfrm>
                <a:off x="3626" y="2972"/>
                <a:ext cx="105" cy="235"/>
              </a:xfrm>
              <a:custGeom>
                <a:avLst/>
                <a:gdLst>
                  <a:gd name="T0" fmla="*/ 0 w 211"/>
                  <a:gd name="T1" fmla="*/ 1 h 470"/>
                  <a:gd name="T2" fmla="*/ 0 w 211"/>
                  <a:gd name="T3" fmla="*/ 1 h 470"/>
                  <a:gd name="T4" fmla="*/ 0 w 211"/>
                  <a:gd name="T5" fmla="*/ 1 h 470"/>
                  <a:gd name="T6" fmla="*/ 0 w 211"/>
                  <a:gd name="T7" fmla="*/ 1 h 470"/>
                  <a:gd name="T8" fmla="*/ 0 w 211"/>
                  <a:gd name="T9" fmla="*/ 1 h 470"/>
                  <a:gd name="T10" fmla="*/ 0 w 211"/>
                  <a:gd name="T11" fmla="*/ 1 h 470"/>
                  <a:gd name="T12" fmla="*/ 0 w 211"/>
                  <a:gd name="T13" fmla="*/ 1 h 470"/>
                  <a:gd name="T14" fmla="*/ 0 w 211"/>
                  <a:gd name="T15" fmla="*/ 1 h 470"/>
                  <a:gd name="T16" fmla="*/ 0 w 211"/>
                  <a:gd name="T17" fmla="*/ 1 h 470"/>
                  <a:gd name="T18" fmla="*/ 0 w 211"/>
                  <a:gd name="T19" fmla="*/ 1 h 470"/>
                  <a:gd name="T20" fmla="*/ 0 w 211"/>
                  <a:gd name="T21" fmla="*/ 1 h 470"/>
                  <a:gd name="T22" fmla="*/ 0 w 211"/>
                  <a:gd name="T23" fmla="*/ 0 h 470"/>
                  <a:gd name="T24" fmla="*/ 0 w 211"/>
                  <a:gd name="T25" fmla="*/ 0 h 470"/>
                  <a:gd name="T26" fmla="*/ 0 w 211"/>
                  <a:gd name="T27" fmla="*/ 1 h 47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1"/>
                  <a:gd name="T43" fmla="*/ 0 h 470"/>
                  <a:gd name="T44" fmla="*/ 211 w 211"/>
                  <a:gd name="T45" fmla="*/ 470 h 47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1" h="470">
                    <a:moveTo>
                      <a:pt x="211" y="52"/>
                    </a:moveTo>
                    <a:lnTo>
                      <a:pt x="207" y="100"/>
                    </a:lnTo>
                    <a:lnTo>
                      <a:pt x="161" y="188"/>
                    </a:lnTo>
                    <a:lnTo>
                      <a:pt x="115" y="438"/>
                    </a:lnTo>
                    <a:lnTo>
                      <a:pt x="25" y="470"/>
                    </a:lnTo>
                    <a:lnTo>
                      <a:pt x="15" y="470"/>
                    </a:lnTo>
                    <a:lnTo>
                      <a:pt x="0" y="432"/>
                    </a:lnTo>
                    <a:lnTo>
                      <a:pt x="3" y="309"/>
                    </a:lnTo>
                    <a:lnTo>
                      <a:pt x="15" y="242"/>
                    </a:lnTo>
                    <a:lnTo>
                      <a:pt x="15" y="146"/>
                    </a:lnTo>
                    <a:lnTo>
                      <a:pt x="130" y="58"/>
                    </a:lnTo>
                    <a:lnTo>
                      <a:pt x="130" y="0"/>
                    </a:lnTo>
                    <a:lnTo>
                      <a:pt x="195" y="0"/>
                    </a:lnTo>
                    <a:lnTo>
                      <a:pt x="211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0" name="Freeform 183"/>
              <p:cNvSpPr>
                <a:spLocks/>
              </p:cNvSpPr>
              <p:nvPr/>
            </p:nvSpPr>
            <p:spPr bwMode="gray">
              <a:xfrm>
                <a:off x="5240" y="3576"/>
                <a:ext cx="63" cy="37"/>
              </a:xfrm>
              <a:custGeom>
                <a:avLst/>
                <a:gdLst>
                  <a:gd name="T0" fmla="*/ 1 w 125"/>
                  <a:gd name="T1" fmla="*/ 1 h 73"/>
                  <a:gd name="T2" fmla="*/ 1 w 125"/>
                  <a:gd name="T3" fmla="*/ 1 h 73"/>
                  <a:gd name="T4" fmla="*/ 0 w 125"/>
                  <a:gd name="T5" fmla="*/ 1 h 73"/>
                  <a:gd name="T6" fmla="*/ 1 w 125"/>
                  <a:gd name="T7" fmla="*/ 0 h 73"/>
                  <a:gd name="T8" fmla="*/ 1 w 125"/>
                  <a:gd name="T9" fmla="*/ 0 h 73"/>
                  <a:gd name="T10" fmla="*/ 1 w 125"/>
                  <a:gd name="T11" fmla="*/ 1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5"/>
                  <a:gd name="T19" fmla="*/ 0 h 73"/>
                  <a:gd name="T20" fmla="*/ 125 w 125"/>
                  <a:gd name="T21" fmla="*/ 73 h 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5" h="73">
                    <a:moveTo>
                      <a:pt x="125" y="29"/>
                    </a:moveTo>
                    <a:lnTo>
                      <a:pt x="50" y="73"/>
                    </a:lnTo>
                    <a:lnTo>
                      <a:pt x="0" y="33"/>
                    </a:lnTo>
                    <a:lnTo>
                      <a:pt x="44" y="0"/>
                    </a:lnTo>
                    <a:lnTo>
                      <a:pt x="94" y="0"/>
                    </a:lnTo>
                    <a:lnTo>
                      <a:pt x="125" y="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1" name="Freeform 184"/>
              <p:cNvSpPr>
                <a:spLocks/>
              </p:cNvSpPr>
              <p:nvPr/>
            </p:nvSpPr>
            <p:spPr bwMode="gray">
              <a:xfrm>
                <a:off x="5428" y="3661"/>
                <a:ext cx="194" cy="103"/>
              </a:xfrm>
              <a:custGeom>
                <a:avLst/>
                <a:gdLst>
                  <a:gd name="T0" fmla="*/ 1 w 388"/>
                  <a:gd name="T1" fmla="*/ 0 h 207"/>
                  <a:gd name="T2" fmla="*/ 1 w 388"/>
                  <a:gd name="T3" fmla="*/ 0 h 207"/>
                  <a:gd name="T4" fmla="*/ 1 w 388"/>
                  <a:gd name="T5" fmla="*/ 0 h 207"/>
                  <a:gd name="T6" fmla="*/ 1 w 388"/>
                  <a:gd name="T7" fmla="*/ 0 h 207"/>
                  <a:gd name="T8" fmla="*/ 1 w 388"/>
                  <a:gd name="T9" fmla="*/ 0 h 207"/>
                  <a:gd name="T10" fmla="*/ 0 w 388"/>
                  <a:gd name="T11" fmla="*/ 0 h 207"/>
                  <a:gd name="T12" fmla="*/ 1 w 388"/>
                  <a:gd name="T13" fmla="*/ 0 h 207"/>
                  <a:gd name="T14" fmla="*/ 1 w 388"/>
                  <a:gd name="T15" fmla="*/ 0 h 207"/>
                  <a:gd name="T16" fmla="*/ 1 w 388"/>
                  <a:gd name="T17" fmla="*/ 0 h 207"/>
                  <a:gd name="T18" fmla="*/ 1 w 388"/>
                  <a:gd name="T19" fmla="*/ 0 h 207"/>
                  <a:gd name="T20" fmla="*/ 1 w 388"/>
                  <a:gd name="T21" fmla="*/ 0 h 207"/>
                  <a:gd name="T22" fmla="*/ 1 w 388"/>
                  <a:gd name="T23" fmla="*/ 0 h 207"/>
                  <a:gd name="T24" fmla="*/ 1 w 388"/>
                  <a:gd name="T25" fmla="*/ 0 h 20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8"/>
                  <a:gd name="T40" fmla="*/ 0 h 207"/>
                  <a:gd name="T41" fmla="*/ 388 w 388"/>
                  <a:gd name="T42" fmla="*/ 207 h 20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8" h="207">
                    <a:moveTo>
                      <a:pt x="388" y="4"/>
                    </a:moveTo>
                    <a:lnTo>
                      <a:pt x="388" y="13"/>
                    </a:lnTo>
                    <a:lnTo>
                      <a:pt x="146" y="132"/>
                    </a:lnTo>
                    <a:lnTo>
                      <a:pt x="20" y="207"/>
                    </a:lnTo>
                    <a:lnTo>
                      <a:pt x="14" y="207"/>
                    </a:lnTo>
                    <a:lnTo>
                      <a:pt x="0" y="196"/>
                    </a:lnTo>
                    <a:lnTo>
                      <a:pt x="71" y="127"/>
                    </a:lnTo>
                    <a:lnTo>
                      <a:pt x="102" y="104"/>
                    </a:lnTo>
                    <a:lnTo>
                      <a:pt x="166" y="104"/>
                    </a:lnTo>
                    <a:lnTo>
                      <a:pt x="200" y="19"/>
                    </a:lnTo>
                    <a:lnTo>
                      <a:pt x="331" y="0"/>
                    </a:lnTo>
                    <a:lnTo>
                      <a:pt x="384" y="0"/>
                    </a:lnTo>
                    <a:lnTo>
                      <a:pt x="388" y="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2" name="Freeform 185"/>
              <p:cNvSpPr>
                <a:spLocks/>
              </p:cNvSpPr>
              <p:nvPr/>
            </p:nvSpPr>
            <p:spPr bwMode="gray">
              <a:xfrm>
                <a:off x="5631" y="3494"/>
                <a:ext cx="76" cy="166"/>
              </a:xfrm>
              <a:custGeom>
                <a:avLst/>
                <a:gdLst>
                  <a:gd name="T0" fmla="*/ 1 w 152"/>
                  <a:gd name="T1" fmla="*/ 1 h 332"/>
                  <a:gd name="T2" fmla="*/ 1 w 152"/>
                  <a:gd name="T3" fmla="*/ 1 h 332"/>
                  <a:gd name="T4" fmla="*/ 1 w 152"/>
                  <a:gd name="T5" fmla="*/ 1 h 332"/>
                  <a:gd name="T6" fmla="*/ 1 w 152"/>
                  <a:gd name="T7" fmla="*/ 1 h 332"/>
                  <a:gd name="T8" fmla="*/ 1 w 152"/>
                  <a:gd name="T9" fmla="*/ 1 h 332"/>
                  <a:gd name="T10" fmla="*/ 1 w 152"/>
                  <a:gd name="T11" fmla="*/ 1 h 332"/>
                  <a:gd name="T12" fmla="*/ 1 w 152"/>
                  <a:gd name="T13" fmla="*/ 1 h 332"/>
                  <a:gd name="T14" fmla="*/ 1 w 152"/>
                  <a:gd name="T15" fmla="*/ 1 h 332"/>
                  <a:gd name="T16" fmla="*/ 1 w 152"/>
                  <a:gd name="T17" fmla="*/ 1 h 332"/>
                  <a:gd name="T18" fmla="*/ 1 w 152"/>
                  <a:gd name="T19" fmla="*/ 1 h 332"/>
                  <a:gd name="T20" fmla="*/ 1 w 152"/>
                  <a:gd name="T21" fmla="*/ 1 h 332"/>
                  <a:gd name="T22" fmla="*/ 1 w 152"/>
                  <a:gd name="T23" fmla="*/ 1 h 332"/>
                  <a:gd name="T24" fmla="*/ 1 w 152"/>
                  <a:gd name="T25" fmla="*/ 1 h 332"/>
                  <a:gd name="T26" fmla="*/ 1 w 152"/>
                  <a:gd name="T27" fmla="*/ 1 h 332"/>
                  <a:gd name="T28" fmla="*/ 1 w 152"/>
                  <a:gd name="T29" fmla="*/ 1 h 332"/>
                  <a:gd name="T30" fmla="*/ 1 w 152"/>
                  <a:gd name="T31" fmla="*/ 1 h 332"/>
                  <a:gd name="T32" fmla="*/ 0 w 152"/>
                  <a:gd name="T33" fmla="*/ 1 h 332"/>
                  <a:gd name="T34" fmla="*/ 0 w 152"/>
                  <a:gd name="T35" fmla="*/ 0 h 332"/>
                  <a:gd name="T36" fmla="*/ 1 w 152"/>
                  <a:gd name="T37" fmla="*/ 1 h 332"/>
                  <a:gd name="T38" fmla="*/ 1 w 152"/>
                  <a:gd name="T39" fmla="*/ 1 h 3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52"/>
                  <a:gd name="T61" fmla="*/ 0 h 332"/>
                  <a:gd name="T62" fmla="*/ 152 w 152"/>
                  <a:gd name="T63" fmla="*/ 332 h 3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52" h="332">
                    <a:moveTo>
                      <a:pt x="8" y="42"/>
                    </a:moveTo>
                    <a:lnTo>
                      <a:pt x="18" y="52"/>
                    </a:lnTo>
                    <a:lnTo>
                      <a:pt x="85" y="61"/>
                    </a:lnTo>
                    <a:lnTo>
                      <a:pt x="87" y="61"/>
                    </a:lnTo>
                    <a:lnTo>
                      <a:pt x="96" y="71"/>
                    </a:lnTo>
                    <a:lnTo>
                      <a:pt x="114" y="196"/>
                    </a:lnTo>
                    <a:lnTo>
                      <a:pt x="152" y="221"/>
                    </a:lnTo>
                    <a:lnTo>
                      <a:pt x="152" y="251"/>
                    </a:lnTo>
                    <a:lnTo>
                      <a:pt x="143" y="280"/>
                    </a:lnTo>
                    <a:lnTo>
                      <a:pt x="22" y="332"/>
                    </a:lnTo>
                    <a:lnTo>
                      <a:pt x="47" y="315"/>
                    </a:lnTo>
                    <a:lnTo>
                      <a:pt x="22" y="271"/>
                    </a:lnTo>
                    <a:lnTo>
                      <a:pt x="18" y="271"/>
                    </a:lnTo>
                    <a:lnTo>
                      <a:pt x="18" y="261"/>
                    </a:lnTo>
                    <a:lnTo>
                      <a:pt x="75" y="228"/>
                    </a:lnTo>
                    <a:lnTo>
                      <a:pt x="96" y="157"/>
                    </a:lnTo>
                    <a:lnTo>
                      <a:pt x="0" y="52"/>
                    </a:lnTo>
                    <a:lnTo>
                      <a:pt x="0" y="0"/>
                    </a:lnTo>
                    <a:lnTo>
                      <a:pt x="8" y="3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3" name="Freeform 186"/>
              <p:cNvSpPr>
                <a:spLocks/>
              </p:cNvSpPr>
              <p:nvPr/>
            </p:nvSpPr>
            <p:spPr bwMode="gray">
              <a:xfrm>
                <a:off x="4965" y="2105"/>
                <a:ext cx="7" cy="45"/>
              </a:xfrm>
              <a:custGeom>
                <a:avLst/>
                <a:gdLst>
                  <a:gd name="T0" fmla="*/ 0 w 16"/>
                  <a:gd name="T1" fmla="*/ 1 h 90"/>
                  <a:gd name="T2" fmla="*/ 0 w 16"/>
                  <a:gd name="T3" fmla="*/ 1 h 90"/>
                  <a:gd name="T4" fmla="*/ 0 w 16"/>
                  <a:gd name="T5" fmla="*/ 1 h 90"/>
                  <a:gd name="T6" fmla="*/ 0 w 16"/>
                  <a:gd name="T7" fmla="*/ 0 h 90"/>
                  <a:gd name="T8" fmla="*/ 0 w 16"/>
                  <a:gd name="T9" fmla="*/ 0 h 90"/>
                  <a:gd name="T10" fmla="*/ 0 w 16"/>
                  <a:gd name="T11" fmla="*/ 1 h 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0"/>
                  <a:gd name="T20" fmla="*/ 16 w 16"/>
                  <a:gd name="T21" fmla="*/ 90 h 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0">
                    <a:moveTo>
                      <a:pt x="16" y="11"/>
                    </a:moveTo>
                    <a:lnTo>
                      <a:pt x="16" y="90"/>
                    </a:lnTo>
                    <a:lnTo>
                      <a:pt x="0" y="9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4" name="Freeform 187"/>
              <p:cNvSpPr>
                <a:spLocks/>
              </p:cNvSpPr>
              <p:nvPr/>
            </p:nvSpPr>
            <p:spPr bwMode="gray">
              <a:xfrm>
                <a:off x="4984" y="2255"/>
                <a:ext cx="83" cy="85"/>
              </a:xfrm>
              <a:custGeom>
                <a:avLst/>
                <a:gdLst>
                  <a:gd name="T0" fmla="*/ 0 w 167"/>
                  <a:gd name="T1" fmla="*/ 0 h 171"/>
                  <a:gd name="T2" fmla="*/ 0 w 167"/>
                  <a:gd name="T3" fmla="*/ 0 h 171"/>
                  <a:gd name="T4" fmla="*/ 0 w 167"/>
                  <a:gd name="T5" fmla="*/ 0 h 171"/>
                  <a:gd name="T6" fmla="*/ 0 w 167"/>
                  <a:gd name="T7" fmla="*/ 0 h 171"/>
                  <a:gd name="T8" fmla="*/ 0 w 167"/>
                  <a:gd name="T9" fmla="*/ 0 h 171"/>
                  <a:gd name="T10" fmla="*/ 0 w 167"/>
                  <a:gd name="T11" fmla="*/ 0 h 171"/>
                  <a:gd name="T12" fmla="*/ 0 w 167"/>
                  <a:gd name="T13" fmla="*/ 0 h 171"/>
                  <a:gd name="T14" fmla="*/ 0 w 167"/>
                  <a:gd name="T15" fmla="*/ 0 h 171"/>
                  <a:gd name="T16" fmla="*/ 0 w 167"/>
                  <a:gd name="T17" fmla="*/ 0 h 171"/>
                  <a:gd name="T18" fmla="*/ 0 w 167"/>
                  <a:gd name="T19" fmla="*/ 0 h 171"/>
                  <a:gd name="T20" fmla="*/ 0 w 167"/>
                  <a:gd name="T21" fmla="*/ 0 h 171"/>
                  <a:gd name="T22" fmla="*/ 0 w 167"/>
                  <a:gd name="T23" fmla="*/ 0 h 1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7"/>
                  <a:gd name="T37" fmla="*/ 0 h 171"/>
                  <a:gd name="T38" fmla="*/ 167 w 167"/>
                  <a:gd name="T39" fmla="*/ 171 h 17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7" h="171">
                    <a:moveTo>
                      <a:pt x="92" y="35"/>
                    </a:moveTo>
                    <a:lnTo>
                      <a:pt x="78" y="87"/>
                    </a:lnTo>
                    <a:lnTo>
                      <a:pt x="92" y="119"/>
                    </a:lnTo>
                    <a:lnTo>
                      <a:pt x="165" y="152"/>
                    </a:lnTo>
                    <a:lnTo>
                      <a:pt x="167" y="152"/>
                    </a:lnTo>
                    <a:lnTo>
                      <a:pt x="78" y="171"/>
                    </a:lnTo>
                    <a:lnTo>
                      <a:pt x="0" y="87"/>
                    </a:lnTo>
                    <a:lnTo>
                      <a:pt x="27" y="87"/>
                    </a:lnTo>
                    <a:lnTo>
                      <a:pt x="27" y="73"/>
                    </a:lnTo>
                    <a:lnTo>
                      <a:pt x="0" y="0"/>
                    </a:lnTo>
                    <a:lnTo>
                      <a:pt x="61" y="0"/>
                    </a:lnTo>
                    <a:lnTo>
                      <a:pt x="92" y="3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5" name="Freeform 188"/>
              <p:cNvSpPr>
                <a:spLocks/>
              </p:cNvSpPr>
              <p:nvPr/>
            </p:nvSpPr>
            <p:spPr bwMode="gray">
              <a:xfrm>
                <a:off x="5082" y="2359"/>
                <a:ext cx="25" cy="30"/>
              </a:xfrm>
              <a:custGeom>
                <a:avLst/>
                <a:gdLst>
                  <a:gd name="T0" fmla="*/ 1 w 49"/>
                  <a:gd name="T1" fmla="*/ 1 h 59"/>
                  <a:gd name="T2" fmla="*/ 1 w 49"/>
                  <a:gd name="T3" fmla="*/ 1 h 59"/>
                  <a:gd name="T4" fmla="*/ 1 w 49"/>
                  <a:gd name="T5" fmla="*/ 1 h 59"/>
                  <a:gd name="T6" fmla="*/ 0 w 49"/>
                  <a:gd name="T7" fmla="*/ 1 h 59"/>
                  <a:gd name="T8" fmla="*/ 1 w 49"/>
                  <a:gd name="T9" fmla="*/ 0 h 59"/>
                  <a:gd name="T10" fmla="*/ 1 w 49"/>
                  <a:gd name="T11" fmla="*/ 1 h 59"/>
                  <a:gd name="T12" fmla="*/ 1 w 49"/>
                  <a:gd name="T13" fmla="*/ 1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59"/>
                  <a:gd name="T23" fmla="*/ 49 w 49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59">
                    <a:moveTo>
                      <a:pt x="49" y="53"/>
                    </a:moveTo>
                    <a:lnTo>
                      <a:pt x="21" y="59"/>
                    </a:lnTo>
                    <a:lnTo>
                      <a:pt x="13" y="59"/>
                    </a:lnTo>
                    <a:lnTo>
                      <a:pt x="0" y="44"/>
                    </a:lnTo>
                    <a:lnTo>
                      <a:pt x="13" y="0"/>
                    </a:lnTo>
                    <a:lnTo>
                      <a:pt x="49" y="40"/>
                    </a:lnTo>
                    <a:lnTo>
                      <a:pt x="49" y="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6" name="Freeform 189"/>
              <p:cNvSpPr>
                <a:spLocks/>
              </p:cNvSpPr>
              <p:nvPr/>
            </p:nvSpPr>
            <p:spPr bwMode="gray">
              <a:xfrm>
                <a:off x="5079" y="2436"/>
                <a:ext cx="80" cy="83"/>
              </a:xfrm>
              <a:custGeom>
                <a:avLst/>
                <a:gdLst>
                  <a:gd name="T0" fmla="*/ 0 w 161"/>
                  <a:gd name="T1" fmla="*/ 1 h 165"/>
                  <a:gd name="T2" fmla="*/ 0 w 161"/>
                  <a:gd name="T3" fmla="*/ 1 h 165"/>
                  <a:gd name="T4" fmla="*/ 0 w 161"/>
                  <a:gd name="T5" fmla="*/ 1 h 165"/>
                  <a:gd name="T6" fmla="*/ 0 w 161"/>
                  <a:gd name="T7" fmla="*/ 1 h 165"/>
                  <a:gd name="T8" fmla="*/ 0 w 161"/>
                  <a:gd name="T9" fmla="*/ 1 h 165"/>
                  <a:gd name="T10" fmla="*/ 0 w 161"/>
                  <a:gd name="T11" fmla="*/ 1 h 165"/>
                  <a:gd name="T12" fmla="*/ 0 w 161"/>
                  <a:gd name="T13" fmla="*/ 0 h 165"/>
                  <a:gd name="T14" fmla="*/ 0 w 161"/>
                  <a:gd name="T15" fmla="*/ 1 h 165"/>
                  <a:gd name="T16" fmla="*/ 0 w 161"/>
                  <a:gd name="T17" fmla="*/ 1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65"/>
                  <a:gd name="T29" fmla="*/ 161 w 161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65">
                    <a:moveTo>
                      <a:pt x="161" y="100"/>
                    </a:moveTo>
                    <a:lnTo>
                      <a:pt x="100" y="165"/>
                    </a:lnTo>
                    <a:lnTo>
                      <a:pt x="65" y="81"/>
                    </a:lnTo>
                    <a:lnTo>
                      <a:pt x="0" y="81"/>
                    </a:lnTo>
                    <a:lnTo>
                      <a:pt x="0" y="33"/>
                    </a:lnTo>
                    <a:lnTo>
                      <a:pt x="80" y="33"/>
                    </a:lnTo>
                    <a:lnTo>
                      <a:pt x="94" y="0"/>
                    </a:lnTo>
                    <a:lnTo>
                      <a:pt x="157" y="31"/>
                    </a:lnTo>
                    <a:lnTo>
                      <a:pt x="161" y="1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7" name="Freeform 190"/>
              <p:cNvSpPr>
                <a:spLocks/>
              </p:cNvSpPr>
              <p:nvPr/>
            </p:nvSpPr>
            <p:spPr bwMode="gray">
              <a:xfrm>
                <a:off x="4254" y="2482"/>
                <a:ext cx="54" cy="55"/>
              </a:xfrm>
              <a:custGeom>
                <a:avLst/>
                <a:gdLst>
                  <a:gd name="T0" fmla="*/ 1 w 107"/>
                  <a:gd name="T1" fmla="*/ 1 h 110"/>
                  <a:gd name="T2" fmla="*/ 1 w 107"/>
                  <a:gd name="T3" fmla="*/ 1 h 110"/>
                  <a:gd name="T4" fmla="*/ 1 w 107"/>
                  <a:gd name="T5" fmla="*/ 1 h 110"/>
                  <a:gd name="T6" fmla="*/ 1 w 107"/>
                  <a:gd name="T7" fmla="*/ 1 h 110"/>
                  <a:gd name="T8" fmla="*/ 1 w 107"/>
                  <a:gd name="T9" fmla="*/ 1 h 110"/>
                  <a:gd name="T10" fmla="*/ 1 w 107"/>
                  <a:gd name="T11" fmla="*/ 1 h 110"/>
                  <a:gd name="T12" fmla="*/ 1 w 107"/>
                  <a:gd name="T13" fmla="*/ 1 h 110"/>
                  <a:gd name="T14" fmla="*/ 0 w 107"/>
                  <a:gd name="T15" fmla="*/ 1 h 110"/>
                  <a:gd name="T16" fmla="*/ 1 w 107"/>
                  <a:gd name="T17" fmla="*/ 0 h 110"/>
                  <a:gd name="T18" fmla="*/ 1 w 107"/>
                  <a:gd name="T19" fmla="*/ 1 h 110"/>
                  <a:gd name="T20" fmla="*/ 1 w 107"/>
                  <a:gd name="T21" fmla="*/ 1 h 1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7"/>
                  <a:gd name="T34" fmla="*/ 0 h 110"/>
                  <a:gd name="T35" fmla="*/ 107 w 107"/>
                  <a:gd name="T36" fmla="*/ 110 h 1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7" h="110">
                    <a:moveTo>
                      <a:pt x="107" y="35"/>
                    </a:moveTo>
                    <a:lnTo>
                      <a:pt x="79" y="75"/>
                    </a:lnTo>
                    <a:lnTo>
                      <a:pt x="98" y="90"/>
                    </a:lnTo>
                    <a:lnTo>
                      <a:pt x="107" y="96"/>
                    </a:lnTo>
                    <a:lnTo>
                      <a:pt x="73" y="110"/>
                    </a:lnTo>
                    <a:lnTo>
                      <a:pt x="63" y="110"/>
                    </a:lnTo>
                    <a:lnTo>
                      <a:pt x="8" y="10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7" y="4"/>
                    </a:lnTo>
                    <a:lnTo>
                      <a:pt x="107" y="3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8" name="Freeform 191"/>
              <p:cNvSpPr>
                <a:spLocks/>
              </p:cNvSpPr>
              <p:nvPr/>
            </p:nvSpPr>
            <p:spPr bwMode="gray">
              <a:xfrm>
                <a:off x="5025" y="2624"/>
                <a:ext cx="108" cy="129"/>
              </a:xfrm>
              <a:custGeom>
                <a:avLst/>
                <a:gdLst>
                  <a:gd name="T0" fmla="*/ 1 w 215"/>
                  <a:gd name="T1" fmla="*/ 1 h 257"/>
                  <a:gd name="T2" fmla="*/ 1 w 215"/>
                  <a:gd name="T3" fmla="*/ 1 h 257"/>
                  <a:gd name="T4" fmla="*/ 1 w 215"/>
                  <a:gd name="T5" fmla="*/ 1 h 257"/>
                  <a:gd name="T6" fmla="*/ 1 w 215"/>
                  <a:gd name="T7" fmla="*/ 1 h 257"/>
                  <a:gd name="T8" fmla="*/ 1 w 215"/>
                  <a:gd name="T9" fmla="*/ 1 h 257"/>
                  <a:gd name="T10" fmla="*/ 1 w 215"/>
                  <a:gd name="T11" fmla="*/ 1 h 257"/>
                  <a:gd name="T12" fmla="*/ 1 w 215"/>
                  <a:gd name="T13" fmla="*/ 1 h 257"/>
                  <a:gd name="T14" fmla="*/ 1 w 215"/>
                  <a:gd name="T15" fmla="*/ 1 h 257"/>
                  <a:gd name="T16" fmla="*/ 1 w 215"/>
                  <a:gd name="T17" fmla="*/ 1 h 257"/>
                  <a:gd name="T18" fmla="*/ 1 w 215"/>
                  <a:gd name="T19" fmla="*/ 1 h 257"/>
                  <a:gd name="T20" fmla="*/ 1 w 215"/>
                  <a:gd name="T21" fmla="*/ 1 h 257"/>
                  <a:gd name="T22" fmla="*/ 1 w 215"/>
                  <a:gd name="T23" fmla="*/ 1 h 257"/>
                  <a:gd name="T24" fmla="*/ 1 w 215"/>
                  <a:gd name="T25" fmla="*/ 1 h 257"/>
                  <a:gd name="T26" fmla="*/ 1 w 215"/>
                  <a:gd name="T27" fmla="*/ 1 h 257"/>
                  <a:gd name="T28" fmla="*/ 1 w 215"/>
                  <a:gd name="T29" fmla="*/ 1 h 257"/>
                  <a:gd name="T30" fmla="*/ 0 w 215"/>
                  <a:gd name="T31" fmla="*/ 1 h 257"/>
                  <a:gd name="T32" fmla="*/ 1 w 215"/>
                  <a:gd name="T33" fmla="*/ 1 h 257"/>
                  <a:gd name="T34" fmla="*/ 1 w 215"/>
                  <a:gd name="T35" fmla="*/ 1 h 257"/>
                  <a:gd name="T36" fmla="*/ 1 w 215"/>
                  <a:gd name="T37" fmla="*/ 0 h 257"/>
                  <a:gd name="T38" fmla="*/ 1 w 215"/>
                  <a:gd name="T39" fmla="*/ 0 h 257"/>
                  <a:gd name="T40" fmla="*/ 1 w 215"/>
                  <a:gd name="T41" fmla="*/ 1 h 2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257"/>
                  <a:gd name="T65" fmla="*/ 215 w 215"/>
                  <a:gd name="T66" fmla="*/ 257 h 2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257">
                    <a:moveTo>
                      <a:pt x="215" y="29"/>
                    </a:moveTo>
                    <a:lnTo>
                      <a:pt x="90" y="33"/>
                    </a:lnTo>
                    <a:lnTo>
                      <a:pt x="90" y="50"/>
                    </a:lnTo>
                    <a:lnTo>
                      <a:pt x="94" y="71"/>
                    </a:lnTo>
                    <a:lnTo>
                      <a:pt x="100" y="65"/>
                    </a:lnTo>
                    <a:lnTo>
                      <a:pt x="100" y="52"/>
                    </a:lnTo>
                    <a:lnTo>
                      <a:pt x="117" y="115"/>
                    </a:lnTo>
                    <a:lnTo>
                      <a:pt x="117" y="125"/>
                    </a:lnTo>
                    <a:lnTo>
                      <a:pt x="104" y="138"/>
                    </a:lnTo>
                    <a:lnTo>
                      <a:pt x="167" y="227"/>
                    </a:lnTo>
                    <a:lnTo>
                      <a:pt x="104" y="227"/>
                    </a:lnTo>
                    <a:lnTo>
                      <a:pt x="94" y="209"/>
                    </a:lnTo>
                    <a:lnTo>
                      <a:pt x="41" y="209"/>
                    </a:lnTo>
                    <a:lnTo>
                      <a:pt x="39" y="244"/>
                    </a:lnTo>
                    <a:lnTo>
                      <a:pt x="39" y="257"/>
                    </a:lnTo>
                    <a:lnTo>
                      <a:pt x="0" y="188"/>
                    </a:lnTo>
                    <a:lnTo>
                      <a:pt x="39" y="50"/>
                    </a:lnTo>
                    <a:lnTo>
                      <a:pt x="39" y="16"/>
                    </a:lnTo>
                    <a:lnTo>
                      <a:pt x="94" y="0"/>
                    </a:lnTo>
                    <a:lnTo>
                      <a:pt x="202" y="0"/>
                    </a:lnTo>
                    <a:lnTo>
                      <a:pt x="215" y="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69" name="Freeform 192"/>
              <p:cNvSpPr>
                <a:spLocks/>
              </p:cNvSpPr>
              <p:nvPr/>
            </p:nvSpPr>
            <p:spPr bwMode="gray">
              <a:xfrm>
                <a:off x="5607" y="2738"/>
                <a:ext cx="77" cy="37"/>
              </a:xfrm>
              <a:custGeom>
                <a:avLst/>
                <a:gdLst>
                  <a:gd name="T0" fmla="*/ 1 w 154"/>
                  <a:gd name="T1" fmla="*/ 1 h 73"/>
                  <a:gd name="T2" fmla="*/ 1 w 154"/>
                  <a:gd name="T3" fmla="*/ 1 h 73"/>
                  <a:gd name="T4" fmla="*/ 0 w 154"/>
                  <a:gd name="T5" fmla="*/ 1 h 73"/>
                  <a:gd name="T6" fmla="*/ 1 w 154"/>
                  <a:gd name="T7" fmla="*/ 1 h 73"/>
                  <a:gd name="T8" fmla="*/ 1 w 154"/>
                  <a:gd name="T9" fmla="*/ 1 h 73"/>
                  <a:gd name="T10" fmla="*/ 1 w 154"/>
                  <a:gd name="T11" fmla="*/ 1 h 73"/>
                  <a:gd name="T12" fmla="*/ 1 w 154"/>
                  <a:gd name="T13" fmla="*/ 0 h 73"/>
                  <a:gd name="T14" fmla="*/ 1 w 154"/>
                  <a:gd name="T15" fmla="*/ 1 h 73"/>
                  <a:gd name="T16" fmla="*/ 1 w 154"/>
                  <a:gd name="T17" fmla="*/ 1 h 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4"/>
                  <a:gd name="T28" fmla="*/ 0 h 73"/>
                  <a:gd name="T29" fmla="*/ 154 w 154"/>
                  <a:gd name="T30" fmla="*/ 73 h 7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4" h="73">
                    <a:moveTo>
                      <a:pt x="120" y="42"/>
                    </a:moveTo>
                    <a:lnTo>
                      <a:pt x="54" y="73"/>
                    </a:lnTo>
                    <a:lnTo>
                      <a:pt x="0" y="59"/>
                    </a:lnTo>
                    <a:lnTo>
                      <a:pt x="31" y="42"/>
                    </a:lnTo>
                    <a:lnTo>
                      <a:pt x="48" y="40"/>
                    </a:lnTo>
                    <a:lnTo>
                      <a:pt x="62" y="40"/>
                    </a:lnTo>
                    <a:lnTo>
                      <a:pt x="120" y="0"/>
                    </a:lnTo>
                    <a:lnTo>
                      <a:pt x="154" y="38"/>
                    </a:lnTo>
                    <a:lnTo>
                      <a:pt x="120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0" name="Freeform 193"/>
              <p:cNvSpPr>
                <a:spLocks/>
              </p:cNvSpPr>
              <p:nvPr/>
            </p:nvSpPr>
            <p:spPr bwMode="gray">
              <a:xfrm>
                <a:off x="4984" y="2784"/>
                <a:ext cx="193" cy="85"/>
              </a:xfrm>
              <a:custGeom>
                <a:avLst/>
                <a:gdLst>
                  <a:gd name="T0" fmla="*/ 1 w 386"/>
                  <a:gd name="T1" fmla="*/ 1 h 169"/>
                  <a:gd name="T2" fmla="*/ 1 w 386"/>
                  <a:gd name="T3" fmla="*/ 1 h 169"/>
                  <a:gd name="T4" fmla="*/ 1 w 386"/>
                  <a:gd name="T5" fmla="*/ 1 h 169"/>
                  <a:gd name="T6" fmla="*/ 1 w 386"/>
                  <a:gd name="T7" fmla="*/ 1 h 169"/>
                  <a:gd name="T8" fmla="*/ 1 w 386"/>
                  <a:gd name="T9" fmla="*/ 1 h 169"/>
                  <a:gd name="T10" fmla="*/ 1 w 386"/>
                  <a:gd name="T11" fmla="*/ 1 h 169"/>
                  <a:gd name="T12" fmla="*/ 1 w 386"/>
                  <a:gd name="T13" fmla="*/ 1 h 169"/>
                  <a:gd name="T14" fmla="*/ 1 w 386"/>
                  <a:gd name="T15" fmla="*/ 1 h 169"/>
                  <a:gd name="T16" fmla="*/ 1 w 386"/>
                  <a:gd name="T17" fmla="*/ 1 h 169"/>
                  <a:gd name="T18" fmla="*/ 1 w 386"/>
                  <a:gd name="T19" fmla="*/ 1 h 169"/>
                  <a:gd name="T20" fmla="*/ 1 w 386"/>
                  <a:gd name="T21" fmla="*/ 1 h 169"/>
                  <a:gd name="T22" fmla="*/ 1 w 386"/>
                  <a:gd name="T23" fmla="*/ 1 h 169"/>
                  <a:gd name="T24" fmla="*/ 1 w 386"/>
                  <a:gd name="T25" fmla="*/ 1 h 169"/>
                  <a:gd name="T26" fmla="*/ 1 w 386"/>
                  <a:gd name="T27" fmla="*/ 1 h 169"/>
                  <a:gd name="T28" fmla="*/ 0 w 386"/>
                  <a:gd name="T29" fmla="*/ 1 h 169"/>
                  <a:gd name="T30" fmla="*/ 1 w 386"/>
                  <a:gd name="T31" fmla="*/ 1 h 169"/>
                  <a:gd name="T32" fmla="*/ 1 w 386"/>
                  <a:gd name="T33" fmla="*/ 1 h 169"/>
                  <a:gd name="T34" fmla="*/ 1 w 386"/>
                  <a:gd name="T35" fmla="*/ 1 h 169"/>
                  <a:gd name="T36" fmla="*/ 1 w 386"/>
                  <a:gd name="T37" fmla="*/ 1 h 169"/>
                  <a:gd name="T38" fmla="*/ 1 w 386"/>
                  <a:gd name="T39" fmla="*/ 1 h 169"/>
                  <a:gd name="T40" fmla="*/ 1 w 386"/>
                  <a:gd name="T41" fmla="*/ 1 h 169"/>
                  <a:gd name="T42" fmla="*/ 1 w 386"/>
                  <a:gd name="T43" fmla="*/ 1 h 169"/>
                  <a:gd name="T44" fmla="*/ 1 w 386"/>
                  <a:gd name="T45" fmla="*/ 0 h 169"/>
                  <a:gd name="T46" fmla="*/ 1 w 386"/>
                  <a:gd name="T47" fmla="*/ 1 h 169"/>
                  <a:gd name="T48" fmla="*/ 1 w 386"/>
                  <a:gd name="T49" fmla="*/ 1 h 16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6"/>
                  <a:gd name="T76" fmla="*/ 0 h 169"/>
                  <a:gd name="T77" fmla="*/ 386 w 386"/>
                  <a:gd name="T78" fmla="*/ 169 h 16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6" h="169">
                    <a:moveTo>
                      <a:pt x="386" y="69"/>
                    </a:moveTo>
                    <a:lnTo>
                      <a:pt x="359" y="80"/>
                    </a:lnTo>
                    <a:lnTo>
                      <a:pt x="301" y="169"/>
                    </a:lnTo>
                    <a:lnTo>
                      <a:pt x="228" y="101"/>
                    </a:lnTo>
                    <a:lnTo>
                      <a:pt x="207" y="90"/>
                    </a:lnTo>
                    <a:lnTo>
                      <a:pt x="203" y="86"/>
                    </a:lnTo>
                    <a:lnTo>
                      <a:pt x="169" y="130"/>
                    </a:lnTo>
                    <a:lnTo>
                      <a:pt x="169" y="96"/>
                    </a:lnTo>
                    <a:lnTo>
                      <a:pt x="163" y="90"/>
                    </a:lnTo>
                    <a:lnTo>
                      <a:pt x="119" y="136"/>
                    </a:lnTo>
                    <a:lnTo>
                      <a:pt x="84" y="136"/>
                    </a:lnTo>
                    <a:lnTo>
                      <a:pt x="75" y="86"/>
                    </a:lnTo>
                    <a:lnTo>
                      <a:pt x="7" y="98"/>
                    </a:lnTo>
                    <a:lnTo>
                      <a:pt x="4" y="101"/>
                    </a:lnTo>
                    <a:lnTo>
                      <a:pt x="0" y="98"/>
                    </a:lnTo>
                    <a:lnTo>
                      <a:pt x="30" y="67"/>
                    </a:lnTo>
                    <a:lnTo>
                      <a:pt x="251" y="67"/>
                    </a:lnTo>
                    <a:lnTo>
                      <a:pt x="278" y="80"/>
                    </a:lnTo>
                    <a:lnTo>
                      <a:pt x="288" y="80"/>
                    </a:lnTo>
                    <a:lnTo>
                      <a:pt x="305" y="67"/>
                    </a:lnTo>
                    <a:lnTo>
                      <a:pt x="349" y="67"/>
                    </a:lnTo>
                    <a:lnTo>
                      <a:pt x="359" y="57"/>
                    </a:lnTo>
                    <a:lnTo>
                      <a:pt x="370" y="0"/>
                    </a:lnTo>
                    <a:lnTo>
                      <a:pt x="386" y="53"/>
                    </a:lnTo>
                    <a:lnTo>
                      <a:pt x="386" y="6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1" name="Freeform 194"/>
              <p:cNvSpPr>
                <a:spLocks/>
              </p:cNvSpPr>
              <p:nvPr/>
            </p:nvSpPr>
            <p:spPr bwMode="gray">
              <a:xfrm>
                <a:off x="4790" y="2793"/>
                <a:ext cx="121" cy="38"/>
              </a:xfrm>
              <a:custGeom>
                <a:avLst/>
                <a:gdLst>
                  <a:gd name="T0" fmla="*/ 1 w 242"/>
                  <a:gd name="T1" fmla="*/ 0 h 77"/>
                  <a:gd name="T2" fmla="*/ 1 w 242"/>
                  <a:gd name="T3" fmla="*/ 0 h 77"/>
                  <a:gd name="T4" fmla="*/ 1 w 242"/>
                  <a:gd name="T5" fmla="*/ 0 h 77"/>
                  <a:gd name="T6" fmla="*/ 1 w 242"/>
                  <a:gd name="T7" fmla="*/ 0 h 77"/>
                  <a:gd name="T8" fmla="*/ 0 w 242"/>
                  <a:gd name="T9" fmla="*/ 0 h 77"/>
                  <a:gd name="T10" fmla="*/ 1 w 242"/>
                  <a:gd name="T11" fmla="*/ 0 h 77"/>
                  <a:gd name="T12" fmla="*/ 1 w 242"/>
                  <a:gd name="T13" fmla="*/ 0 h 77"/>
                  <a:gd name="T14" fmla="*/ 1 w 242"/>
                  <a:gd name="T15" fmla="*/ 0 h 77"/>
                  <a:gd name="T16" fmla="*/ 1 w 242"/>
                  <a:gd name="T17" fmla="*/ 0 h 77"/>
                  <a:gd name="T18" fmla="*/ 1 w 242"/>
                  <a:gd name="T19" fmla="*/ 0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2"/>
                  <a:gd name="T31" fmla="*/ 0 h 77"/>
                  <a:gd name="T32" fmla="*/ 242 w 242"/>
                  <a:gd name="T33" fmla="*/ 77 h 7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2" h="77">
                    <a:moveTo>
                      <a:pt x="242" y="58"/>
                    </a:moveTo>
                    <a:lnTo>
                      <a:pt x="209" y="77"/>
                    </a:lnTo>
                    <a:lnTo>
                      <a:pt x="138" y="73"/>
                    </a:lnTo>
                    <a:lnTo>
                      <a:pt x="109" y="58"/>
                    </a:lnTo>
                    <a:lnTo>
                      <a:pt x="0" y="58"/>
                    </a:lnTo>
                    <a:lnTo>
                      <a:pt x="15" y="44"/>
                    </a:lnTo>
                    <a:lnTo>
                      <a:pt x="106" y="42"/>
                    </a:lnTo>
                    <a:lnTo>
                      <a:pt x="190" y="0"/>
                    </a:lnTo>
                    <a:lnTo>
                      <a:pt x="230" y="42"/>
                    </a:lnTo>
                    <a:lnTo>
                      <a:pt x="242" y="5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2" name="Freeform 195"/>
              <p:cNvSpPr>
                <a:spLocks/>
              </p:cNvSpPr>
              <p:nvPr/>
            </p:nvSpPr>
            <p:spPr bwMode="gray">
              <a:xfrm>
                <a:off x="5045" y="1727"/>
                <a:ext cx="132" cy="152"/>
              </a:xfrm>
              <a:custGeom>
                <a:avLst/>
                <a:gdLst>
                  <a:gd name="T0" fmla="*/ 1 w 263"/>
                  <a:gd name="T1" fmla="*/ 0 h 305"/>
                  <a:gd name="T2" fmla="*/ 1 w 263"/>
                  <a:gd name="T3" fmla="*/ 0 h 305"/>
                  <a:gd name="T4" fmla="*/ 1 w 263"/>
                  <a:gd name="T5" fmla="*/ 0 h 305"/>
                  <a:gd name="T6" fmla="*/ 1 w 263"/>
                  <a:gd name="T7" fmla="*/ 0 h 305"/>
                  <a:gd name="T8" fmla="*/ 1 w 263"/>
                  <a:gd name="T9" fmla="*/ 0 h 305"/>
                  <a:gd name="T10" fmla="*/ 1 w 263"/>
                  <a:gd name="T11" fmla="*/ 0 h 305"/>
                  <a:gd name="T12" fmla="*/ 1 w 263"/>
                  <a:gd name="T13" fmla="*/ 0 h 305"/>
                  <a:gd name="T14" fmla="*/ 1 w 263"/>
                  <a:gd name="T15" fmla="*/ 0 h 305"/>
                  <a:gd name="T16" fmla="*/ 0 w 263"/>
                  <a:gd name="T17" fmla="*/ 0 h 305"/>
                  <a:gd name="T18" fmla="*/ 0 w 263"/>
                  <a:gd name="T19" fmla="*/ 0 h 305"/>
                  <a:gd name="T20" fmla="*/ 1 w 263"/>
                  <a:gd name="T21" fmla="*/ 0 h 305"/>
                  <a:gd name="T22" fmla="*/ 1 w 263"/>
                  <a:gd name="T23" fmla="*/ 0 h 305"/>
                  <a:gd name="T24" fmla="*/ 1 w 263"/>
                  <a:gd name="T25" fmla="*/ 0 h 305"/>
                  <a:gd name="T26" fmla="*/ 1 w 263"/>
                  <a:gd name="T27" fmla="*/ 0 h 305"/>
                  <a:gd name="T28" fmla="*/ 1 w 263"/>
                  <a:gd name="T29" fmla="*/ 0 h 305"/>
                  <a:gd name="T30" fmla="*/ 1 w 263"/>
                  <a:gd name="T31" fmla="*/ 0 h 305"/>
                  <a:gd name="T32" fmla="*/ 1 w 263"/>
                  <a:gd name="T33" fmla="*/ 0 h 305"/>
                  <a:gd name="T34" fmla="*/ 1 w 263"/>
                  <a:gd name="T35" fmla="*/ 0 h 305"/>
                  <a:gd name="T36" fmla="*/ 1 w 263"/>
                  <a:gd name="T37" fmla="*/ 0 h 305"/>
                  <a:gd name="T38" fmla="*/ 1 w 263"/>
                  <a:gd name="T39" fmla="*/ 0 h 30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3"/>
                  <a:gd name="T61" fmla="*/ 0 h 305"/>
                  <a:gd name="T62" fmla="*/ 263 w 263"/>
                  <a:gd name="T63" fmla="*/ 305 h 30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3" h="305">
                    <a:moveTo>
                      <a:pt x="263" y="265"/>
                    </a:moveTo>
                    <a:lnTo>
                      <a:pt x="199" y="265"/>
                    </a:lnTo>
                    <a:lnTo>
                      <a:pt x="195" y="268"/>
                    </a:lnTo>
                    <a:lnTo>
                      <a:pt x="230" y="286"/>
                    </a:lnTo>
                    <a:lnTo>
                      <a:pt x="186" y="299"/>
                    </a:lnTo>
                    <a:lnTo>
                      <a:pt x="182" y="305"/>
                    </a:lnTo>
                    <a:lnTo>
                      <a:pt x="163" y="284"/>
                    </a:lnTo>
                    <a:lnTo>
                      <a:pt x="51" y="286"/>
                    </a:lnTo>
                    <a:lnTo>
                      <a:pt x="0" y="305"/>
                    </a:lnTo>
                    <a:lnTo>
                      <a:pt x="0" y="286"/>
                    </a:lnTo>
                    <a:lnTo>
                      <a:pt x="147" y="232"/>
                    </a:lnTo>
                    <a:lnTo>
                      <a:pt x="136" y="197"/>
                    </a:lnTo>
                    <a:lnTo>
                      <a:pt x="176" y="180"/>
                    </a:lnTo>
                    <a:lnTo>
                      <a:pt x="180" y="180"/>
                    </a:lnTo>
                    <a:lnTo>
                      <a:pt x="180" y="132"/>
                    </a:lnTo>
                    <a:lnTo>
                      <a:pt x="167" y="27"/>
                    </a:lnTo>
                    <a:lnTo>
                      <a:pt x="163" y="21"/>
                    </a:lnTo>
                    <a:lnTo>
                      <a:pt x="180" y="0"/>
                    </a:lnTo>
                    <a:lnTo>
                      <a:pt x="263" y="101"/>
                    </a:lnTo>
                    <a:lnTo>
                      <a:pt x="263" y="2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3" name="Freeform 196"/>
              <p:cNvSpPr>
                <a:spLocks/>
              </p:cNvSpPr>
              <p:nvPr/>
            </p:nvSpPr>
            <p:spPr bwMode="gray">
              <a:xfrm>
                <a:off x="5082" y="1652"/>
                <a:ext cx="86" cy="75"/>
              </a:xfrm>
              <a:custGeom>
                <a:avLst/>
                <a:gdLst>
                  <a:gd name="T0" fmla="*/ 1 w 172"/>
                  <a:gd name="T1" fmla="*/ 1 h 150"/>
                  <a:gd name="T2" fmla="*/ 1 w 172"/>
                  <a:gd name="T3" fmla="*/ 1 h 150"/>
                  <a:gd name="T4" fmla="*/ 1 w 172"/>
                  <a:gd name="T5" fmla="*/ 1 h 150"/>
                  <a:gd name="T6" fmla="*/ 1 w 172"/>
                  <a:gd name="T7" fmla="*/ 1 h 150"/>
                  <a:gd name="T8" fmla="*/ 1 w 172"/>
                  <a:gd name="T9" fmla="*/ 1 h 150"/>
                  <a:gd name="T10" fmla="*/ 1 w 172"/>
                  <a:gd name="T11" fmla="*/ 1 h 150"/>
                  <a:gd name="T12" fmla="*/ 1 w 172"/>
                  <a:gd name="T13" fmla="*/ 1 h 150"/>
                  <a:gd name="T14" fmla="*/ 1 w 172"/>
                  <a:gd name="T15" fmla="*/ 1 h 150"/>
                  <a:gd name="T16" fmla="*/ 1 w 172"/>
                  <a:gd name="T17" fmla="*/ 1 h 150"/>
                  <a:gd name="T18" fmla="*/ 0 w 172"/>
                  <a:gd name="T19" fmla="*/ 1 h 150"/>
                  <a:gd name="T20" fmla="*/ 1 w 172"/>
                  <a:gd name="T21" fmla="*/ 1 h 150"/>
                  <a:gd name="T22" fmla="*/ 1 w 172"/>
                  <a:gd name="T23" fmla="*/ 1 h 150"/>
                  <a:gd name="T24" fmla="*/ 0 w 172"/>
                  <a:gd name="T25" fmla="*/ 0 h 150"/>
                  <a:gd name="T26" fmla="*/ 1 w 172"/>
                  <a:gd name="T27" fmla="*/ 0 h 150"/>
                  <a:gd name="T28" fmla="*/ 1 w 172"/>
                  <a:gd name="T29" fmla="*/ 1 h 1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2"/>
                  <a:gd name="T46" fmla="*/ 0 h 150"/>
                  <a:gd name="T47" fmla="*/ 172 w 172"/>
                  <a:gd name="T48" fmla="*/ 150 h 1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2" h="150">
                    <a:moveTo>
                      <a:pt x="168" y="46"/>
                    </a:moveTo>
                    <a:lnTo>
                      <a:pt x="172" y="48"/>
                    </a:lnTo>
                    <a:lnTo>
                      <a:pt x="117" y="98"/>
                    </a:lnTo>
                    <a:lnTo>
                      <a:pt x="88" y="84"/>
                    </a:lnTo>
                    <a:lnTo>
                      <a:pt x="69" y="98"/>
                    </a:lnTo>
                    <a:lnTo>
                      <a:pt x="65" y="102"/>
                    </a:lnTo>
                    <a:lnTo>
                      <a:pt x="92" y="129"/>
                    </a:lnTo>
                    <a:lnTo>
                      <a:pt x="74" y="146"/>
                    </a:lnTo>
                    <a:lnTo>
                      <a:pt x="61" y="150"/>
                    </a:lnTo>
                    <a:lnTo>
                      <a:pt x="0" y="102"/>
                    </a:lnTo>
                    <a:lnTo>
                      <a:pt x="11" y="52"/>
                    </a:lnTo>
                    <a:lnTo>
                      <a:pt x="11" y="37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68" y="4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4" name="Freeform 197"/>
              <p:cNvSpPr>
                <a:spLocks/>
              </p:cNvSpPr>
              <p:nvPr/>
            </p:nvSpPr>
            <p:spPr bwMode="gray">
              <a:xfrm>
                <a:off x="5037" y="1897"/>
                <a:ext cx="33" cy="54"/>
              </a:xfrm>
              <a:custGeom>
                <a:avLst/>
                <a:gdLst>
                  <a:gd name="T0" fmla="*/ 0 w 67"/>
                  <a:gd name="T1" fmla="*/ 0 h 110"/>
                  <a:gd name="T2" fmla="*/ 0 w 67"/>
                  <a:gd name="T3" fmla="*/ 0 h 110"/>
                  <a:gd name="T4" fmla="*/ 0 w 67"/>
                  <a:gd name="T5" fmla="*/ 0 h 110"/>
                  <a:gd name="T6" fmla="*/ 0 w 67"/>
                  <a:gd name="T7" fmla="*/ 0 h 110"/>
                  <a:gd name="T8" fmla="*/ 0 w 67"/>
                  <a:gd name="T9" fmla="*/ 0 h 110"/>
                  <a:gd name="T10" fmla="*/ 0 w 67"/>
                  <a:gd name="T11" fmla="*/ 0 h 110"/>
                  <a:gd name="T12" fmla="*/ 0 w 67"/>
                  <a:gd name="T13" fmla="*/ 0 h 110"/>
                  <a:gd name="T14" fmla="*/ 0 w 67"/>
                  <a:gd name="T15" fmla="*/ 0 h 1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110"/>
                  <a:gd name="T26" fmla="*/ 67 w 67"/>
                  <a:gd name="T27" fmla="*/ 110 h 1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110">
                    <a:moveTo>
                      <a:pt x="64" y="93"/>
                    </a:moveTo>
                    <a:lnTo>
                      <a:pt x="60" y="104"/>
                    </a:lnTo>
                    <a:lnTo>
                      <a:pt x="60" y="110"/>
                    </a:lnTo>
                    <a:lnTo>
                      <a:pt x="21" y="62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67" y="62"/>
                    </a:lnTo>
                    <a:lnTo>
                      <a:pt x="64" y="9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5" name="Freeform 198"/>
              <p:cNvSpPr>
                <a:spLocks/>
              </p:cNvSpPr>
              <p:nvPr/>
            </p:nvSpPr>
            <p:spPr bwMode="gray">
              <a:xfrm>
                <a:off x="5082" y="1888"/>
                <a:ext cx="33" cy="18"/>
              </a:xfrm>
              <a:custGeom>
                <a:avLst/>
                <a:gdLst>
                  <a:gd name="T0" fmla="*/ 0 w 67"/>
                  <a:gd name="T1" fmla="*/ 0 h 37"/>
                  <a:gd name="T2" fmla="*/ 0 w 67"/>
                  <a:gd name="T3" fmla="*/ 0 h 37"/>
                  <a:gd name="T4" fmla="*/ 0 w 67"/>
                  <a:gd name="T5" fmla="*/ 0 h 37"/>
                  <a:gd name="T6" fmla="*/ 0 w 67"/>
                  <a:gd name="T7" fmla="*/ 0 h 37"/>
                  <a:gd name="T8" fmla="*/ 0 w 67"/>
                  <a:gd name="T9" fmla="*/ 0 h 37"/>
                  <a:gd name="T10" fmla="*/ 0 w 67"/>
                  <a:gd name="T11" fmla="*/ 0 h 37"/>
                  <a:gd name="T12" fmla="*/ 0 w 67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37"/>
                  <a:gd name="T23" fmla="*/ 67 w 6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37">
                    <a:moveTo>
                      <a:pt x="67" y="12"/>
                    </a:moveTo>
                    <a:lnTo>
                      <a:pt x="17" y="37"/>
                    </a:lnTo>
                    <a:lnTo>
                      <a:pt x="3" y="19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67" y="0"/>
                    </a:lnTo>
                    <a:lnTo>
                      <a:pt x="67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6" name="Freeform 199"/>
              <p:cNvSpPr>
                <a:spLocks/>
              </p:cNvSpPr>
              <p:nvPr/>
            </p:nvSpPr>
            <p:spPr bwMode="gray">
              <a:xfrm>
                <a:off x="2049" y="1020"/>
                <a:ext cx="610" cy="471"/>
              </a:xfrm>
              <a:custGeom>
                <a:avLst/>
                <a:gdLst>
                  <a:gd name="T0" fmla="*/ 0 w 1221"/>
                  <a:gd name="T1" fmla="*/ 0 h 943"/>
                  <a:gd name="T2" fmla="*/ 0 w 1221"/>
                  <a:gd name="T3" fmla="*/ 0 h 943"/>
                  <a:gd name="T4" fmla="*/ 0 w 1221"/>
                  <a:gd name="T5" fmla="*/ 0 h 943"/>
                  <a:gd name="T6" fmla="*/ 0 w 1221"/>
                  <a:gd name="T7" fmla="*/ 0 h 943"/>
                  <a:gd name="T8" fmla="*/ 0 w 1221"/>
                  <a:gd name="T9" fmla="*/ 0 h 943"/>
                  <a:gd name="T10" fmla="*/ 0 w 1221"/>
                  <a:gd name="T11" fmla="*/ 0 h 943"/>
                  <a:gd name="T12" fmla="*/ 0 w 1221"/>
                  <a:gd name="T13" fmla="*/ 0 h 943"/>
                  <a:gd name="T14" fmla="*/ 0 w 1221"/>
                  <a:gd name="T15" fmla="*/ 0 h 943"/>
                  <a:gd name="T16" fmla="*/ 0 w 1221"/>
                  <a:gd name="T17" fmla="*/ 0 h 943"/>
                  <a:gd name="T18" fmla="*/ 0 w 1221"/>
                  <a:gd name="T19" fmla="*/ 0 h 943"/>
                  <a:gd name="T20" fmla="*/ 0 w 1221"/>
                  <a:gd name="T21" fmla="*/ 0 h 943"/>
                  <a:gd name="T22" fmla="*/ 0 w 1221"/>
                  <a:gd name="T23" fmla="*/ 0 h 943"/>
                  <a:gd name="T24" fmla="*/ 0 w 1221"/>
                  <a:gd name="T25" fmla="*/ 0 h 943"/>
                  <a:gd name="T26" fmla="*/ 0 w 1221"/>
                  <a:gd name="T27" fmla="*/ 0 h 943"/>
                  <a:gd name="T28" fmla="*/ 0 w 1221"/>
                  <a:gd name="T29" fmla="*/ 0 h 943"/>
                  <a:gd name="T30" fmla="*/ 0 w 1221"/>
                  <a:gd name="T31" fmla="*/ 0 h 943"/>
                  <a:gd name="T32" fmla="*/ 0 w 1221"/>
                  <a:gd name="T33" fmla="*/ 0 h 943"/>
                  <a:gd name="T34" fmla="*/ 0 w 1221"/>
                  <a:gd name="T35" fmla="*/ 0 h 943"/>
                  <a:gd name="T36" fmla="*/ 0 w 1221"/>
                  <a:gd name="T37" fmla="*/ 0 h 943"/>
                  <a:gd name="T38" fmla="*/ 0 w 1221"/>
                  <a:gd name="T39" fmla="*/ 0 h 943"/>
                  <a:gd name="T40" fmla="*/ 0 w 1221"/>
                  <a:gd name="T41" fmla="*/ 0 h 943"/>
                  <a:gd name="T42" fmla="*/ 0 w 1221"/>
                  <a:gd name="T43" fmla="*/ 0 h 943"/>
                  <a:gd name="T44" fmla="*/ 0 w 1221"/>
                  <a:gd name="T45" fmla="*/ 0 h 943"/>
                  <a:gd name="T46" fmla="*/ 0 w 1221"/>
                  <a:gd name="T47" fmla="*/ 0 h 943"/>
                  <a:gd name="T48" fmla="*/ 0 w 1221"/>
                  <a:gd name="T49" fmla="*/ 0 h 943"/>
                  <a:gd name="T50" fmla="*/ 0 w 1221"/>
                  <a:gd name="T51" fmla="*/ 0 h 943"/>
                  <a:gd name="T52" fmla="*/ 0 w 1221"/>
                  <a:gd name="T53" fmla="*/ 0 h 943"/>
                  <a:gd name="T54" fmla="*/ 0 w 1221"/>
                  <a:gd name="T55" fmla="*/ 0 h 943"/>
                  <a:gd name="T56" fmla="*/ 0 w 1221"/>
                  <a:gd name="T57" fmla="*/ 0 h 943"/>
                  <a:gd name="T58" fmla="*/ 0 w 1221"/>
                  <a:gd name="T59" fmla="*/ 0 h 943"/>
                  <a:gd name="T60" fmla="*/ 0 w 1221"/>
                  <a:gd name="T61" fmla="*/ 0 h 943"/>
                  <a:gd name="T62" fmla="*/ 0 w 1221"/>
                  <a:gd name="T63" fmla="*/ 0 h 943"/>
                  <a:gd name="T64" fmla="*/ 0 w 1221"/>
                  <a:gd name="T65" fmla="*/ 0 h 943"/>
                  <a:gd name="T66" fmla="*/ 0 w 1221"/>
                  <a:gd name="T67" fmla="*/ 0 h 943"/>
                  <a:gd name="T68" fmla="*/ 0 w 1221"/>
                  <a:gd name="T69" fmla="*/ 0 h 943"/>
                  <a:gd name="T70" fmla="*/ 0 w 1221"/>
                  <a:gd name="T71" fmla="*/ 0 h 943"/>
                  <a:gd name="T72" fmla="*/ 0 w 1221"/>
                  <a:gd name="T73" fmla="*/ 0 h 943"/>
                  <a:gd name="T74" fmla="*/ 0 w 1221"/>
                  <a:gd name="T75" fmla="*/ 0 h 943"/>
                  <a:gd name="T76" fmla="*/ 0 w 1221"/>
                  <a:gd name="T77" fmla="*/ 0 h 943"/>
                  <a:gd name="T78" fmla="*/ 0 w 1221"/>
                  <a:gd name="T79" fmla="*/ 0 h 943"/>
                  <a:gd name="T80" fmla="*/ 0 w 1221"/>
                  <a:gd name="T81" fmla="*/ 0 h 943"/>
                  <a:gd name="T82" fmla="*/ 0 w 1221"/>
                  <a:gd name="T83" fmla="*/ 0 h 943"/>
                  <a:gd name="T84" fmla="*/ 0 w 1221"/>
                  <a:gd name="T85" fmla="*/ 0 h 943"/>
                  <a:gd name="T86" fmla="*/ 0 w 1221"/>
                  <a:gd name="T87" fmla="*/ 0 h 943"/>
                  <a:gd name="T88" fmla="*/ 0 w 1221"/>
                  <a:gd name="T89" fmla="*/ 0 h 943"/>
                  <a:gd name="T90" fmla="*/ 0 w 1221"/>
                  <a:gd name="T91" fmla="*/ 0 h 943"/>
                  <a:gd name="T92" fmla="*/ 0 w 1221"/>
                  <a:gd name="T93" fmla="*/ 0 h 943"/>
                  <a:gd name="T94" fmla="*/ 0 w 1221"/>
                  <a:gd name="T95" fmla="*/ 0 h 943"/>
                  <a:gd name="T96" fmla="*/ 0 w 1221"/>
                  <a:gd name="T97" fmla="*/ 0 h 943"/>
                  <a:gd name="T98" fmla="*/ 0 w 1221"/>
                  <a:gd name="T99" fmla="*/ 0 h 943"/>
                  <a:gd name="T100" fmla="*/ 0 w 1221"/>
                  <a:gd name="T101" fmla="*/ 0 h 943"/>
                  <a:gd name="T102" fmla="*/ 0 w 1221"/>
                  <a:gd name="T103" fmla="*/ 0 h 943"/>
                  <a:gd name="T104" fmla="*/ 0 w 1221"/>
                  <a:gd name="T105" fmla="*/ 0 h 943"/>
                  <a:gd name="T106" fmla="*/ 0 w 1221"/>
                  <a:gd name="T107" fmla="*/ 0 h 94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21"/>
                  <a:gd name="T163" fmla="*/ 0 h 943"/>
                  <a:gd name="T164" fmla="*/ 1221 w 1221"/>
                  <a:gd name="T165" fmla="*/ 943 h 94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21" h="943">
                    <a:moveTo>
                      <a:pt x="1100" y="106"/>
                    </a:moveTo>
                    <a:lnTo>
                      <a:pt x="1115" y="112"/>
                    </a:lnTo>
                    <a:lnTo>
                      <a:pt x="1128" y="112"/>
                    </a:lnTo>
                    <a:lnTo>
                      <a:pt x="1134" y="67"/>
                    </a:lnTo>
                    <a:lnTo>
                      <a:pt x="1134" y="60"/>
                    </a:lnTo>
                    <a:lnTo>
                      <a:pt x="1221" y="92"/>
                    </a:lnTo>
                    <a:lnTo>
                      <a:pt x="1221" y="112"/>
                    </a:lnTo>
                    <a:lnTo>
                      <a:pt x="1182" y="133"/>
                    </a:lnTo>
                    <a:lnTo>
                      <a:pt x="1100" y="386"/>
                    </a:lnTo>
                    <a:lnTo>
                      <a:pt x="1009" y="407"/>
                    </a:lnTo>
                    <a:lnTo>
                      <a:pt x="983" y="407"/>
                    </a:lnTo>
                    <a:lnTo>
                      <a:pt x="983" y="444"/>
                    </a:lnTo>
                    <a:lnTo>
                      <a:pt x="994" y="478"/>
                    </a:lnTo>
                    <a:lnTo>
                      <a:pt x="910" y="566"/>
                    </a:lnTo>
                    <a:lnTo>
                      <a:pt x="785" y="649"/>
                    </a:lnTo>
                    <a:lnTo>
                      <a:pt x="712" y="611"/>
                    </a:lnTo>
                    <a:lnTo>
                      <a:pt x="681" y="676"/>
                    </a:lnTo>
                    <a:lnTo>
                      <a:pt x="672" y="685"/>
                    </a:lnTo>
                    <a:lnTo>
                      <a:pt x="533" y="701"/>
                    </a:lnTo>
                    <a:lnTo>
                      <a:pt x="512" y="714"/>
                    </a:lnTo>
                    <a:lnTo>
                      <a:pt x="340" y="889"/>
                    </a:lnTo>
                    <a:lnTo>
                      <a:pt x="270" y="943"/>
                    </a:lnTo>
                    <a:lnTo>
                      <a:pt x="165" y="927"/>
                    </a:lnTo>
                    <a:lnTo>
                      <a:pt x="155" y="927"/>
                    </a:lnTo>
                    <a:lnTo>
                      <a:pt x="121" y="850"/>
                    </a:lnTo>
                    <a:lnTo>
                      <a:pt x="121" y="826"/>
                    </a:lnTo>
                    <a:lnTo>
                      <a:pt x="128" y="806"/>
                    </a:lnTo>
                    <a:lnTo>
                      <a:pt x="128" y="787"/>
                    </a:lnTo>
                    <a:lnTo>
                      <a:pt x="138" y="764"/>
                    </a:lnTo>
                    <a:lnTo>
                      <a:pt x="128" y="722"/>
                    </a:lnTo>
                    <a:lnTo>
                      <a:pt x="121" y="676"/>
                    </a:lnTo>
                    <a:lnTo>
                      <a:pt x="121" y="672"/>
                    </a:lnTo>
                    <a:lnTo>
                      <a:pt x="115" y="668"/>
                    </a:lnTo>
                    <a:lnTo>
                      <a:pt x="222" y="557"/>
                    </a:lnTo>
                    <a:lnTo>
                      <a:pt x="228" y="484"/>
                    </a:lnTo>
                    <a:lnTo>
                      <a:pt x="242" y="373"/>
                    </a:lnTo>
                    <a:lnTo>
                      <a:pt x="121" y="294"/>
                    </a:lnTo>
                    <a:lnTo>
                      <a:pt x="15" y="294"/>
                    </a:lnTo>
                    <a:lnTo>
                      <a:pt x="0" y="280"/>
                    </a:lnTo>
                    <a:lnTo>
                      <a:pt x="48" y="188"/>
                    </a:lnTo>
                    <a:lnTo>
                      <a:pt x="151" y="185"/>
                    </a:lnTo>
                    <a:lnTo>
                      <a:pt x="155" y="179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424" y="64"/>
                    </a:lnTo>
                    <a:lnTo>
                      <a:pt x="443" y="60"/>
                    </a:lnTo>
                    <a:lnTo>
                      <a:pt x="526" y="92"/>
                    </a:lnTo>
                    <a:lnTo>
                      <a:pt x="574" y="60"/>
                    </a:lnTo>
                    <a:lnTo>
                      <a:pt x="691" y="112"/>
                    </a:lnTo>
                    <a:lnTo>
                      <a:pt x="695" y="67"/>
                    </a:lnTo>
                    <a:lnTo>
                      <a:pt x="695" y="60"/>
                    </a:lnTo>
                    <a:lnTo>
                      <a:pt x="890" y="0"/>
                    </a:lnTo>
                    <a:lnTo>
                      <a:pt x="1100" y="41"/>
                    </a:lnTo>
                    <a:lnTo>
                      <a:pt x="1100" y="10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7" name="Freeform 200"/>
              <p:cNvSpPr>
                <a:spLocks/>
              </p:cNvSpPr>
              <p:nvPr/>
            </p:nvSpPr>
            <p:spPr bwMode="gray">
              <a:xfrm>
                <a:off x="2500" y="1369"/>
                <a:ext cx="140" cy="45"/>
              </a:xfrm>
              <a:custGeom>
                <a:avLst/>
                <a:gdLst>
                  <a:gd name="T0" fmla="*/ 1 w 280"/>
                  <a:gd name="T1" fmla="*/ 0 h 90"/>
                  <a:gd name="T2" fmla="*/ 1 w 280"/>
                  <a:gd name="T3" fmla="*/ 1 h 90"/>
                  <a:gd name="T4" fmla="*/ 1 w 280"/>
                  <a:gd name="T5" fmla="*/ 1 h 90"/>
                  <a:gd name="T6" fmla="*/ 1 w 280"/>
                  <a:gd name="T7" fmla="*/ 1 h 90"/>
                  <a:gd name="T8" fmla="*/ 0 w 280"/>
                  <a:gd name="T9" fmla="*/ 1 h 90"/>
                  <a:gd name="T10" fmla="*/ 0 w 280"/>
                  <a:gd name="T11" fmla="*/ 1 h 90"/>
                  <a:gd name="T12" fmla="*/ 1 w 280"/>
                  <a:gd name="T13" fmla="*/ 0 h 90"/>
                  <a:gd name="T14" fmla="*/ 1 w 280"/>
                  <a:gd name="T15" fmla="*/ 1 h 90"/>
                  <a:gd name="T16" fmla="*/ 1 w 280"/>
                  <a:gd name="T17" fmla="*/ 0 h 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0"/>
                  <a:gd name="T28" fmla="*/ 0 h 90"/>
                  <a:gd name="T29" fmla="*/ 280 w 280"/>
                  <a:gd name="T30" fmla="*/ 90 h 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0" h="90">
                    <a:moveTo>
                      <a:pt x="221" y="0"/>
                    </a:moveTo>
                    <a:lnTo>
                      <a:pt x="280" y="57"/>
                    </a:lnTo>
                    <a:lnTo>
                      <a:pt x="280" y="61"/>
                    </a:lnTo>
                    <a:lnTo>
                      <a:pt x="86" y="90"/>
                    </a:lnTo>
                    <a:lnTo>
                      <a:pt x="0" y="77"/>
                    </a:lnTo>
                    <a:lnTo>
                      <a:pt x="0" y="17"/>
                    </a:lnTo>
                    <a:lnTo>
                      <a:pt x="27" y="0"/>
                    </a:lnTo>
                    <a:lnTo>
                      <a:pt x="109" y="17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8" name="Freeform 201"/>
              <p:cNvSpPr>
                <a:spLocks/>
              </p:cNvSpPr>
              <p:nvPr/>
            </p:nvSpPr>
            <p:spPr bwMode="gray">
              <a:xfrm>
                <a:off x="2721" y="1522"/>
                <a:ext cx="90" cy="148"/>
              </a:xfrm>
              <a:custGeom>
                <a:avLst/>
                <a:gdLst>
                  <a:gd name="T0" fmla="*/ 0 w 181"/>
                  <a:gd name="T1" fmla="*/ 0 h 298"/>
                  <a:gd name="T2" fmla="*/ 0 w 181"/>
                  <a:gd name="T3" fmla="*/ 0 h 298"/>
                  <a:gd name="T4" fmla="*/ 0 w 181"/>
                  <a:gd name="T5" fmla="*/ 0 h 298"/>
                  <a:gd name="T6" fmla="*/ 0 w 181"/>
                  <a:gd name="T7" fmla="*/ 0 h 298"/>
                  <a:gd name="T8" fmla="*/ 0 w 181"/>
                  <a:gd name="T9" fmla="*/ 0 h 298"/>
                  <a:gd name="T10" fmla="*/ 0 w 181"/>
                  <a:gd name="T11" fmla="*/ 0 h 298"/>
                  <a:gd name="T12" fmla="*/ 0 w 181"/>
                  <a:gd name="T13" fmla="*/ 0 h 298"/>
                  <a:gd name="T14" fmla="*/ 0 w 181"/>
                  <a:gd name="T15" fmla="*/ 0 h 298"/>
                  <a:gd name="T16" fmla="*/ 0 w 181"/>
                  <a:gd name="T17" fmla="*/ 0 h 298"/>
                  <a:gd name="T18" fmla="*/ 0 w 181"/>
                  <a:gd name="T19" fmla="*/ 0 h 298"/>
                  <a:gd name="T20" fmla="*/ 0 w 181"/>
                  <a:gd name="T21" fmla="*/ 0 h 298"/>
                  <a:gd name="T22" fmla="*/ 0 w 181"/>
                  <a:gd name="T23" fmla="*/ 0 h 298"/>
                  <a:gd name="T24" fmla="*/ 0 w 181"/>
                  <a:gd name="T25" fmla="*/ 0 h 298"/>
                  <a:gd name="T26" fmla="*/ 0 w 181"/>
                  <a:gd name="T27" fmla="*/ 0 h 298"/>
                  <a:gd name="T28" fmla="*/ 0 w 181"/>
                  <a:gd name="T29" fmla="*/ 0 h 298"/>
                  <a:gd name="T30" fmla="*/ 0 w 181"/>
                  <a:gd name="T31" fmla="*/ 0 h 298"/>
                  <a:gd name="T32" fmla="*/ 0 w 181"/>
                  <a:gd name="T33" fmla="*/ 0 h 2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1"/>
                  <a:gd name="T52" fmla="*/ 0 h 298"/>
                  <a:gd name="T53" fmla="*/ 181 w 181"/>
                  <a:gd name="T54" fmla="*/ 298 h 29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1" h="298">
                    <a:moveTo>
                      <a:pt x="83" y="65"/>
                    </a:moveTo>
                    <a:lnTo>
                      <a:pt x="52" y="115"/>
                    </a:lnTo>
                    <a:lnTo>
                      <a:pt x="71" y="129"/>
                    </a:lnTo>
                    <a:lnTo>
                      <a:pt x="125" y="154"/>
                    </a:lnTo>
                    <a:lnTo>
                      <a:pt x="135" y="225"/>
                    </a:lnTo>
                    <a:lnTo>
                      <a:pt x="181" y="246"/>
                    </a:lnTo>
                    <a:lnTo>
                      <a:pt x="181" y="259"/>
                    </a:lnTo>
                    <a:lnTo>
                      <a:pt x="83" y="263"/>
                    </a:lnTo>
                    <a:lnTo>
                      <a:pt x="0" y="298"/>
                    </a:lnTo>
                    <a:lnTo>
                      <a:pt x="0" y="246"/>
                    </a:lnTo>
                    <a:lnTo>
                      <a:pt x="29" y="246"/>
                    </a:lnTo>
                    <a:lnTo>
                      <a:pt x="35" y="163"/>
                    </a:lnTo>
                    <a:lnTo>
                      <a:pt x="0" y="154"/>
                    </a:lnTo>
                    <a:lnTo>
                      <a:pt x="0" y="3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79" name="Freeform 202"/>
              <p:cNvSpPr>
                <a:spLocks/>
              </p:cNvSpPr>
              <p:nvPr/>
            </p:nvSpPr>
            <p:spPr bwMode="gray">
              <a:xfrm>
                <a:off x="2625" y="1596"/>
                <a:ext cx="79" cy="74"/>
              </a:xfrm>
              <a:custGeom>
                <a:avLst/>
                <a:gdLst>
                  <a:gd name="T0" fmla="*/ 0 w 159"/>
                  <a:gd name="T1" fmla="*/ 1 h 148"/>
                  <a:gd name="T2" fmla="*/ 0 w 159"/>
                  <a:gd name="T3" fmla="*/ 1 h 148"/>
                  <a:gd name="T4" fmla="*/ 0 w 159"/>
                  <a:gd name="T5" fmla="*/ 1 h 148"/>
                  <a:gd name="T6" fmla="*/ 0 w 159"/>
                  <a:gd name="T7" fmla="*/ 1 h 148"/>
                  <a:gd name="T8" fmla="*/ 0 w 159"/>
                  <a:gd name="T9" fmla="*/ 1 h 148"/>
                  <a:gd name="T10" fmla="*/ 0 w 159"/>
                  <a:gd name="T11" fmla="*/ 1 h 148"/>
                  <a:gd name="T12" fmla="*/ 0 w 159"/>
                  <a:gd name="T13" fmla="*/ 1 h 148"/>
                  <a:gd name="T14" fmla="*/ 0 w 159"/>
                  <a:gd name="T15" fmla="*/ 1 h 148"/>
                  <a:gd name="T16" fmla="*/ 0 w 159"/>
                  <a:gd name="T17" fmla="*/ 1 h 148"/>
                  <a:gd name="T18" fmla="*/ 0 w 159"/>
                  <a:gd name="T19" fmla="*/ 1 h 148"/>
                  <a:gd name="T20" fmla="*/ 0 w 159"/>
                  <a:gd name="T21" fmla="*/ 1 h 148"/>
                  <a:gd name="T22" fmla="*/ 0 w 159"/>
                  <a:gd name="T23" fmla="*/ 0 h 148"/>
                  <a:gd name="T24" fmla="*/ 0 w 159"/>
                  <a:gd name="T25" fmla="*/ 0 h 148"/>
                  <a:gd name="T26" fmla="*/ 0 w 159"/>
                  <a:gd name="T27" fmla="*/ 1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9"/>
                  <a:gd name="T43" fmla="*/ 0 h 148"/>
                  <a:gd name="T44" fmla="*/ 159 w 159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9" h="148">
                    <a:moveTo>
                      <a:pt x="159" y="30"/>
                    </a:moveTo>
                    <a:lnTo>
                      <a:pt x="142" y="73"/>
                    </a:lnTo>
                    <a:lnTo>
                      <a:pt x="153" y="107"/>
                    </a:lnTo>
                    <a:lnTo>
                      <a:pt x="159" y="111"/>
                    </a:lnTo>
                    <a:lnTo>
                      <a:pt x="71" y="119"/>
                    </a:lnTo>
                    <a:lnTo>
                      <a:pt x="48" y="148"/>
                    </a:lnTo>
                    <a:lnTo>
                      <a:pt x="0" y="148"/>
                    </a:lnTo>
                    <a:lnTo>
                      <a:pt x="57" y="100"/>
                    </a:lnTo>
                    <a:lnTo>
                      <a:pt x="57" y="77"/>
                    </a:lnTo>
                    <a:lnTo>
                      <a:pt x="48" y="40"/>
                    </a:lnTo>
                    <a:lnTo>
                      <a:pt x="48" y="30"/>
                    </a:lnTo>
                    <a:lnTo>
                      <a:pt x="105" y="0"/>
                    </a:lnTo>
                    <a:lnTo>
                      <a:pt x="142" y="0"/>
                    </a:lnTo>
                    <a:lnTo>
                      <a:pt x="159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0" name="Freeform 203"/>
              <p:cNvSpPr>
                <a:spLocks/>
              </p:cNvSpPr>
              <p:nvPr/>
            </p:nvSpPr>
            <p:spPr bwMode="gray">
              <a:xfrm>
                <a:off x="2917" y="1867"/>
                <a:ext cx="33" cy="39"/>
              </a:xfrm>
              <a:custGeom>
                <a:avLst/>
                <a:gdLst>
                  <a:gd name="T0" fmla="*/ 0 w 67"/>
                  <a:gd name="T1" fmla="*/ 0 h 79"/>
                  <a:gd name="T2" fmla="*/ 0 w 67"/>
                  <a:gd name="T3" fmla="*/ 0 h 79"/>
                  <a:gd name="T4" fmla="*/ 0 w 67"/>
                  <a:gd name="T5" fmla="*/ 0 h 79"/>
                  <a:gd name="T6" fmla="*/ 0 w 67"/>
                  <a:gd name="T7" fmla="*/ 0 h 79"/>
                  <a:gd name="T8" fmla="*/ 0 w 67"/>
                  <a:gd name="T9" fmla="*/ 0 h 79"/>
                  <a:gd name="T10" fmla="*/ 0 w 67"/>
                  <a:gd name="T11" fmla="*/ 0 h 79"/>
                  <a:gd name="T12" fmla="*/ 0 w 67"/>
                  <a:gd name="T13" fmla="*/ 0 h 79"/>
                  <a:gd name="T14" fmla="*/ 0 w 67"/>
                  <a:gd name="T15" fmla="*/ 0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79"/>
                  <a:gd name="T26" fmla="*/ 67 w 67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79">
                    <a:moveTo>
                      <a:pt x="67" y="31"/>
                    </a:moveTo>
                    <a:lnTo>
                      <a:pt x="58" y="42"/>
                    </a:lnTo>
                    <a:lnTo>
                      <a:pt x="67" y="73"/>
                    </a:lnTo>
                    <a:lnTo>
                      <a:pt x="44" y="79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40" y="0"/>
                    </a:lnTo>
                    <a:lnTo>
                      <a:pt x="67" y="3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1" name="Freeform 204"/>
              <p:cNvSpPr>
                <a:spLocks/>
              </p:cNvSpPr>
              <p:nvPr/>
            </p:nvSpPr>
            <p:spPr bwMode="gray">
              <a:xfrm>
                <a:off x="3007" y="1945"/>
                <a:ext cx="42" cy="26"/>
              </a:xfrm>
              <a:custGeom>
                <a:avLst/>
                <a:gdLst>
                  <a:gd name="T0" fmla="*/ 0 w 85"/>
                  <a:gd name="T1" fmla="*/ 1 h 52"/>
                  <a:gd name="T2" fmla="*/ 0 w 85"/>
                  <a:gd name="T3" fmla="*/ 1 h 52"/>
                  <a:gd name="T4" fmla="*/ 0 w 85"/>
                  <a:gd name="T5" fmla="*/ 1 h 52"/>
                  <a:gd name="T6" fmla="*/ 0 w 85"/>
                  <a:gd name="T7" fmla="*/ 1 h 52"/>
                  <a:gd name="T8" fmla="*/ 0 w 85"/>
                  <a:gd name="T9" fmla="*/ 0 h 52"/>
                  <a:gd name="T10" fmla="*/ 0 w 85"/>
                  <a:gd name="T11" fmla="*/ 0 h 52"/>
                  <a:gd name="T12" fmla="*/ 0 w 85"/>
                  <a:gd name="T13" fmla="*/ 1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"/>
                  <a:gd name="T22" fmla="*/ 0 h 52"/>
                  <a:gd name="T23" fmla="*/ 85 w 85"/>
                  <a:gd name="T24" fmla="*/ 52 h 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" h="52">
                    <a:moveTo>
                      <a:pt x="85" y="43"/>
                    </a:moveTo>
                    <a:lnTo>
                      <a:pt x="58" y="52"/>
                    </a:lnTo>
                    <a:lnTo>
                      <a:pt x="2" y="29"/>
                    </a:lnTo>
                    <a:lnTo>
                      <a:pt x="0" y="27"/>
                    </a:lnTo>
                    <a:lnTo>
                      <a:pt x="68" y="0"/>
                    </a:lnTo>
                    <a:lnTo>
                      <a:pt x="85" y="0"/>
                    </a:lnTo>
                    <a:lnTo>
                      <a:pt x="85" y="4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2" name="Freeform 205"/>
              <p:cNvSpPr>
                <a:spLocks/>
              </p:cNvSpPr>
              <p:nvPr/>
            </p:nvSpPr>
            <p:spPr bwMode="gray">
              <a:xfrm>
                <a:off x="3183" y="1972"/>
                <a:ext cx="42" cy="8"/>
              </a:xfrm>
              <a:custGeom>
                <a:avLst/>
                <a:gdLst>
                  <a:gd name="T0" fmla="*/ 1 w 82"/>
                  <a:gd name="T1" fmla="*/ 0 h 17"/>
                  <a:gd name="T2" fmla="*/ 1 w 82"/>
                  <a:gd name="T3" fmla="*/ 0 h 17"/>
                  <a:gd name="T4" fmla="*/ 0 w 82"/>
                  <a:gd name="T5" fmla="*/ 0 h 17"/>
                  <a:gd name="T6" fmla="*/ 1 w 82"/>
                  <a:gd name="T7" fmla="*/ 0 h 17"/>
                  <a:gd name="T8" fmla="*/ 1 w 82"/>
                  <a:gd name="T9" fmla="*/ 0 h 17"/>
                  <a:gd name="T10" fmla="*/ 1 w 8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2"/>
                  <a:gd name="T19" fmla="*/ 0 h 17"/>
                  <a:gd name="T20" fmla="*/ 82 w 8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2" h="17">
                    <a:moveTo>
                      <a:pt x="82" y="17"/>
                    </a:moveTo>
                    <a:lnTo>
                      <a:pt x="5" y="16"/>
                    </a:lnTo>
                    <a:lnTo>
                      <a:pt x="0" y="10"/>
                    </a:lnTo>
                    <a:lnTo>
                      <a:pt x="40" y="0"/>
                    </a:lnTo>
                    <a:lnTo>
                      <a:pt x="71" y="16"/>
                    </a:lnTo>
                    <a:lnTo>
                      <a:pt x="82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3" name="Freeform 206"/>
              <p:cNvSpPr>
                <a:spLocks/>
              </p:cNvSpPr>
              <p:nvPr/>
            </p:nvSpPr>
            <p:spPr bwMode="gray">
              <a:xfrm>
                <a:off x="1827" y="1040"/>
                <a:ext cx="326" cy="112"/>
              </a:xfrm>
              <a:custGeom>
                <a:avLst/>
                <a:gdLst>
                  <a:gd name="T0" fmla="*/ 1 w 651"/>
                  <a:gd name="T1" fmla="*/ 1 h 224"/>
                  <a:gd name="T2" fmla="*/ 1 w 651"/>
                  <a:gd name="T3" fmla="*/ 1 h 224"/>
                  <a:gd name="T4" fmla="*/ 1 w 651"/>
                  <a:gd name="T5" fmla="*/ 1 h 224"/>
                  <a:gd name="T6" fmla="*/ 1 w 651"/>
                  <a:gd name="T7" fmla="*/ 1 h 224"/>
                  <a:gd name="T8" fmla="*/ 1 w 651"/>
                  <a:gd name="T9" fmla="*/ 1 h 224"/>
                  <a:gd name="T10" fmla="*/ 1 w 651"/>
                  <a:gd name="T11" fmla="*/ 1 h 224"/>
                  <a:gd name="T12" fmla="*/ 1 w 651"/>
                  <a:gd name="T13" fmla="*/ 1 h 224"/>
                  <a:gd name="T14" fmla="*/ 1 w 651"/>
                  <a:gd name="T15" fmla="*/ 1 h 224"/>
                  <a:gd name="T16" fmla="*/ 1 w 651"/>
                  <a:gd name="T17" fmla="*/ 1 h 224"/>
                  <a:gd name="T18" fmla="*/ 1 w 651"/>
                  <a:gd name="T19" fmla="*/ 1 h 224"/>
                  <a:gd name="T20" fmla="*/ 1 w 651"/>
                  <a:gd name="T21" fmla="*/ 1 h 224"/>
                  <a:gd name="T22" fmla="*/ 1 w 651"/>
                  <a:gd name="T23" fmla="*/ 1 h 224"/>
                  <a:gd name="T24" fmla="*/ 1 w 651"/>
                  <a:gd name="T25" fmla="*/ 1 h 224"/>
                  <a:gd name="T26" fmla="*/ 1 w 651"/>
                  <a:gd name="T27" fmla="*/ 1 h 224"/>
                  <a:gd name="T28" fmla="*/ 1 w 651"/>
                  <a:gd name="T29" fmla="*/ 1 h 224"/>
                  <a:gd name="T30" fmla="*/ 0 w 651"/>
                  <a:gd name="T31" fmla="*/ 1 h 224"/>
                  <a:gd name="T32" fmla="*/ 1 w 651"/>
                  <a:gd name="T33" fmla="*/ 0 h 224"/>
                  <a:gd name="T34" fmla="*/ 1 w 651"/>
                  <a:gd name="T35" fmla="*/ 0 h 224"/>
                  <a:gd name="T36" fmla="*/ 1 w 651"/>
                  <a:gd name="T37" fmla="*/ 1 h 2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51"/>
                  <a:gd name="T58" fmla="*/ 0 h 224"/>
                  <a:gd name="T59" fmla="*/ 651 w 651"/>
                  <a:gd name="T60" fmla="*/ 224 h 2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51" h="224">
                    <a:moveTo>
                      <a:pt x="640" y="44"/>
                    </a:moveTo>
                    <a:lnTo>
                      <a:pt x="463" y="136"/>
                    </a:lnTo>
                    <a:lnTo>
                      <a:pt x="446" y="107"/>
                    </a:lnTo>
                    <a:lnTo>
                      <a:pt x="438" y="107"/>
                    </a:lnTo>
                    <a:lnTo>
                      <a:pt x="236" y="224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96" y="161"/>
                    </a:lnTo>
                    <a:lnTo>
                      <a:pt x="141" y="157"/>
                    </a:lnTo>
                    <a:lnTo>
                      <a:pt x="144" y="157"/>
                    </a:lnTo>
                    <a:lnTo>
                      <a:pt x="154" y="149"/>
                    </a:lnTo>
                    <a:lnTo>
                      <a:pt x="141" y="111"/>
                    </a:lnTo>
                    <a:lnTo>
                      <a:pt x="131" y="101"/>
                    </a:lnTo>
                    <a:lnTo>
                      <a:pt x="100" y="136"/>
                    </a:lnTo>
                    <a:lnTo>
                      <a:pt x="33" y="136"/>
                    </a:lnTo>
                    <a:lnTo>
                      <a:pt x="0" y="101"/>
                    </a:lnTo>
                    <a:lnTo>
                      <a:pt x="284" y="0"/>
                    </a:lnTo>
                    <a:lnTo>
                      <a:pt x="651" y="0"/>
                    </a:lnTo>
                    <a:lnTo>
                      <a:pt x="640" y="4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4" name="Freeform 207"/>
              <p:cNvSpPr>
                <a:spLocks/>
              </p:cNvSpPr>
              <p:nvPr/>
            </p:nvSpPr>
            <p:spPr bwMode="gray">
              <a:xfrm>
                <a:off x="1763" y="1132"/>
                <a:ext cx="152" cy="48"/>
              </a:xfrm>
              <a:custGeom>
                <a:avLst/>
                <a:gdLst>
                  <a:gd name="T0" fmla="*/ 1 w 303"/>
                  <a:gd name="T1" fmla="*/ 1 h 96"/>
                  <a:gd name="T2" fmla="*/ 1 w 303"/>
                  <a:gd name="T3" fmla="*/ 1 h 96"/>
                  <a:gd name="T4" fmla="*/ 1 w 303"/>
                  <a:gd name="T5" fmla="*/ 1 h 96"/>
                  <a:gd name="T6" fmla="*/ 1 w 303"/>
                  <a:gd name="T7" fmla="*/ 1 h 96"/>
                  <a:gd name="T8" fmla="*/ 0 w 303"/>
                  <a:gd name="T9" fmla="*/ 1 h 96"/>
                  <a:gd name="T10" fmla="*/ 1 w 303"/>
                  <a:gd name="T11" fmla="*/ 0 h 96"/>
                  <a:gd name="T12" fmla="*/ 1 w 303"/>
                  <a:gd name="T13" fmla="*/ 0 h 96"/>
                  <a:gd name="T14" fmla="*/ 1 w 303"/>
                  <a:gd name="T15" fmla="*/ 1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3"/>
                  <a:gd name="T25" fmla="*/ 0 h 96"/>
                  <a:gd name="T26" fmla="*/ 303 w 303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3" h="96">
                    <a:moveTo>
                      <a:pt x="105" y="52"/>
                    </a:moveTo>
                    <a:lnTo>
                      <a:pt x="303" y="52"/>
                    </a:lnTo>
                    <a:lnTo>
                      <a:pt x="270" y="92"/>
                    </a:lnTo>
                    <a:lnTo>
                      <a:pt x="34" y="96"/>
                    </a:lnTo>
                    <a:lnTo>
                      <a:pt x="0" y="46"/>
                    </a:lnTo>
                    <a:lnTo>
                      <a:pt x="38" y="0"/>
                    </a:lnTo>
                    <a:lnTo>
                      <a:pt x="98" y="0"/>
                    </a:lnTo>
                    <a:lnTo>
                      <a:pt x="105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5" name="Freeform 208"/>
              <p:cNvSpPr>
                <a:spLocks/>
              </p:cNvSpPr>
              <p:nvPr/>
            </p:nvSpPr>
            <p:spPr bwMode="gray">
              <a:xfrm>
                <a:off x="1587" y="1170"/>
                <a:ext cx="106" cy="57"/>
              </a:xfrm>
              <a:custGeom>
                <a:avLst/>
                <a:gdLst>
                  <a:gd name="T0" fmla="*/ 1 w 211"/>
                  <a:gd name="T1" fmla="*/ 1 h 113"/>
                  <a:gd name="T2" fmla="*/ 1 w 211"/>
                  <a:gd name="T3" fmla="*/ 1 h 113"/>
                  <a:gd name="T4" fmla="*/ 1 w 211"/>
                  <a:gd name="T5" fmla="*/ 1 h 113"/>
                  <a:gd name="T6" fmla="*/ 0 w 211"/>
                  <a:gd name="T7" fmla="*/ 1 h 113"/>
                  <a:gd name="T8" fmla="*/ 1 w 211"/>
                  <a:gd name="T9" fmla="*/ 0 h 113"/>
                  <a:gd name="T10" fmla="*/ 1 w 211"/>
                  <a:gd name="T11" fmla="*/ 1 h 113"/>
                  <a:gd name="T12" fmla="*/ 1 w 211"/>
                  <a:gd name="T13" fmla="*/ 1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1"/>
                  <a:gd name="T22" fmla="*/ 0 h 113"/>
                  <a:gd name="T23" fmla="*/ 211 w 211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1" h="113">
                    <a:moveTo>
                      <a:pt x="147" y="97"/>
                    </a:moveTo>
                    <a:lnTo>
                      <a:pt x="59" y="109"/>
                    </a:lnTo>
                    <a:lnTo>
                      <a:pt x="34" y="113"/>
                    </a:lnTo>
                    <a:lnTo>
                      <a:pt x="0" y="67"/>
                    </a:lnTo>
                    <a:lnTo>
                      <a:pt x="161" y="0"/>
                    </a:lnTo>
                    <a:lnTo>
                      <a:pt x="211" y="63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6" name="Freeform 209"/>
              <p:cNvSpPr>
                <a:spLocks/>
              </p:cNvSpPr>
              <p:nvPr/>
            </p:nvSpPr>
            <p:spPr bwMode="gray">
              <a:xfrm>
                <a:off x="1418" y="1210"/>
                <a:ext cx="158" cy="64"/>
              </a:xfrm>
              <a:custGeom>
                <a:avLst/>
                <a:gdLst>
                  <a:gd name="T0" fmla="*/ 1 w 314"/>
                  <a:gd name="T1" fmla="*/ 0 h 129"/>
                  <a:gd name="T2" fmla="*/ 1 w 314"/>
                  <a:gd name="T3" fmla="*/ 0 h 129"/>
                  <a:gd name="T4" fmla="*/ 1 w 314"/>
                  <a:gd name="T5" fmla="*/ 0 h 129"/>
                  <a:gd name="T6" fmla="*/ 1 w 314"/>
                  <a:gd name="T7" fmla="*/ 0 h 129"/>
                  <a:gd name="T8" fmla="*/ 0 w 314"/>
                  <a:gd name="T9" fmla="*/ 0 h 129"/>
                  <a:gd name="T10" fmla="*/ 0 w 314"/>
                  <a:gd name="T11" fmla="*/ 0 h 129"/>
                  <a:gd name="T12" fmla="*/ 1 w 314"/>
                  <a:gd name="T13" fmla="*/ 0 h 129"/>
                  <a:gd name="T14" fmla="*/ 1 w 314"/>
                  <a:gd name="T15" fmla="*/ 0 h 129"/>
                  <a:gd name="T16" fmla="*/ 1 w 314"/>
                  <a:gd name="T17" fmla="*/ 0 h 129"/>
                  <a:gd name="T18" fmla="*/ 1 w 314"/>
                  <a:gd name="T19" fmla="*/ 0 h 129"/>
                  <a:gd name="T20" fmla="*/ 1 w 314"/>
                  <a:gd name="T21" fmla="*/ 0 h 129"/>
                  <a:gd name="T22" fmla="*/ 1 w 314"/>
                  <a:gd name="T23" fmla="*/ 0 h 129"/>
                  <a:gd name="T24" fmla="*/ 1 w 314"/>
                  <a:gd name="T25" fmla="*/ 0 h 129"/>
                  <a:gd name="T26" fmla="*/ 1 w 314"/>
                  <a:gd name="T27" fmla="*/ 0 h 12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4"/>
                  <a:gd name="T43" fmla="*/ 0 h 129"/>
                  <a:gd name="T44" fmla="*/ 314 w 314"/>
                  <a:gd name="T45" fmla="*/ 129 h 12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4" h="129">
                    <a:moveTo>
                      <a:pt x="314" y="77"/>
                    </a:moveTo>
                    <a:lnTo>
                      <a:pt x="255" y="129"/>
                    </a:lnTo>
                    <a:lnTo>
                      <a:pt x="117" y="77"/>
                    </a:lnTo>
                    <a:lnTo>
                      <a:pt x="17" y="115"/>
                    </a:lnTo>
                    <a:lnTo>
                      <a:pt x="0" y="87"/>
                    </a:lnTo>
                    <a:lnTo>
                      <a:pt x="0" y="77"/>
                    </a:lnTo>
                    <a:lnTo>
                      <a:pt x="57" y="23"/>
                    </a:lnTo>
                    <a:lnTo>
                      <a:pt x="57" y="18"/>
                    </a:lnTo>
                    <a:lnTo>
                      <a:pt x="53" y="16"/>
                    </a:lnTo>
                    <a:lnTo>
                      <a:pt x="42" y="16"/>
                    </a:lnTo>
                    <a:lnTo>
                      <a:pt x="211" y="31"/>
                    </a:lnTo>
                    <a:lnTo>
                      <a:pt x="280" y="0"/>
                    </a:lnTo>
                    <a:lnTo>
                      <a:pt x="290" y="52"/>
                    </a:lnTo>
                    <a:lnTo>
                      <a:pt x="314" y="7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7" name="Freeform 210"/>
              <p:cNvSpPr>
                <a:spLocks/>
              </p:cNvSpPr>
              <p:nvPr/>
            </p:nvSpPr>
            <p:spPr bwMode="gray">
              <a:xfrm>
                <a:off x="1534" y="1132"/>
                <a:ext cx="95" cy="48"/>
              </a:xfrm>
              <a:custGeom>
                <a:avLst/>
                <a:gdLst>
                  <a:gd name="T0" fmla="*/ 0 w 192"/>
                  <a:gd name="T1" fmla="*/ 1 h 96"/>
                  <a:gd name="T2" fmla="*/ 0 w 192"/>
                  <a:gd name="T3" fmla="*/ 1 h 96"/>
                  <a:gd name="T4" fmla="*/ 0 w 192"/>
                  <a:gd name="T5" fmla="*/ 1 h 96"/>
                  <a:gd name="T6" fmla="*/ 0 w 192"/>
                  <a:gd name="T7" fmla="*/ 1 h 96"/>
                  <a:gd name="T8" fmla="*/ 0 w 192"/>
                  <a:gd name="T9" fmla="*/ 0 h 96"/>
                  <a:gd name="T10" fmla="*/ 0 w 192"/>
                  <a:gd name="T11" fmla="*/ 1 h 96"/>
                  <a:gd name="T12" fmla="*/ 0 w 192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96"/>
                  <a:gd name="T23" fmla="*/ 192 w 192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96">
                    <a:moveTo>
                      <a:pt x="192" y="4"/>
                    </a:moveTo>
                    <a:lnTo>
                      <a:pt x="192" y="52"/>
                    </a:lnTo>
                    <a:lnTo>
                      <a:pt x="35" y="96"/>
                    </a:lnTo>
                    <a:lnTo>
                      <a:pt x="0" y="52"/>
                    </a:lnTo>
                    <a:lnTo>
                      <a:pt x="46" y="0"/>
                    </a:lnTo>
                    <a:lnTo>
                      <a:pt x="88" y="15"/>
                    </a:lnTo>
                    <a:lnTo>
                      <a:pt x="192" y="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8" name="Freeform 211"/>
              <p:cNvSpPr>
                <a:spLocks/>
              </p:cNvSpPr>
              <p:nvPr/>
            </p:nvSpPr>
            <p:spPr bwMode="gray">
              <a:xfrm>
                <a:off x="1702" y="1132"/>
                <a:ext cx="42" cy="29"/>
              </a:xfrm>
              <a:custGeom>
                <a:avLst/>
                <a:gdLst>
                  <a:gd name="T0" fmla="*/ 1 w 82"/>
                  <a:gd name="T1" fmla="*/ 1 h 57"/>
                  <a:gd name="T2" fmla="*/ 1 w 82"/>
                  <a:gd name="T3" fmla="*/ 1 h 57"/>
                  <a:gd name="T4" fmla="*/ 0 w 82"/>
                  <a:gd name="T5" fmla="*/ 0 h 57"/>
                  <a:gd name="T6" fmla="*/ 1 w 82"/>
                  <a:gd name="T7" fmla="*/ 0 h 57"/>
                  <a:gd name="T8" fmla="*/ 1 w 82"/>
                  <a:gd name="T9" fmla="*/ 1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57"/>
                  <a:gd name="T17" fmla="*/ 82 w 82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57">
                    <a:moveTo>
                      <a:pt x="31" y="52"/>
                    </a:moveTo>
                    <a:lnTo>
                      <a:pt x="13" y="57"/>
                    </a:lnTo>
                    <a:lnTo>
                      <a:pt x="0" y="0"/>
                    </a:lnTo>
                    <a:lnTo>
                      <a:pt x="82" y="0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89" name="Freeform 212"/>
              <p:cNvSpPr>
                <a:spLocks/>
              </p:cNvSpPr>
              <p:nvPr/>
            </p:nvSpPr>
            <p:spPr bwMode="gray">
              <a:xfrm>
                <a:off x="1366" y="1163"/>
                <a:ext cx="131" cy="54"/>
              </a:xfrm>
              <a:custGeom>
                <a:avLst/>
                <a:gdLst>
                  <a:gd name="T0" fmla="*/ 0 w 263"/>
                  <a:gd name="T1" fmla="*/ 0 h 110"/>
                  <a:gd name="T2" fmla="*/ 0 w 263"/>
                  <a:gd name="T3" fmla="*/ 0 h 110"/>
                  <a:gd name="T4" fmla="*/ 0 w 263"/>
                  <a:gd name="T5" fmla="*/ 0 h 110"/>
                  <a:gd name="T6" fmla="*/ 0 w 263"/>
                  <a:gd name="T7" fmla="*/ 0 h 110"/>
                  <a:gd name="T8" fmla="*/ 0 w 263"/>
                  <a:gd name="T9" fmla="*/ 0 h 110"/>
                  <a:gd name="T10" fmla="*/ 0 w 263"/>
                  <a:gd name="T11" fmla="*/ 0 h 110"/>
                  <a:gd name="T12" fmla="*/ 0 w 263"/>
                  <a:gd name="T13" fmla="*/ 0 h 1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3"/>
                  <a:gd name="T22" fmla="*/ 0 h 110"/>
                  <a:gd name="T23" fmla="*/ 263 w 263"/>
                  <a:gd name="T24" fmla="*/ 110 h 1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3" h="110">
                    <a:moveTo>
                      <a:pt x="263" y="46"/>
                    </a:moveTo>
                    <a:lnTo>
                      <a:pt x="63" y="110"/>
                    </a:lnTo>
                    <a:lnTo>
                      <a:pt x="4" y="79"/>
                    </a:lnTo>
                    <a:lnTo>
                      <a:pt x="0" y="79"/>
                    </a:lnTo>
                    <a:lnTo>
                      <a:pt x="159" y="0"/>
                    </a:lnTo>
                    <a:lnTo>
                      <a:pt x="263" y="0"/>
                    </a:lnTo>
                    <a:lnTo>
                      <a:pt x="263" y="4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0" name="Freeform 213"/>
              <p:cNvSpPr>
                <a:spLocks/>
              </p:cNvSpPr>
              <p:nvPr/>
            </p:nvSpPr>
            <p:spPr bwMode="gray">
              <a:xfrm>
                <a:off x="1869" y="1682"/>
                <a:ext cx="98" cy="92"/>
              </a:xfrm>
              <a:custGeom>
                <a:avLst/>
                <a:gdLst>
                  <a:gd name="T0" fmla="*/ 1 w 196"/>
                  <a:gd name="T1" fmla="*/ 1 h 184"/>
                  <a:gd name="T2" fmla="*/ 1 w 196"/>
                  <a:gd name="T3" fmla="*/ 1 h 184"/>
                  <a:gd name="T4" fmla="*/ 1 w 196"/>
                  <a:gd name="T5" fmla="*/ 1 h 184"/>
                  <a:gd name="T6" fmla="*/ 1 w 196"/>
                  <a:gd name="T7" fmla="*/ 1 h 184"/>
                  <a:gd name="T8" fmla="*/ 1 w 196"/>
                  <a:gd name="T9" fmla="*/ 1 h 184"/>
                  <a:gd name="T10" fmla="*/ 1 w 196"/>
                  <a:gd name="T11" fmla="*/ 1 h 184"/>
                  <a:gd name="T12" fmla="*/ 1 w 196"/>
                  <a:gd name="T13" fmla="*/ 1 h 184"/>
                  <a:gd name="T14" fmla="*/ 1 w 196"/>
                  <a:gd name="T15" fmla="*/ 1 h 184"/>
                  <a:gd name="T16" fmla="*/ 1 w 196"/>
                  <a:gd name="T17" fmla="*/ 1 h 184"/>
                  <a:gd name="T18" fmla="*/ 1 w 196"/>
                  <a:gd name="T19" fmla="*/ 1 h 184"/>
                  <a:gd name="T20" fmla="*/ 1 w 196"/>
                  <a:gd name="T21" fmla="*/ 1 h 184"/>
                  <a:gd name="T22" fmla="*/ 1 w 196"/>
                  <a:gd name="T23" fmla="*/ 1 h 184"/>
                  <a:gd name="T24" fmla="*/ 1 w 196"/>
                  <a:gd name="T25" fmla="*/ 1 h 184"/>
                  <a:gd name="T26" fmla="*/ 1 w 196"/>
                  <a:gd name="T27" fmla="*/ 1 h 184"/>
                  <a:gd name="T28" fmla="*/ 0 w 196"/>
                  <a:gd name="T29" fmla="*/ 1 h 184"/>
                  <a:gd name="T30" fmla="*/ 1 w 196"/>
                  <a:gd name="T31" fmla="*/ 1 h 184"/>
                  <a:gd name="T32" fmla="*/ 1 w 196"/>
                  <a:gd name="T33" fmla="*/ 1 h 184"/>
                  <a:gd name="T34" fmla="*/ 1 w 196"/>
                  <a:gd name="T35" fmla="*/ 0 h 184"/>
                  <a:gd name="T36" fmla="*/ 1 w 196"/>
                  <a:gd name="T37" fmla="*/ 0 h 184"/>
                  <a:gd name="T38" fmla="*/ 1 w 196"/>
                  <a:gd name="T39" fmla="*/ 1 h 18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6"/>
                  <a:gd name="T61" fmla="*/ 0 h 184"/>
                  <a:gd name="T62" fmla="*/ 196 w 196"/>
                  <a:gd name="T63" fmla="*/ 184 h 18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6" h="184">
                    <a:moveTo>
                      <a:pt x="144" y="17"/>
                    </a:moveTo>
                    <a:lnTo>
                      <a:pt x="117" y="28"/>
                    </a:lnTo>
                    <a:lnTo>
                      <a:pt x="148" y="49"/>
                    </a:lnTo>
                    <a:lnTo>
                      <a:pt x="159" y="49"/>
                    </a:lnTo>
                    <a:lnTo>
                      <a:pt x="159" y="94"/>
                    </a:lnTo>
                    <a:lnTo>
                      <a:pt x="182" y="99"/>
                    </a:lnTo>
                    <a:lnTo>
                      <a:pt x="196" y="99"/>
                    </a:lnTo>
                    <a:lnTo>
                      <a:pt x="165" y="176"/>
                    </a:lnTo>
                    <a:lnTo>
                      <a:pt x="165" y="180"/>
                    </a:lnTo>
                    <a:lnTo>
                      <a:pt x="159" y="184"/>
                    </a:lnTo>
                    <a:lnTo>
                      <a:pt x="98" y="130"/>
                    </a:lnTo>
                    <a:lnTo>
                      <a:pt x="111" y="107"/>
                    </a:lnTo>
                    <a:lnTo>
                      <a:pt x="113" y="103"/>
                    </a:lnTo>
                    <a:lnTo>
                      <a:pt x="13" y="99"/>
                    </a:lnTo>
                    <a:lnTo>
                      <a:pt x="0" y="99"/>
                    </a:lnTo>
                    <a:lnTo>
                      <a:pt x="36" y="46"/>
                    </a:lnTo>
                    <a:lnTo>
                      <a:pt x="50" y="28"/>
                    </a:lnTo>
                    <a:lnTo>
                      <a:pt x="134" y="0"/>
                    </a:lnTo>
                    <a:lnTo>
                      <a:pt x="144" y="0"/>
                    </a:lnTo>
                    <a:lnTo>
                      <a:pt x="144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1" name="Freeform 214"/>
              <p:cNvSpPr>
                <a:spLocks/>
              </p:cNvSpPr>
              <p:nvPr/>
            </p:nvSpPr>
            <p:spPr bwMode="gray">
              <a:xfrm>
                <a:off x="1268" y="2266"/>
                <a:ext cx="173" cy="65"/>
              </a:xfrm>
              <a:custGeom>
                <a:avLst/>
                <a:gdLst>
                  <a:gd name="T0" fmla="*/ 0 w 348"/>
                  <a:gd name="T1" fmla="*/ 0 h 131"/>
                  <a:gd name="T2" fmla="*/ 0 w 348"/>
                  <a:gd name="T3" fmla="*/ 0 h 131"/>
                  <a:gd name="T4" fmla="*/ 0 w 348"/>
                  <a:gd name="T5" fmla="*/ 0 h 131"/>
                  <a:gd name="T6" fmla="*/ 0 w 348"/>
                  <a:gd name="T7" fmla="*/ 0 h 131"/>
                  <a:gd name="T8" fmla="*/ 0 w 348"/>
                  <a:gd name="T9" fmla="*/ 0 h 131"/>
                  <a:gd name="T10" fmla="*/ 0 w 348"/>
                  <a:gd name="T11" fmla="*/ 0 h 131"/>
                  <a:gd name="T12" fmla="*/ 0 w 348"/>
                  <a:gd name="T13" fmla="*/ 0 h 131"/>
                  <a:gd name="T14" fmla="*/ 0 w 348"/>
                  <a:gd name="T15" fmla="*/ 0 h 131"/>
                  <a:gd name="T16" fmla="*/ 0 w 348"/>
                  <a:gd name="T17" fmla="*/ 0 h 131"/>
                  <a:gd name="T18" fmla="*/ 0 w 348"/>
                  <a:gd name="T19" fmla="*/ 0 h 131"/>
                  <a:gd name="T20" fmla="*/ 0 w 348"/>
                  <a:gd name="T21" fmla="*/ 0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8"/>
                  <a:gd name="T34" fmla="*/ 0 h 131"/>
                  <a:gd name="T35" fmla="*/ 348 w 348"/>
                  <a:gd name="T36" fmla="*/ 131 h 1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8" h="131">
                    <a:moveTo>
                      <a:pt x="259" y="68"/>
                    </a:moveTo>
                    <a:lnTo>
                      <a:pt x="348" y="127"/>
                    </a:lnTo>
                    <a:lnTo>
                      <a:pt x="219" y="131"/>
                    </a:lnTo>
                    <a:lnTo>
                      <a:pt x="206" y="104"/>
                    </a:lnTo>
                    <a:lnTo>
                      <a:pt x="98" y="52"/>
                    </a:lnTo>
                    <a:lnTo>
                      <a:pt x="18" y="46"/>
                    </a:lnTo>
                    <a:lnTo>
                      <a:pt x="0" y="21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81" y="12"/>
                    </a:lnTo>
                    <a:lnTo>
                      <a:pt x="259" y="6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2" name="Freeform 215"/>
              <p:cNvSpPr>
                <a:spLocks/>
              </p:cNvSpPr>
              <p:nvPr/>
            </p:nvSpPr>
            <p:spPr bwMode="gray">
              <a:xfrm>
                <a:off x="1437" y="2341"/>
                <a:ext cx="104" cy="36"/>
              </a:xfrm>
              <a:custGeom>
                <a:avLst/>
                <a:gdLst>
                  <a:gd name="T0" fmla="*/ 0 w 209"/>
                  <a:gd name="T1" fmla="*/ 1 h 71"/>
                  <a:gd name="T2" fmla="*/ 0 w 209"/>
                  <a:gd name="T3" fmla="*/ 1 h 71"/>
                  <a:gd name="T4" fmla="*/ 0 w 209"/>
                  <a:gd name="T5" fmla="*/ 1 h 71"/>
                  <a:gd name="T6" fmla="*/ 0 w 209"/>
                  <a:gd name="T7" fmla="*/ 1 h 71"/>
                  <a:gd name="T8" fmla="*/ 0 w 209"/>
                  <a:gd name="T9" fmla="*/ 1 h 71"/>
                  <a:gd name="T10" fmla="*/ 0 w 209"/>
                  <a:gd name="T11" fmla="*/ 1 h 71"/>
                  <a:gd name="T12" fmla="*/ 0 w 209"/>
                  <a:gd name="T13" fmla="*/ 1 h 71"/>
                  <a:gd name="T14" fmla="*/ 0 w 209"/>
                  <a:gd name="T15" fmla="*/ 1 h 71"/>
                  <a:gd name="T16" fmla="*/ 0 w 209"/>
                  <a:gd name="T17" fmla="*/ 1 h 71"/>
                  <a:gd name="T18" fmla="*/ 0 w 209"/>
                  <a:gd name="T19" fmla="*/ 1 h 71"/>
                  <a:gd name="T20" fmla="*/ 0 w 209"/>
                  <a:gd name="T21" fmla="*/ 0 h 71"/>
                  <a:gd name="T22" fmla="*/ 0 w 209"/>
                  <a:gd name="T23" fmla="*/ 1 h 71"/>
                  <a:gd name="T24" fmla="*/ 0 w 209"/>
                  <a:gd name="T25" fmla="*/ 1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9"/>
                  <a:gd name="T40" fmla="*/ 0 h 71"/>
                  <a:gd name="T41" fmla="*/ 209 w 209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9" h="71">
                    <a:moveTo>
                      <a:pt x="207" y="13"/>
                    </a:moveTo>
                    <a:lnTo>
                      <a:pt x="209" y="71"/>
                    </a:lnTo>
                    <a:lnTo>
                      <a:pt x="148" y="31"/>
                    </a:lnTo>
                    <a:lnTo>
                      <a:pt x="144" y="29"/>
                    </a:lnTo>
                    <a:lnTo>
                      <a:pt x="117" y="67"/>
                    </a:lnTo>
                    <a:lnTo>
                      <a:pt x="111" y="71"/>
                    </a:lnTo>
                    <a:lnTo>
                      <a:pt x="81" y="29"/>
                    </a:lnTo>
                    <a:lnTo>
                      <a:pt x="4" y="71"/>
                    </a:lnTo>
                    <a:lnTo>
                      <a:pt x="0" y="29"/>
                    </a:lnTo>
                    <a:lnTo>
                      <a:pt x="65" y="4"/>
                    </a:lnTo>
                    <a:lnTo>
                      <a:pt x="77" y="0"/>
                    </a:lnTo>
                    <a:lnTo>
                      <a:pt x="183" y="4"/>
                    </a:lnTo>
                    <a:lnTo>
                      <a:pt x="207" y="1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3" name="Freeform 216"/>
              <p:cNvSpPr>
                <a:spLocks/>
              </p:cNvSpPr>
              <p:nvPr/>
            </p:nvSpPr>
            <p:spPr bwMode="gray">
              <a:xfrm>
                <a:off x="1366" y="2349"/>
                <a:ext cx="43" cy="40"/>
              </a:xfrm>
              <a:custGeom>
                <a:avLst/>
                <a:gdLst>
                  <a:gd name="T0" fmla="*/ 1 w 86"/>
                  <a:gd name="T1" fmla="*/ 0 h 81"/>
                  <a:gd name="T2" fmla="*/ 1 w 86"/>
                  <a:gd name="T3" fmla="*/ 0 h 81"/>
                  <a:gd name="T4" fmla="*/ 1 w 86"/>
                  <a:gd name="T5" fmla="*/ 0 h 81"/>
                  <a:gd name="T6" fmla="*/ 1 w 86"/>
                  <a:gd name="T7" fmla="*/ 0 h 81"/>
                  <a:gd name="T8" fmla="*/ 0 w 86"/>
                  <a:gd name="T9" fmla="*/ 0 h 81"/>
                  <a:gd name="T10" fmla="*/ 0 w 86"/>
                  <a:gd name="T11" fmla="*/ 0 h 81"/>
                  <a:gd name="T12" fmla="*/ 1 w 86"/>
                  <a:gd name="T13" fmla="*/ 0 h 81"/>
                  <a:gd name="T14" fmla="*/ 1 w 86"/>
                  <a:gd name="T15" fmla="*/ 0 h 81"/>
                  <a:gd name="T16" fmla="*/ 1 w 86"/>
                  <a:gd name="T17" fmla="*/ 0 h 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81"/>
                  <a:gd name="T29" fmla="*/ 86 w 86"/>
                  <a:gd name="T30" fmla="*/ 81 h 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81">
                    <a:moveTo>
                      <a:pt x="86" y="56"/>
                    </a:moveTo>
                    <a:lnTo>
                      <a:pt x="86" y="66"/>
                    </a:lnTo>
                    <a:lnTo>
                      <a:pt x="60" y="75"/>
                    </a:lnTo>
                    <a:lnTo>
                      <a:pt x="58" y="81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5" y="0"/>
                    </a:lnTo>
                    <a:lnTo>
                      <a:pt x="58" y="0"/>
                    </a:lnTo>
                    <a:lnTo>
                      <a:pt x="86" y="5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94" name="Freeform 217"/>
              <p:cNvSpPr>
                <a:spLocks/>
              </p:cNvSpPr>
              <p:nvPr/>
            </p:nvSpPr>
            <p:spPr bwMode="gray">
              <a:xfrm>
                <a:off x="1908" y="3896"/>
                <a:ext cx="59" cy="19"/>
              </a:xfrm>
              <a:custGeom>
                <a:avLst/>
                <a:gdLst>
                  <a:gd name="T0" fmla="*/ 0 w 119"/>
                  <a:gd name="T1" fmla="*/ 0 h 39"/>
                  <a:gd name="T2" fmla="*/ 0 w 119"/>
                  <a:gd name="T3" fmla="*/ 0 h 39"/>
                  <a:gd name="T4" fmla="*/ 0 w 119"/>
                  <a:gd name="T5" fmla="*/ 0 h 39"/>
                  <a:gd name="T6" fmla="*/ 0 w 119"/>
                  <a:gd name="T7" fmla="*/ 0 h 39"/>
                  <a:gd name="T8" fmla="*/ 0 w 119"/>
                  <a:gd name="T9" fmla="*/ 0 h 39"/>
                  <a:gd name="T10" fmla="*/ 0 w 119"/>
                  <a:gd name="T11" fmla="*/ 0 h 39"/>
                  <a:gd name="T12" fmla="*/ 0 w 119"/>
                  <a:gd name="T13" fmla="*/ 0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9"/>
                  <a:gd name="T22" fmla="*/ 0 h 39"/>
                  <a:gd name="T23" fmla="*/ 119 w 119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9" h="39">
                    <a:moveTo>
                      <a:pt x="119" y="6"/>
                    </a:moveTo>
                    <a:lnTo>
                      <a:pt x="119" y="16"/>
                    </a:lnTo>
                    <a:lnTo>
                      <a:pt x="78" y="37"/>
                    </a:lnTo>
                    <a:lnTo>
                      <a:pt x="0" y="39"/>
                    </a:lnTo>
                    <a:lnTo>
                      <a:pt x="74" y="0"/>
                    </a:lnTo>
                    <a:lnTo>
                      <a:pt x="117" y="0"/>
                    </a:lnTo>
                    <a:lnTo>
                      <a:pt x="119" y="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</p:grpSp>
      </p:grpSp>
      <p:sp>
        <p:nvSpPr>
          <p:cNvPr id="104" name="ColumnHeader"/>
          <p:cNvSpPr>
            <a:spLocks noChangeArrowheads="1"/>
          </p:cNvSpPr>
          <p:nvPr/>
        </p:nvSpPr>
        <p:spPr bwMode="gray">
          <a:xfrm>
            <a:off x="4827588" y="1265238"/>
            <a:ext cx="4097337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GB" sz="1400" b="1" dirty="0">
                <a:solidFill>
                  <a:srgbClr val="000000"/>
                </a:solidFill>
                <a:latin typeface="Source Sans Pro"/>
                <a:cs typeface="Source Sans Pro"/>
              </a:rPr>
              <a:t>Geographical reach of purchases</a:t>
            </a:r>
            <a:endParaRPr lang="en-US" sz="1400" b="1" dirty="0">
              <a:latin typeface="Source Sans Pro"/>
              <a:cs typeface="Source Sans Pro"/>
            </a:endParaRPr>
          </a:p>
        </p:txBody>
      </p:sp>
      <p:cxnSp>
        <p:nvCxnSpPr>
          <p:cNvPr id="105" name="Straight Arrow Connector 104"/>
          <p:cNvCxnSpPr/>
          <p:nvPr/>
        </p:nvCxnSpPr>
        <p:spPr>
          <a:xfrm flipV="1">
            <a:off x="7077075" y="2217738"/>
            <a:ext cx="1588" cy="735012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/>
          <p:nvPr/>
        </p:nvCxnSpPr>
        <p:spPr>
          <a:xfrm flipV="1">
            <a:off x="7915275" y="2876552"/>
            <a:ext cx="1588" cy="70802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Arrow Connector 106"/>
          <p:cNvCxnSpPr/>
          <p:nvPr/>
        </p:nvCxnSpPr>
        <p:spPr>
          <a:xfrm flipV="1">
            <a:off x="8755064" y="3695700"/>
            <a:ext cx="1587" cy="827088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107"/>
          <p:cNvSpPr/>
          <p:nvPr/>
        </p:nvSpPr>
        <p:spPr>
          <a:xfrm>
            <a:off x="6008688" y="1941513"/>
            <a:ext cx="460375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5%</a:t>
            </a:r>
          </a:p>
        </p:txBody>
      </p:sp>
      <p:sp>
        <p:nvSpPr>
          <p:cNvPr id="109" name="Oval 108"/>
          <p:cNvSpPr/>
          <p:nvPr/>
        </p:nvSpPr>
        <p:spPr>
          <a:xfrm>
            <a:off x="6856413" y="2401888"/>
            <a:ext cx="460375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14%</a:t>
            </a:r>
          </a:p>
        </p:txBody>
      </p:sp>
      <p:sp>
        <p:nvSpPr>
          <p:cNvPr id="110" name="Oval 109"/>
          <p:cNvSpPr/>
          <p:nvPr/>
        </p:nvSpPr>
        <p:spPr>
          <a:xfrm>
            <a:off x="7686676" y="3027363"/>
            <a:ext cx="460375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23%</a:t>
            </a:r>
          </a:p>
        </p:txBody>
      </p:sp>
      <p:sp>
        <p:nvSpPr>
          <p:cNvPr id="111" name="Oval 110"/>
          <p:cNvSpPr/>
          <p:nvPr/>
        </p:nvSpPr>
        <p:spPr>
          <a:xfrm>
            <a:off x="8512175" y="3875088"/>
            <a:ext cx="460375" cy="15081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 dirty="0">
                <a:solidFill>
                  <a:schemeClr val="bg1"/>
                </a:solidFill>
                <a:latin typeface="Source Sans Pro"/>
                <a:cs typeface="Source Sans Pro"/>
              </a:rPr>
              <a:t>+63%</a:t>
            </a:r>
          </a:p>
        </p:txBody>
      </p:sp>
      <p:grpSp>
        <p:nvGrpSpPr>
          <p:cNvPr id="112" name="Group 476"/>
          <p:cNvGrpSpPr>
            <a:grpSpLocks/>
          </p:cNvGrpSpPr>
          <p:nvPr/>
        </p:nvGrpSpPr>
        <p:grpSpPr bwMode="auto">
          <a:xfrm>
            <a:off x="5232401" y="5332413"/>
            <a:ext cx="3692525" cy="412750"/>
            <a:chOff x="851211" y="4791075"/>
            <a:chExt cx="2322856" cy="266531"/>
          </a:xfrm>
        </p:grpSpPr>
        <p:pic>
          <p:nvPicPr>
            <p:cNvPr id="113" name="Picture 19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gray">
            <a:xfrm>
              <a:off x="1283920" y="4845050"/>
              <a:ext cx="272225" cy="160519"/>
            </a:xfrm>
            <a:prstGeom prst="rect">
              <a:avLst/>
            </a:prstGeom>
            <a:noFill/>
            <a:ln w="9525">
              <a:noFill/>
              <a:miter lim="800000"/>
              <a:headEnd type="none" w="lg" len="lg"/>
              <a:tailEnd type="none" w="lg" len="lg"/>
            </a:ln>
          </p:spPr>
        </p:pic>
        <p:grpSp>
          <p:nvGrpSpPr>
            <p:cNvPr id="114" name="Group 661"/>
            <p:cNvGrpSpPr>
              <a:grpSpLocks/>
            </p:cNvGrpSpPr>
            <p:nvPr/>
          </p:nvGrpSpPr>
          <p:grpSpPr bwMode="auto">
            <a:xfrm>
              <a:off x="2316160" y="4791075"/>
              <a:ext cx="311385" cy="266531"/>
              <a:chOff x="2976710" y="5484127"/>
              <a:chExt cx="563811" cy="493114"/>
            </a:xfrm>
          </p:grpSpPr>
          <p:sp>
            <p:nvSpPr>
              <p:cNvPr id="160" name="Freeform 5"/>
              <p:cNvSpPr>
                <a:spLocks noChangeAspect="1" noEditPoints="1"/>
              </p:cNvSpPr>
              <p:nvPr/>
            </p:nvSpPr>
            <p:spPr bwMode="auto">
              <a:xfrm>
                <a:off x="3393052" y="5669302"/>
                <a:ext cx="147469" cy="162542"/>
              </a:xfrm>
              <a:custGeom>
                <a:avLst/>
                <a:gdLst>
                  <a:gd name="T0" fmla="*/ 2147483647 w 1290"/>
                  <a:gd name="T1" fmla="*/ 2147483647 h 1422"/>
                  <a:gd name="T2" fmla="*/ 2147483647 w 1290"/>
                  <a:gd name="T3" fmla="*/ 2147483647 h 1422"/>
                  <a:gd name="T4" fmla="*/ 2147483647 w 1290"/>
                  <a:gd name="T5" fmla="*/ 2147483647 h 1422"/>
                  <a:gd name="T6" fmla="*/ 2147483647 w 1290"/>
                  <a:gd name="T7" fmla="*/ 2147483647 h 1422"/>
                  <a:gd name="T8" fmla="*/ 2147483647 w 1290"/>
                  <a:gd name="T9" fmla="*/ 2147483647 h 1422"/>
                  <a:gd name="T10" fmla="*/ 2147483647 w 1290"/>
                  <a:gd name="T11" fmla="*/ 2147483647 h 1422"/>
                  <a:gd name="T12" fmla="*/ 2147483647 w 1290"/>
                  <a:gd name="T13" fmla="*/ 2147483647 h 1422"/>
                  <a:gd name="T14" fmla="*/ 2147483647 w 1290"/>
                  <a:gd name="T15" fmla="*/ 2147483647 h 1422"/>
                  <a:gd name="T16" fmla="*/ 2147483647 w 1290"/>
                  <a:gd name="T17" fmla="*/ 2147483647 h 1422"/>
                  <a:gd name="T18" fmla="*/ 2147483647 w 1290"/>
                  <a:gd name="T19" fmla="*/ 2147483647 h 1422"/>
                  <a:gd name="T20" fmla="*/ 2147483647 w 1290"/>
                  <a:gd name="T21" fmla="*/ 2147483647 h 1422"/>
                  <a:gd name="T22" fmla="*/ 2147483647 w 1290"/>
                  <a:gd name="T23" fmla="*/ 2147483647 h 1422"/>
                  <a:gd name="T24" fmla="*/ 2147483647 w 1290"/>
                  <a:gd name="T25" fmla="*/ 2147483647 h 1422"/>
                  <a:gd name="T26" fmla="*/ 2147483647 w 1290"/>
                  <a:gd name="T27" fmla="*/ 2147483647 h 1422"/>
                  <a:gd name="T28" fmla="*/ 2147483647 w 1290"/>
                  <a:gd name="T29" fmla="*/ 2147483647 h 1422"/>
                  <a:gd name="T30" fmla="*/ 2147483647 w 1290"/>
                  <a:gd name="T31" fmla="*/ 2147483647 h 1422"/>
                  <a:gd name="T32" fmla="*/ 2147483647 w 1290"/>
                  <a:gd name="T33" fmla="*/ 2147483647 h 1422"/>
                  <a:gd name="T34" fmla="*/ 2147483647 w 1290"/>
                  <a:gd name="T35" fmla="*/ 2147483647 h 1422"/>
                  <a:gd name="T36" fmla="*/ 2147483647 w 1290"/>
                  <a:gd name="T37" fmla="*/ 2147483647 h 1422"/>
                  <a:gd name="T38" fmla="*/ 2147483647 w 1290"/>
                  <a:gd name="T39" fmla="*/ 2147483647 h 1422"/>
                  <a:gd name="T40" fmla="*/ 2147483647 w 1290"/>
                  <a:gd name="T41" fmla="*/ 2147483647 h 1422"/>
                  <a:gd name="T42" fmla="*/ 2147483647 w 1290"/>
                  <a:gd name="T43" fmla="*/ 2147483647 h 1422"/>
                  <a:gd name="T44" fmla="*/ 2147483647 w 1290"/>
                  <a:gd name="T45" fmla="*/ 2147483647 h 1422"/>
                  <a:gd name="T46" fmla="*/ 2147483647 w 1290"/>
                  <a:gd name="T47" fmla="*/ 2147483647 h 1422"/>
                  <a:gd name="T48" fmla="*/ 2147483647 w 1290"/>
                  <a:gd name="T49" fmla="*/ 2147483647 h 1422"/>
                  <a:gd name="T50" fmla="*/ 2147483647 w 1290"/>
                  <a:gd name="T51" fmla="*/ 2147483647 h 1422"/>
                  <a:gd name="T52" fmla="*/ 2147483647 w 1290"/>
                  <a:gd name="T53" fmla="*/ 2147483647 h 1422"/>
                  <a:gd name="T54" fmla="*/ 2147483647 w 1290"/>
                  <a:gd name="T55" fmla="*/ 2147483647 h 1422"/>
                  <a:gd name="T56" fmla="*/ 2147483647 w 1290"/>
                  <a:gd name="T57" fmla="*/ 2147483647 h 1422"/>
                  <a:gd name="T58" fmla="*/ 2147483647 w 1290"/>
                  <a:gd name="T59" fmla="*/ 2147483647 h 1422"/>
                  <a:gd name="T60" fmla="*/ 2147483647 w 1290"/>
                  <a:gd name="T61" fmla="*/ 2147483647 h 1422"/>
                  <a:gd name="T62" fmla="*/ 2147483647 w 1290"/>
                  <a:gd name="T63" fmla="*/ 2147483647 h 1422"/>
                  <a:gd name="T64" fmla="*/ 2147483647 w 1290"/>
                  <a:gd name="T65" fmla="*/ 2147483647 h 1422"/>
                  <a:gd name="T66" fmla="*/ 2147483647 w 1290"/>
                  <a:gd name="T67" fmla="*/ 2147483647 h 1422"/>
                  <a:gd name="T68" fmla="*/ 2147483647 w 1290"/>
                  <a:gd name="T69" fmla="*/ 2147483647 h 1422"/>
                  <a:gd name="T70" fmla="*/ 2147483647 w 1290"/>
                  <a:gd name="T71" fmla="*/ 2147483647 h 1422"/>
                  <a:gd name="T72" fmla="*/ 2147483647 w 1290"/>
                  <a:gd name="T73" fmla="*/ 2147483647 h 1422"/>
                  <a:gd name="T74" fmla="*/ 2147483647 w 1290"/>
                  <a:gd name="T75" fmla="*/ 2147483647 h 1422"/>
                  <a:gd name="T76" fmla="*/ 2147483647 w 1290"/>
                  <a:gd name="T77" fmla="*/ 2147483647 h 1422"/>
                  <a:gd name="T78" fmla="*/ 2147483647 w 1290"/>
                  <a:gd name="T79" fmla="*/ 2147483647 h 1422"/>
                  <a:gd name="T80" fmla="*/ 2147483647 w 1290"/>
                  <a:gd name="T81" fmla="*/ 2147483647 h 1422"/>
                  <a:gd name="T82" fmla="*/ 2147483647 w 1290"/>
                  <a:gd name="T83" fmla="*/ 2147483647 h 1422"/>
                  <a:gd name="T84" fmla="*/ 2147483647 w 1290"/>
                  <a:gd name="T85" fmla="*/ 2147483647 h 1422"/>
                  <a:gd name="T86" fmla="*/ 2147483647 w 1290"/>
                  <a:gd name="T87" fmla="*/ 2147483647 h 1422"/>
                  <a:gd name="T88" fmla="*/ 2147483647 w 1290"/>
                  <a:gd name="T89" fmla="*/ 2147483647 h 1422"/>
                  <a:gd name="T90" fmla="*/ 2147483647 w 1290"/>
                  <a:gd name="T91" fmla="*/ 2147483647 h 1422"/>
                  <a:gd name="T92" fmla="*/ 2147483647 w 1290"/>
                  <a:gd name="T93" fmla="*/ 2147483647 h 1422"/>
                  <a:gd name="T94" fmla="*/ 2147483647 w 1290"/>
                  <a:gd name="T95" fmla="*/ 2147483647 h 1422"/>
                  <a:gd name="T96" fmla="*/ 2147483647 w 1290"/>
                  <a:gd name="T97" fmla="*/ 2147483647 h 1422"/>
                  <a:gd name="T98" fmla="*/ 2147483647 w 1290"/>
                  <a:gd name="T99" fmla="*/ 2147483647 h 1422"/>
                  <a:gd name="T100" fmla="*/ 2147483647 w 1290"/>
                  <a:gd name="T101" fmla="*/ 2147483647 h 1422"/>
                  <a:gd name="T102" fmla="*/ 2147483647 w 1290"/>
                  <a:gd name="T103" fmla="*/ 2147483647 h 1422"/>
                  <a:gd name="T104" fmla="*/ 2147483647 w 1290"/>
                  <a:gd name="T105" fmla="*/ 2147483647 h 1422"/>
                  <a:gd name="T106" fmla="*/ 2147483647 w 1290"/>
                  <a:gd name="T107" fmla="*/ 2147483647 h 1422"/>
                  <a:gd name="T108" fmla="*/ 2147483647 w 1290"/>
                  <a:gd name="T109" fmla="*/ 0 h 1422"/>
                  <a:gd name="T110" fmla="*/ 2147483647 w 1290"/>
                  <a:gd name="T111" fmla="*/ 2147483647 h 1422"/>
                  <a:gd name="T112" fmla="*/ 2147483647 w 1290"/>
                  <a:gd name="T113" fmla="*/ 2147483647 h 1422"/>
                  <a:gd name="T114" fmla="*/ 2147483647 w 1290"/>
                  <a:gd name="T115" fmla="*/ 2147483647 h 1422"/>
                  <a:gd name="T116" fmla="*/ 2147483647 w 1290"/>
                  <a:gd name="T117" fmla="*/ 2147483647 h 1422"/>
                  <a:gd name="T118" fmla="*/ 2147483647 w 1290"/>
                  <a:gd name="T119" fmla="*/ 2147483647 h 1422"/>
                  <a:gd name="T120" fmla="*/ 2147483647 w 1290"/>
                  <a:gd name="T121" fmla="*/ 2147483647 h 1422"/>
                  <a:gd name="T122" fmla="*/ 2147483647 w 1290"/>
                  <a:gd name="T123" fmla="*/ 2147483647 h 14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290" h="1422">
                    <a:moveTo>
                      <a:pt x="864" y="768"/>
                    </a:moveTo>
                    <a:lnTo>
                      <a:pt x="870" y="768"/>
                    </a:lnTo>
                    <a:lnTo>
                      <a:pt x="870" y="774"/>
                    </a:lnTo>
                    <a:lnTo>
                      <a:pt x="864" y="774"/>
                    </a:lnTo>
                    <a:lnTo>
                      <a:pt x="864" y="768"/>
                    </a:lnTo>
                    <a:close/>
                    <a:moveTo>
                      <a:pt x="1278" y="48"/>
                    </a:moveTo>
                    <a:lnTo>
                      <a:pt x="1278" y="54"/>
                    </a:lnTo>
                    <a:lnTo>
                      <a:pt x="1279" y="54"/>
                    </a:lnTo>
                    <a:lnTo>
                      <a:pt x="1278" y="48"/>
                    </a:lnTo>
                    <a:close/>
                    <a:moveTo>
                      <a:pt x="1056" y="6"/>
                    </a:moveTo>
                    <a:lnTo>
                      <a:pt x="1056" y="12"/>
                    </a:lnTo>
                    <a:lnTo>
                      <a:pt x="1062" y="12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74" y="18"/>
                    </a:lnTo>
                    <a:lnTo>
                      <a:pt x="1074" y="24"/>
                    </a:lnTo>
                    <a:lnTo>
                      <a:pt x="1080" y="24"/>
                    </a:lnTo>
                    <a:lnTo>
                      <a:pt x="1080" y="18"/>
                    </a:lnTo>
                    <a:lnTo>
                      <a:pt x="1086" y="18"/>
                    </a:lnTo>
                    <a:lnTo>
                      <a:pt x="1086" y="12"/>
                    </a:lnTo>
                    <a:lnTo>
                      <a:pt x="1092" y="12"/>
                    </a:lnTo>
                    <a:lnTo>
                      <a:pt x="1092" y="18"/>
                    </a:lnTo>
                    <a:lnTo>
                      <a:pt x="1098" y="18"/>
                    </a:lnTo>
                    <a:lnTo>
                      <a:pt x="1104" y="18"/>
                    </a:lnTo>
                    <a:lnTo>
                      <a:pt x="1110" y="18"/>
                    </a:lnTo>
                    <a:lnTo>
                      <a:pt x="1110" y="24"/>
                    </a:lnTo>
                    <a:lnTo>
                      <a:pt x="1116" y="24"/>
                    </a:lnTo>
                    <a:lnTo>
                      <a:pt x="1122" y="24"/>
                    </a:lnTo>
                    <a:lnTo>
                      <a:pt x="1128" y="24"/>
                    </a:lnTo>
                    <a:lnTo>
                      <a:pt x="1134" y="24"/>
                    </a:lnTo>
                    <a:lnTo>
                      <a:pt x="1140" y="24"/>
                    </a:lnTo>
                    <a:lnTo>
                      <a:pt x="1140" y="30"/>
                    </a:lnTo>
                    <a:lnTo>
                      <a:pt x="1146" y="30"/>
                    </a:lnTo>
                    <a:lnTo>
                      <a:pt x="1152" y="30"/>
                    </a:lnTo>
                    <a:lnTo>
                      <a:pt x="1158" y="30"/>
                    </a:lnTo>
                    <a:lnTo>
                      <a:pt x="1164" y="30"/>
                    </a:lnTo>
                    <a:lnTo>
                      <a:pt x="1170" y="30"/>
                    </a:lnTo>
                    <a:lnTo>
                      <a:pt x="1176" y="30"/>
                    </a:lnTo>
                    <a:lnTo>
                      <a:pt x="1182" y="30"/>
                    </a:lnTo>
                    <a:lnTo>
                      <a:pt x="1188" y="30"/>
                    </a:lnTo>
                    <a:lnTo>
                      <a:pt x="1194" y="30"/>
                    </a:lnTo>
                    <a:lnTo>
                      <a:pt x="1200" y="30"/>
                    </a:lnTo>
                    <a:lnTo>
                      <a:pt x="1206" y="30"/>
                    </a:lnTo>
                    <a:lnTo>
                      <a:pt x="1212" y="30"/>
                    </a:lnTo>
                    <a:lnTo>
                      <a:pt x="1218" y="30"/>
                    </a:lnTo>
                    <a:lnTo>
                      <a:pt x="1224" y="30"/>
                    </a:lnTo>
                    <a:lnTo>
                      <a:pt x="1224" y="36"/>
                    </a:lnTo>
                    <a:lnTo>
                      <a:pt x="1230" y="36"/>
                    </a:lnTo>
                    <a:lnTo>
                      <a:pt x="1236" y="36"/>
                    </a:lnTo>
                    <a:lnTo>
                      <a:pt x="1242" y="36"/>
                    </a:lnTo>
                    <a:lnTo>
                      <a:pt x="1248" y="36"/>
                    </a:lnTo>
                    <a:lnTo>
                      <a:pt x="1254" y="36"/>
                    </a:lnTo>
                    <a:lnTo>
                      <a:pt x="1260" y="36"/>
                    </a:lnTo>
                    <a:lnTo>
                      <a:pt x="1266" y="36"/>
                    </a:lnTo>
                    <a:lnTo>
                      <a:pt x="1272" y="36"/>
                    </a:lnTo>
                    <a:lnTo>
                      <a:pt x="1278" y="36"/>
                    </a:lnTo>
                    <a:lnTo>
                      <a:pt x="1284" y="36"/>
                    </a:lnTo>
                    <a:lnTo>
                      <a:pt x="1290" y="36"/>
                    </a:lnTo>
                    <a:lnTo>
                      <a:pt x="1284" y="36"/>
                    </a:lnTo>
                    <a:lnTo>
                      <a:pt x="1284" y="42"/>
                    </a:lnTo>
                    <a:lnTo>
                      <a:pt x="1284" y="48"/>
                    </a:lnTo>
                    <a:lnTo>
                      <a:pt x="1278" y="48"/>
                    </a:lnTo>
                    <a:lnTo>
                      <a:pt x="1278" y="54"/>
                    </a:lnTo>
                    <a:lnTo>
                      <a:pt x="1278" y="60"/>
                    </a:lnTo>
                    <a:lnTo>
                      <a:pt x="1272" y="60"/>
                    </a:lnTo>
                    <a:lnTo>
                      <a:pt x="1272" y="66"/>
                    </a:lnTo>
                    <a:lnTo>
                      <a:pt x="1278" y="66"/>
                    </a:lnTo>
                    <a:lnTo>
                      <a:pt x="1278" y="60"/>
                    </a:lnTo>
                    <a:lnTo>
                      <a:pt x="1278" y="54"/>
                    </a:lnTo>
                    <a:lnTo>
                      <a:pt x="1278" y="60"/>
                    </a:lnTo>
                    <a:lnTo>
                      <a:pt x="1278" y="54"/>
                    </a:lnTo>
                    <a:lnTo>
                      <a:pt x="1278" y="48"/>
                    </a:lnTo>
                    <a:lnTo>
                      <a:pt x="1284" y="48"/>
                    </a:lnTo>
                    <a:lnTo>
                      <a:pt x="1284" y="54"/>
                    </a:lnTo>
                    <a:lnTo>
                      <a:pt x="1284" y="60"/>
                    </a:lnTo>
                    <a:lnTo>
                      <a:pt x="1284" y="66"/>
                    </a:lnTo>
                    <a:lnTo>
                      <a:pt x="1278" y="66"/>
                    </a:lnTo>
                    <a:lnTo>
                      <a:pt x="1278" y="72"/>
                    </a:lnTo>
                    <a:lnTo>
                      <a:pt x="1284" y="72"/>
                    </a:lnTo>
                    <a:lnTo>
                      <a:pt x="1278" y="72"/>
                    </a:lnTo>
                    <a:lnTo>
                      <a:pt x="1278" y="78"/>
                    </a:lnTo>
                    <a:lnTo>
                      <a:pt x="1278" y="84"/>
                    </a:lnTo>
                    <a:lnTo>
                      <a:pt x="1278" y="90"/>
                    </a:lnTo>
                    <a:lnTo>
                      <a:pt x="1278" y="96"/>
                    </a:lnTo>
                    <a:lnTo>
                      <a:pt x="1272" y="96"/>
                    </a:lnTo>
                    <a:lnTo>
                      <a:pt x="1272" y="102"/>
                    </a:lnTo>
                    <a:lnTo>
                      <a:pt x="1272" y="108"/>
                    </a:lnTo>
                    <a:lnTo>
                      <a:pt x="1272" y="114"/>
                    </a:lnTo>
                    <a:lnTo>
                      <a:pt x="1266" y="114"/>
                    </a:lnTo>
                    <a:lnTo>
                      <a:pt x="1266" y="120"/>
                    </a:lnTo>
                    <a:lnTo>
                      <a:pt x="1266" y="126"/>
                    </a:lnTo>
                    <a:lnTo>
                      <a:pt x="1266" y="132"/>
                    </a:lnTo>
                    <a:lnTo>
                      <a:pt x="1260" y="132"/>
                    </a:lnTo>
                    <a:lnTo>
                      <a:pt x="1260" y="138"/>
                    </a:lnTo>
                    <a:lnTo>
                      <a:pt x="1254" y="138"/>
                    </a:lnTo>
                    <a:lnTo>
                      <a:pt x="1254" y="144"/>
                    </a:lnTo>
                    <a:lnTo>
                      <a:pt x="1254" y="150"/>
                    </a:lnTo>
                    <a:lnTo>
                      <a:pt x="1254" y="156"/>
                    </a:lnTo>
                    <a:lnTo>
                      <a:pt x="1254" y="162"/>
                    </a:lnTo>
                    <a:lnTo>
                      <a:pt x="1248" y="162"/>
                    </a:lnTo>
                    <a:lnTo>
                      <a:pt x="1248" y="168"/>
                    </a:lnTo>
                    <a:lnTo>
                      <a:pt x="1242" y="168"/>
                    </a:lnTo>
                    <a:lnTo>
                      <a:pt x="1242" y="174"/>
                    </a:lnTo>
                    <a:lnTo>
                      <a:pt x="1242" y="180"/>
                    </a:lnTo>
                    <a:lnTo>
                      <a:pt x="1242" y="186"/>
                    </a:lnTo>
                    <a:lnTo>
                      <a:pt x="1236" y="186"/>
                    </a:lnTo>
                    <a:lnTo>
                      <a:pt x="1236" y="192"/>
                    </a:lnTo>
                    <a:lnTo>
                      <a:pt x="1236" y="198"/>
                    </a:lnTo>
                    <a:lnTo>
                      <a:pt x="1230" y="198"/>
                    </a:lnTo>
                    <a:lnTo>
                      <a:pt x="1230" y="204"/>
                    </a:lnTo>
                    <a:lnTo>
                      <a:pt x="1230" y="210"/>
                    </a:lnTo>
                    <a:lnTo>
                      <a:pt x="1230" y="216"/>
                    </a:lnTo>
                    <a:lnTo>
                      <a:pt x="1224" y="216"/>
                    </a:lnTo>
                    <a:lnTo>
                      <a:pt x="1224" y="222"/>
                    </a:lnTo>
                    <a:lnTo>
                      <a:pt x="1224" y="228"/>
                    </a:lnTo>
                    <a:lnTo>
                      <a:pt x="1218" y="228"/>
                    </a:lnTo>
                    <a:lnTo>
                      <a:pt x="1218" y="234"/>
                    </a:lnTo>
                    <a:lnTo>
                      <a:pt x="1218" y="240"/>
                    </a:lnTo>
                    <a:lnTo>
                      <a:pt x="1212" y="240"/>
                    </a:lnTo>
                    <a:lnTo>
                      <a:pt x="1212" y="246"/>
                    </a:lnTo>
                    <a:lnTo>
                      <a:pt x="1212" y="252"/>
                    </a:lnTo>
                    <a:lnTo>
                      <a:pt x="1212" y="258"/>
                    </a:lnTo>
                    <a:lnTo>
                      <a:pt x="1206" y="258"/>
                    </a:lnTo>
                    <a:lnTo>
                      <a:pt x="1212" y="258"/>
                    </a:lnTo>
                    <a:lnTo>
                      <a:pt x="1212" y="264"/>
                    </a:lnTo>
                    <a:lnTo>
                      <a:pt x="1206" y="264"/>
                    </a:lnTo>
                    <a:lnTo>
                      <a:pt x="1206" y="270"/>
                    </a:lnTo>
                    <a:lnTo>
                      <a:pt x="1206" y="276"/>
                    </a:lnTo>
                    <a:lnTo>
                      <a:pt x="1206" y="282"/>
                    </a:lnTo>
                    <a:lnTo>
                      <a:pt x="1200" y="282"/>
                    </a:lnTo>
                    <a:lnTo>
                      <a:pt x="1200" y="288"/>
                    </a:lnTo>
                    <a:lnTo>
                      <a:pt x="1200" y="294"/>
                    </a:lnTo>
                    <a:lnTo>
                      <a:pt x="1200" y="300"/>
                    </a:lnTo>
                    <a:lnTo>
                      <a:pt x="1200" y="306"/>
                    </a:lnTo>
                    <a:lnTo>
                      <a:pt x="1194" y="306"/>
                    </a:lnTo>
                    <a:lnTo>
                      <a:pt x="1194" y="312"/>
                    </a:lnTo>
                    <a:lnTo>
                      <a:pt x="1194" y="318"/>
                    </a:lnTo>
                    <a:lnTo>
                      <a:pt x="1194" y="324"/>
                    </a:lnTo>
                    <a:lnTo>
                      <a:pt x="1188" y="324"/>
                    </a:lnTo>
                    <a:lnTo>
                      <a:pt x="1188" y="330"/>
                    </a:lnTo>
                    <a:lnTo>
                      <a:pt x="1188" y="336"/>
                    </a:lnTo>
                    <a:lnTo>
                      <a:pt x="1188" y="342"/>
                    </a:lnTo>
                    <a:lnTo>
                      <a:pt x="1182" y="342"/>
                    </a:lnTo>
                    <a:lnTo>
                      <a:pt x="1182" y="348"/>
                    </a:lnTo>
                    <a:lnTo>
                      <a:pt x="1182" y="354"/>
                    </a:lnTo>
                    <a:lnTo>
                      <a:pt x="1182" y="360"/>
                    </a:lnTo>
                    <a:lnTo>
                      <a:pt x="1182" y="366"/>
                    </a:lnTo>
                    <a:lnTo>
                      <a:pt x="1176" y="366"/>
                    </a:lnTo>
                    <a:lnTo>
                      <a:pt x="1176" y="372"/>
                    </a:lnTo>
                    <a:lnTo>
                      <a:pt x="1176" y="378"/>
                    </a:lnTo>
                    <a:lnTo>
                      <a:pt x="1176" y="384"/>
                    </a:lnTo>
                    <a:lnTo>
                      <a:pt x="1176" y="390"/>
                    </a:lnTo>
                    <a:lnTo>
                      <a:pt x="1176" y="396"/>
                    </a:lnTo>
                    <a:lnTo>
                      <a:pt x="1176" y="402"/>
                    </a:lnTo>
                    <a:lnTo>
                      <a:pt x="1176" y="408"/>
                    </a:lnTo>
                    <a:lnTo>
                      <a:pt x="1170" y="408"/>
                    </a:lnTo>
                    <a:lnTo>
                      <a:pt x="1170" y="414"/>
                    </a:lnTo>
                    <a:lnTo>
                      <a:pt x="1170" y="420"/>
                    </a:lnTo>
                    <a:lnTo>
                      <a:pt x="1170" y="426"/>
                    </a:lnTo>
                    <a:lnTo>
                      <a:pt x="1170" y="432"/>
                    </a:lnTo>
                    <a:lnTo>
                      <a:pt x="1164" y="432"/>
                    </a:lnTo>
                    <a:lnTo>
                      <a:pt x="1164" y="438"/>
                    </a:lnTo>
                    <a:lnTo>
                      <a:pt x="1164" y="444"/>
                    </a:lnTo>
                    <a:lnTo>
                      <a:pt x="1164" y="450"/>
                    </a:lnTo>
                    <a:lnTo>
                      <a:pt x="1164" y="456"/>
                    </a:lnTo>
                    <a:lnTo>
                      <a:pt x="1164" y="462"/>
                    </a:lnTo>
                    <a:lnTo>
                      <a:pt x="1158" y="462"/>
                    </a:lnTo>
                    <a:lnTo>
                      <a:pt x="1158" y="468"/>
                    </a:lnTo>
                    <a:lnTo>
                      <a:pt x="1158" y="474"/>
                    </a:lnTo>
                    <a:lnTo>
                      <a:pt x="1158" y="480"/>
                    </a:lnTo>
                    <a:lnTo>
                      <a:pt x="1152" y="480"/>
                    </a:lnTo>
                    <a:lnTo>
                      <a:pt x="1152" y="486"/>
                    </a:lnTo>
                    <a:lnTo>
                      <a:pt x="1152" y="492"/>
                    </a:lnTo>
                    <a:lnTo>
                      <a:pt x="1146" y="492"/>
                    </a:lnTo>
                    <a:lnTo>
                      <a:pt x="1146" y="498"/>
                    </a:lnTo>
                    <a:lnTo>
                      <a:pt x="1140" y="498"/>
                    </a:lnTo>
                    <a:lnTo>
                      <a:pt x="1140" y="504"/>
                    </a:lnTo>
                    <a:lnTo>
                      <a:pt x="1140" y="510"/>
                    </a:lnTo>
                    <a:lnTo>
                      <a:pt x="1134" y="510"/>
                    </a:lnTo>
                    <a:lnTo>
                      <a:pt x="1134" y="516"/>
                    </a:lnTo>
                    <a:lnTo>
                      <a:pt x="1134" y="522"/>
                    </a:lnTo>
                    <a:lnTo>
                      <a:pt x="1128" y="522"/>
                    </a:lnTo>
                    <a:lnTo>
                      <a:pt x="1128" y="528"/>
                    </a:lnTo>
                    <a:lnTo>
                      <a:pt x="1122" y="528"/>
                    </a:lnTo>
                    <a:lnTo>
                      <a:pt x="1122" y="534"/>
                    </a:lnTo>
                    <a:lnTo>
                      <a:pt x="1122" y="540"/>
                    </a:lnTo>
                    <a:lnTo>
                      <a:pt x="1116" y="540"/>
                    </a:lnTo>
                    <a:lnTo>
                      <a:pt x="1116" y="546"/>
                    </a:lnTo>
                    <a:lnTo>
                      <a:pt x="1116" y="540"/>
                    </a:lnTo>
                    <a:lnTo>
                      <a:pt x="1116" y="546"/>
                    </a:lnTo>
                    <a:lnTo>
                      <a:pt x="1116" y="552"/>
                    </a:lnTo>
                    <a:lnTo>
                      <a:pt x="1110" y="552"/>
                    </a:lnTo>
                    <a:lnTo>
                      <a:pt x="1110" y="558"/>
                    </a:lnTo>
                    <a:lnTo>
                      <a:pt x="1116" y="552"/>
                    </a:lnTo>
                    <a:lnTo>
                      <a:pt x="1116" y="558"/>
                    </a:lnTo>
                    <a:lnTo>
                      <a:pt x="1116" y="564"/>
                    </a:lnTo>
                    <a:lnTo>
                      <a:pt x="1116" y="570"/>
                    </a:lnTo>
                    <a:lnTo>
                      <a:pt x="1110" y="570"/>
                    </a:lnTo>
                    <a:lnTo>
                      <a:pt x="1110" y="576"/>
                    </a:lnTo>
                    <a:lnTo>
                      <a:pt x="1110" y="582"/>
                    </a:lnTo>
                    <a:lnTo>
                      <a:pt x="1110" y="588"/>
                    </a:lnTo>
                    <a:lnTo>
                      <a:pt x="1104" y="588"/>
                    </a:lnTo>
                    <a:lnTo>
                      <a:pt x="1110" y="588"/>
                    </a:lnTo>
                    <a:lnTo>
                      <a:pt x="1104" y="588"/>
                    </a:lnTo>
                    <a:lnTo>
                      <a:pt x="1104" y="594"/>
                    </a:lnTo>
                    <a:lnTo>
                      <a:pt x="1104" y="600"/>
                    </a:lnTo>
                    <a:lnTo>
                      <a:pt x="1098" y="600"/>
                    </a:lnTo>
                    <a:lnTo>
                      <a:pt x="1098" y="606"/>
                    </a:lnTo>
                    <a:lnTo>
                      <a:pt x="1092" y="606"/>
                    </a:lnTo>
                    <a:lnTo>
                      <a:pt x="1092" y="612"/>
                    </a:lnTo>
                    <a:lnTo>
                      <a:pt x="1086" y="612"/>
                    </a:lnTo>
                    <a:lnTo>
                      <a:pt x="1086" y="618"/>
                    </a:lnTo>
                    <a:lnTo>
                      <a:pt x="1080" y="618"/>
                    </a:lnTo>
                    <a:lnTo>
                      <a:pt x="1080" y="624"/>
                    </a:lnTo>
                    <a:lnTo>
                      <a:pt x="1074" y="624"/>
                    </a:lnTo>
                    <a:lnTo>
                      <a:pt x="1074" y="630"/>
                    </a:lnTo>
                    <a:lnTo>
                      <a:pt x="1068" y="630"/>
                    </a:lnTo>
                    <a:lnTo>
                      <a:pt x="1068" y="636"/>
                    </a:lnTo>
                    <a:lnTo>
                      <a:pt x="1062" y="636"/>
                    </a:lnTo>
                    <a:lnTo>
                      <a:pt x="1056" y="636"/>
                    </a:lnTo>
                    <a:lnTo>
                      <a:pt x="1056" y="642"/>
                    </a:lnTo>
                    <a:lnTo>
                      <a:pt x="1050" y="642"/>
                    </a:lnTo>
                    <a:lnTo>
                      <a:pt x="1050" y="648"/>
                    </a:lnTo>
                    <a:lnTo>
                      <a:pt x="1044" y="648"/>
                    </a:lnTo>
                    <a:lnTo>
                      <a:pt x="1044" y="654"/>
                    </a:lnTo>
                    <a:lnTo>
                      <a:pt x="1038" y="654"/>
                    </a:lnTo>
                    <a:lnTo>
                      <a:pt x="1038" y="660"/>
                    </a:lnTo>
                    <a:lnTo>
                      <a:pt x="1032" y="660"/>
                    </a:lnTo>
                    <a:lnTo>
                      <a:pt x="1032" y="666"/>
                    </a:lnTo>
                    <a:lnTo>
                      <a:pt x="1026" y="666"/>
                    </a:lnTo>
                    <a:lnTo>
                      <a:pt x="1026" y="672"/>
                    </a:lnTo>
                    <a:lnTo>
                      <a:pt x="1020" y="672"/>
                    </a:lnTo>
                    <a:lnTo>
                      <a:pt x="1020" y="678"/>
                    </a:lnTo>
                    <a:lnTo>
                      <a:pt x="1014" y="678"/>
                    </a:lnTo>
                    <a:lnTo>
                      <a:pt x="1008" y="678"/>
                    </a:lnTo>
                    <a:lnTo>
                      <a:pt x="1008" y="684"/>
                    </a:lnTo>
                    <a:lnTo>
                      <a:pt x="1008" y="678"/>
                    </a:lnTo>
                    <a:lnTo>
                      <a:pt x="1002" y="678"/>
                    </a:lnTo>
                    <a:lnTo>
                      <a:pt x="1002" y="672"/>
                    </a:lnTo>
                    <a:lnTo>
                      <a:pt x="996" y="672"/>
                    </a:lnTo>
                    <a:lnTo>
                      <a:pt x="1002" y="672"/>
                    </a:lnTo>
                    <a:lnTo>
                      <a:pt x="996" y="672"/>
                    </a:lnTo>
                    <a:lnTo>
                      <a:pt x="996" y="678"/>
                    </a:lnTo>
                    <a:lnTo>
                      <a:pt x="990" y="678"/>
                    </a:lnTo>
                    <a:lnTo>
                      <a:pt x="996" y="678"/>
                    </a:lnTo>
                    <a:lnTo>
                      <a:pt x="990" y="678"/>
                    </a:lnTo>
                    <a:lnTo>
                      <a:pt x="990" y="684"/>
                    </a:lnTo>
                    <a:lnTo>
                      <a:pt x="996" y="684"/>
                    </a:lnTo>
                    <a:lnTo>
                      <a:pt x="990" y="684"/>
                    </a:lnTo>
                    <a:lnTo>
                      <a:pt x="990" y="690"/>
                    </a:lnTo>
                    <a:lnTo>
                      <a:pt x="996" y="690"/>
                    </a:lnTo>
                    <a:lnTo>
                      <a:pt x="996" y="684"/>
                    </a:lnTo>
                    <a:lnTo>
                      <a:pt x="1002" y="684"/>
                    </a:lnTo>
                    <a:lnTo>
                      <a:pt x="1002" y="678"/>
                    </a:lnTo>
                    <a:lnTo>
                      <a:pt x="1002" y="684"/>
                    </a:lnTo>
                    <a:lnTo>
                      <a:pt x="1008" y="684"/>
                    </a:lnTo>
                    <a:lnTo>
                      <a:pt x="1014" y="684"/>
                    </a:lnTo>
                    <a:lnTo>
                      <a:pt x="1008" y="684"/>
                    </a:lnTo>
                    <a:lnTo>
                      <a:pt x="1002" y="684"/>
                    </a:lnTo>
                    <a:lnTo>
                      <a:pt x="1002" y="690"/>
                    </a:lnTo>
                    <a:lnTo>
                      <a:pt x="996" y="690"/>
                    </a:lnTo>
                    <a:lnTo>
                      <a:pt x="996" y="696"/>
                    </a:lnTo>
                    <a:lnTo>
                      <a:pt x="996" y="690"/>
                    </a:lnTo>
                    <a:lnTo>
                      <a:pt x="990" y="690"/>
                    </a:lnTo>
                    <a:lnTo>
                      <a:pt x="990" y="684"/>
                    </a:lnTo>
                    <a:lnTo>
                      <a:pt x="990" y="690"/>
                    </a:lnTo>
                    <a:lnTo>
                      <a:pt x="990" y="684"/>
                    </a:lnTo>
                    <a:lnTo>
                      <a:pt x="984" y="684"/>
                    </a:lnTo>
                    <a:lnTo>
                      <a:pt x="984" y="690"/>
                    </a:lnTo>
                    <a:lnTo>
                      <a:pt x="990" y="690"/>
                    </a:lnTo>
                    <a:lnTo>
                      <a:pt x="990" y="696"/>
                    </a:lnTo>
                    <a:lnTo>
                      <a:pt x="990" y="690"/>
                    </a:lnTo>
                    <a:lnTo>
                      <a:pt x="996" y="690"/>
                    </a:lnTo>
                    <a:lnTo>
                      <a:pt x="996" y="696"/>
                    </a:lnTo>
                    <a:lnTo>
                      <a:pt x="990" y="696"/>
                    </a:lnTo>
                    <a:lnTo>
                      <a:pt x="990" y="702"/>
                    </a:lnTo>
                    <a:lnTo>
                      <a:pt x="984" y="702"/>
                    </a:lnTo>
                    <a:lnTo>
                      <a:pt x="984" y="708"/>
                    </a:lnTo>
                    <a:lnTo>
                      <a:pt x="978" y="708"/>
                    </a:lnTo>
                    <a:lnTo>
                      <a:pt x="972" y="708"/>
                    </a:lnTo>
                    <a:lnTo>
                      <a:pt x="972" y="714"/>
                    </a:lnTo>
                    <a:lnTo>
                      <a:pt x="972" y="708"/>
                    </a:lnTo>
                    <a:lnTo>
                      <a:pt x="972" y="714"/>
                    </a:lnTo>
                    <a:lnTo>
                      <a:pt x="966" y="714"/>
                    </a:lnTo>
                    <a:lnTo>
                      <a:pt x="960" y="714"/>
                    </a:lnTo>
                    <a:lnTo>
                      <a:pt x="954" y="714"/>
                    </a:lnTo>
                    <a:lnTo>
                      <a:pt x="954" y="720"/>
                    </a:lnTo>
                    <a:lnTo>
                      <a:pt x="948" y="720"/>
                    </a:lnTo>
                    <a:lnTo>
                      <a:pt x="942" y="720"/>
                    </a:lnTo>
                    <a:lnTo>
                      <a:pt x="936" y="720"/>
                    </a:lnTo>
                    <a:lnTo>
                      <a:pt x="936" y="726"/>
                    </a:lnTo>
                    <a:lnTo>
                      <a:pt x="930" y="726"/>
                    </a:lnTo>
                    <a:lnTo>
                      <a:pt x="924" y="726"/>
                    </a:lnTo>
                    <a:lnTo>
                      <a:pt x="924" y="720"/>
                    </a:lnTo>
                    <a:lnTo>
                      <a:pt x="924" y="726"/>
                    </a:lnTo>
                    <a:lnTo>
                      <a:pt x="924" y="720"/>
                    </a:lnTo>
                    <a:lnTo>
                      <a:pt x="924" y="726"/>
                    </a:lnTo>
                    <a:lnTo>
                      <a:pt x="918" y="726"/>
                    </a:lnTo>
                    <a:lnTo>
                      <a:pt x="924" y="726"/>
                    </a:lnTo>
                    <a:lnTo>
                      <a:pt x="918" y="726"/>
                    </a:lnTo>
                    <a:lnTo>
                      <a:pt x="912" y="726"/>
                    </a:lnTo>
                    <a:lnTo>
                      <a:pt x="912" y="732"/>
                    </a:lnTo>
                    <a:lnTo>
                      <a:pt x="906" y="732"/>
                    </a:lnTo>
                    <a:lnTo>
                      <a:pt x="906" y="738"/>
                    </a:lnTo>
                    <a:lnTo>
                      <a:pt x="900" y="738"/>
                    </a:lnTo>
                    <a:lnTo>
                      <a:pt x="900" y="744"/>
                    </a:lnTo>
                    <a:lnTo>
                      <a:pt x="894" y="744"/>
                    </a:lnTo>
                    <a:lnTo>
                      <a:pt x="894" y="750"/>
                    </a:lnTo>
                    <a:lnTo>
                      <a:pt x="888" y="750"/>
                    </a:lnTo>
                    <a:lnTo>
                      <a:pt x="888" y="756"/>
                    </a:lnTo>
                    <a:lnTo>
                      <a:pt x="882" y="756"/>
                    </a:lnTo>
                    <a:lnTo>
                      <a:pt x="882" y="762"/>
                    </a:lnTo>
                    <a:lnTo>
                      <a:pt x="876" y="762"/>
                    </a:lnTo>
                    <a:lnTo>
                      <a:pt x="876" y="768"/>
                    </a:lnTo>
                    <a:lnTo>
                      <a:pt x="870" y="768"/>
                    </a:lnTo>
                    <a:lnTo>
                      <a:pt x="870" y="774"/>
                    </a:lnTo>
                    <a:lnTo>
                      <a:pt x="864" y="774"/>
                    </a:lnTo>
                    <a:lnTo>
                      <a:pt x="858" y="774"/>
                    </a:lnTo>
                    <a:lnTo>
                      <a:pt x="858" y="780"/>
                    </a:lnTo>
                    <a:lnTo>
                      <a:pt x="864" y="780"/>
                    </a:lnTo>
                    <a:lnTo>
                      <a:pt x="864" y="774"/>
                    </a:lnTo>
                    <a:lnTo>
                      <a:pt x="864" y="780"/>
                    </a:lnTo>
                    <a:lnTo>
                      <a:pt x="858" y="780"/>
                    </a:lnTo>
                    <a:lnTo>
                      <a:pt x="858" y="786"/>
                    </a:lnTo>
                    <a:lnTo>
                      <a:pt x="852" y="786"/>
                    </a:lnTo>
                    <a:lnTo>
                      <a:pt x="852" y="792"/>
                    </a:lnTo>
                    <a:lnTo>
                      <a:pt x="846" y="792"/>
                    </a:lnTo>
                    <a:lnTo>
                      <a:pt x="846" y="798"/>
                    </a:lnTo>
                    <a:lnTo>
                      <a:pt x="840" y="798"/>
                    </a:lnTo>
                    <a:lnTo>
                      <a:pt x="840" y="804"/>
                    </a:lnTo>
                    <a:lnTo>
                      <a:pt x="840" y="798"/>
                    </a:lnTo>
                    <a:lnTo>
                      <a:pt x="840" y="804"/>
                    </a:lnTo>
                    <a:lnTo>
                      <a:pt x="834" y="804"/>
                    </a:lnTo>
                    <a:lnTo>
                      <a:pt x="834" y="810"/>
                    </a:lnTo>
                    <a:lnTo>
                      <a:pt x="828" y="810"/>
                    </a:lnTo>
                    <a:lnTo>
                      <a:pt x="828" y="816"/>
                    </a:lnTo>
                    <a:lnTo>
                      <a:pt x="822" y="816"/>
                    </a:lnTo>
                    <a:lnTo>
                      <a:pt x="822" y="822"/>
                    </a:lnTo>
                    <a:lnTo>
                      <a:pt x="816" y="822"/>
                    </a:lnTo>
                    <a:lnTo>
                      <a:pt x="816" y="828"/>
                    </a:lnTo>
                    <a:lnTo>
                      <a:pt x="810" y="828"/>
                    </a:lnTo>
                    <a:lnTo>
                      <a:pt x="810" y="834"/>
                    </a:lnTo>
                    <a:lnTo>
                      <a:pt x="804" y="834"/>
                    </a:lnTo>
                    <a:lnTo>
                      <a:pt x="804" y="840"/>
                    </a:lnTo>
                    <a:lnTo>
                      <a:pt x="798" y="840"/>
                    </a:lnTo>
                    <a:lnTo>
                      <a:pt x="798" y="846"/>
                    </a:lnTo>
                    <a:lnTo>
                      <a:pt x="792" y="846"/>
                    </a:lnTo>
                    <a:lnTo>
                      <a:pt x="792" y="852"/>
                    </a:lnTo>
                    <a:lnTo>
                      <a:pt x="786" y="852"/>
                    </a:lnTo>
                    <a:lnTo>
                      <a:pt x="786" y="858"/>
                    </a:lnTo>
                    <a:lnTo>
                      <a:pt x="780" y="858"/>
                    </a:lnTo>
                    <a:lnTo>
                      <a:pt x="780" y="864"/>
                    </a:lnTo>
                    <a:lnTo>
                      <a:pt x="774" y="864"/>
                    </a:lnTo>
                    <a:lnTo>
                      <a:pt x="774" y="870"/>
                    </a:lnTo>
                    <a:lnTo>
                      <a:pt x="768" y="870"/>
                    </a:lnTo>
                    <a:lnTo>
                      <a:pt x="768" y="876"/>
                    </a:lnTo>
                    <a:lnTo>
                      <a:pt x="768" y="882"/>
                    </a:lnTo>
                    <a:lnTo>
                      <a:pt x="762" y="882"/>
                    </a:lnTo>
                    <a:lnTo>
                      <a:pt x="762" y="888"/>
                    </a:lnTo>
                    <a:lnTo>
                      <a:pt x="756" y="888"/>
                    </a:lnTo>
                    <a:lnTo>
                      <a:pt x="756" y="894"/>
                    </a:lnTo>
                    <a:lnTo>
                      <a:pt x="750" y="894"/>
                    </a:lnTo>
                    <a:lnTo>
                      <a:pt x="750" y="900"/>
                    </a:lnTo>
                    <a:lnTo>
                      <a:pt x="744" y="900"/>
                    </a:lnTo>
                    <a:lnTo>
                      <a:pt x="744" y="906"/>
                    </a:lnTo>
                    <a:lnTo>
                      <a:pt x="744" y="912"/>
                    </a:lnTo>
                    <a:lnTo>
                      <a:pt x="738" y="912"/>
                    </a:lnTo>
                    <a:lnTo>
                      <a:pt x="744" y="912"/>
                    </a:lnTo>
                    <a:lnTo>
                      <a:pt x="738" y="912"/>
                    </a:lnTo>
                    <a:lnTo>
                      <a:pt x="738" y="918"/>
                    </a:lnTo>
                    <a:lnTo>
                      <a:pt x="732" y="918"/>
                    </a:lnTo>
                    <a:lnTo>
                      <a:pt x="732" y="924"/>
                    </a:lnTo>
                    <a:lnTo>
                      <a:pt x="726" y="924"/>
                    </a:lnTo>
                    <a:lnTo>
                      <a:pt x="726" y="930"/>
                    </a:lnTo>
                    <a:lnTo>
                      <a:pt x="726" y="936"/>
                    </a:lnTo>
                    <a:lnTo>
                      <a:pt x="720" y="936"/>
                    </a:lnTo>
                    <a:lnTo>
                      <a:pt x="720" y="942"/>
                    </a:lnTo>
                    <a:lnTo>
                      <a:pt x="714" y="942"/>
                    </a:lnTo>
                    <a:lnTo>
                      <a:pt x="714" y="948"/>
                    </a:lnTo>
                    <a:lnTo>
                      <a:pt x="708" y="948"/>
                    </a:lnTo>
                    <a:lnTo>
                      <a:pt x="708" y="954"/>
                    </a:lnTo>
                    <a:lnTo>
                      <a:pt x="708" y="960"/>
                    </a:lnTo>
                    <a:lnTo>
                      <a:pt x="702" y="960"/>
                    </a:lnTo>
                    <a:lnTo>
                      <a:pt x="702" y="966"/>
                    </a:lnTo>
                    <a:lnTo>
                      <a:pt x="702" y="972"/>
                    </a:lnTo>
                    <a:lnTo>
                      <a:pt x="696" y="972"/>
                    </a:lnTo>
                    <a:lnTo>
                      <a:pt x="696" y="978"/>
                    </a:lnTo>
                    <a:lnTo>
                      <a:pt x="696" y="984"/>
                    </a:lnTo>
                    <a:lnTo>
                      <a:pt x="690" y="984"/>
                    </a:lnTo>
                    <a:lnTo>
                      <a:pt x="690" y="990"/>
                    </a:lnTo>
                    <a:lnTo>
                      <a:pt x="684" y="990"/>
                    </a:lnTo>
                    <a:lnTo>
                      <a:pt x="684" y="996"/>
                    </a:lnTo>
                    <a:lnTo>
                      <a:pt x="684" y="1002"/>
                    </a:lnTo>
                    <a:lnTo>
                      <a:pt x="678" y="1002"/>
                    </a:lnTo>
                    <a:lnTo>
                      <a:pt x="678" y="1008"/>
                    </a:lnTo>
                    <a:lnTo>
                      <a:pt x="678" y="1014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84" y="1026"/>
                    </a:lnTo>
                    <a:lnTo>
                      <a:pt x="678" y="1026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78" y="1020"/>
                    </a:lnTo>
                    <a:lnTo>
                      <a:pt x="678" y="1026"/>
                    </a:lnTo>
                    <a:lnTo>
                      <a:pt x="672" y="1026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66" y="1038"/>
                    </a:lnTo>
                    <a:lnTo>
                      <a:pt x="672" y="1038"/>
                    </a:lnTo>
                    <a:lnTo>
                      <a:pt x="672" y="1032"/>
                    </a:lnTo>
                    <a:lnTo>
                      <a:pt x="666" y="1032"/>
                    </a:lnTo>
                    <a:lnTo>
                      <a:pt x="672" y="1032"/>
                    </a:lnTo>
                    <a:lnTo>
                      <a:pt x="672" y="1026"/>
                    </a:lnTo>
                    <a:lnTo>
                      <a:pt x="672" y="1032"/>
                    </a:lnTo>
                    <a:lnTo>
                      <a:pt x="678" y="1032"/>
                    </a:lnTo>
                    <a:lnTo>
                      <a:pt x="678" y="1026"/>
                    </a:lnTo>
                    <a:lnTo>
                      <a:pt x="678" y="1032"/>
                    </a:lnTo>
                    <a:lnTo>
                      <a:pt x="672" y="1032"/>
                    </a:lnTo>
                    <a:lnTo>
                      <a:pt x="678" y="1032"/>
                    </a:lnTo>
                    <a:lnTo>
                      <a:pt x="684" y="1032"/>
                    </a:lnTo>
                    <a:lnTo>
                      <a:pt x="684" y="1026"/>
                    </a:lnTo>
                    <a:lnTo>
                      <a:pt x="684" y="1032"/>
                    </a:lnTo>
                    <a:lnTo>
                      <a:pt x="678" y="1032"/>
                    </a:lnTo>
                    <a:lnTo>
                      <a:pt x="678" y="1038"/>
                    </a:lnTo>
                    <a:lnTo>
                      <a:pt x="678" y="1044"/>
                    </a:lnTo>
                    <a:lnTo>
                      <a:pt x="672" y="1044"/>
                    </a:lnTo>
                    <a:lnTo>
                      <a:pt x="672" y="1050"/>
                    </a:lnTo>
                    <a:lnTo>
                      <a:pt x="666" y="1050"/>
                    </a:lnTo>
                    <a:lnTo>
                      <a:pt x="666" y="1056"/>
                    </a:lnTo>
                    <a:lnTo>
                      <a:pt x="660" y="1056"/>
                    </a:lnTo>
                    <a:lnTo>
                      <a:pt x="660" y="1062"/>
                    </a:lnTo>
                    <a:lnTo>
                      <a:pt x="660" y="1056"/>
                    </a:lnTo>
                    <a:lnTo>
                      <a:pt x="660" y="1062"/>
                    </a:lnTo>
                    <a:lnTo>
                      <a:pt x="654" y="1062"/>
                    </a:lnTo>
                    <a:lnTo>
                      <a:pt x="654" y="1068"/>
                    </a:lnTo>
                    <a:lnTo>
                      <a:pt x="648" y="1068"/>
                    </a:lnTo>
                    <a:lnTo>
                      <a:pt x="654" y="1068"/>
                    </a:lnTo>
                    <a:lnTo>
                      <a:pt x="648" y="1068"/>
                    </a:lnTo>
                    <a:lnTo>
                      <a:pt x="648" y="1074"/>
                    </a:lnTo>
                    <a:lnTo>
                      <a:pt x="642" y="1074"/>
                    </a:lnTo>
                    <a:lnTo>
                      <a:pt x="642" y="1080"/>
                    </a:lnTo>
                    <a:lnTo>
                      <a:pt x="636" y="1080"/>
                    </a:lnTo>
                    <a:lnTo>
                      <a:pt x="636" y="1086"/>
                    </a:lnTo>
                    <a:lnTo>
                      <a:pt x="636" y="1080"/>
                    </a:lnTo>
                    <a:lnTo>
                      <a:pt x="636" y="1086"/>
                    </a:lnTo>
                    <a:lnTo>
                      <a:pt x="630" y="1086"/>
                    </a:lnTo>
                    <a:lnTo>
                      <a:pt x="630" y="1092"/>
                    </a:lnTo>
                    <a:lnTo>
                      <a:pt x="624" y="1092"/>
                    </a:lnTo>
                    <a:lnTo>
                      <a:pt x="624" y="1098"/>
                    </a:lnTo>
                    <a:lnTo>
                      <a:pt x="624" y="1104"/>
                    </a:lnTo>
                    <a:lnTo>
                      <a:pt x="618" y="1104"/>
                    </a:lnTo>
                    <a:lnTo>
                      <a:pt x="618" y="1110"/>
                    </a:lnTo>
                    <a:lnTo>
                      <a:pt x="618" y="1116"/>
                    </a:lnTo>
                    <a:lnTo>
                      <a:pt x="612" y="1116"/>
                    </a:lnTo>
                    <a:lnTo>
                      <a:pt x="612" y="1122"/>
                    </a:lnTo>
                    <a:lnTo>
                      <a:pt x="612" y="1128"/>
                    </a:lnTo>
                    <a:lnTo>
                      <a:pt x="606" y="1128"/>
                    </a:lnTo>
                    <a:lnTo>
                      <a:pt x="606" y="1134"/>
                    </a:lnTo>
                    <a:lnTo>
                      <a:pt x="606" y="1140"/>
                    </a:lnTo>
                    <a:lnTo>
                      <a:pt x="600" y="1140"/>
                    </a:lnTo>
                    <a:lnTo>
                      <a:pt x="600" y="1146"/>
                    </a:lnTo>
                    <a:lnTo>
                      <a:pt x="600" y="1152"/>
                    </a:lnTo>
                    <a:lnTo>
                      <a:pt x="594" y="1152"/>
                    </a:lnTo>
                    <a:lnTo>
                      <a:pt x="594" y="1158"/>
                    </a:lnTo>
                    <a:lnTo>
                      <a:pt x="588" y="1158"/>
                    </a:lnTo>
                    <a:lnTo>
                      <a:pt x="588" y="1164"/>
                    </a:lnTo>
                    <a:lnTo>
                      <a:pt x="588" y="1170"/>
                    </a:lnTo>
                    <a:lnTo>
                      <a:pt x="582" y="1170"/>
                    </a:lnTo>
                    <a:lnTo>
                      <a:pt x="582" y="1176"/>
                    </a:lnTo>
                    <a:lnTo>
                      <a:pt x="582" y="1182"/>
                    </a:lnTo>
                    <a:lnTo>
                      <a:pt x="576" y="1182"/>
                    </a:lnTo>
                    <a:lnTo>
                      <a:pt x="576" y="1188"/>
                    </a:lnTo>
                    <a:lnTo>
                      <a:pt x="576" y="1194"/>
                    </a:lnTo>
                    <a:lnTo>
                      <a:pt x="570" y="1194"/>
                    </a:lnTo>
                    <a:lnTo>
                      <a:pt x="570" y="1200"/>
                    </a:lnTo>
                    <a:lnTo>
                      <a:pt x="564" y="1200"/>
                    </a:lnTo>
                    <a:lnTo>
                      <a:pt x="564" y="1206"/>
                    </a:lnTo>
                    <a:lnTo>
                      <a:pt x="564" y="1212"/>
                    </a:lnTo>
                    <a:lnTo>
                      <a:pt x="558" y="1212"/>
                    </a:lnTo>
                    <a:lnTo>
                      <a:pt x="558" y="1218"/>
                    </a:lnTo>
                    <a:lnTo>
                      <a:pt x="558" y="1224"/>
                    </a:lnTo>
                    <a:lnTo>
                      <a:pt x="552" y="1224"/>
                    </a:lnTo>
                    <a:lnTo>
                      <a:pt x="552" y="1230"/>
                    </a:lnTo>
                    <a:lnTo>
                      <a:pt x="552" y="1236"/>
                    </a:lnTo>
                    <a:lnTo>
                      <a:pt x="546" y="1236"/>
                    </a:lnTo>
                    <a:lnTo>
                      <a:pt x="546" y="1242"/>
                    </a:lnTo>
                    <a:lnTo>
                      <a:pt x="540" y="1242"/>
                    </a:lnTo>
                    <a:lnTo>
                      <a:pt x="540" y="1248"/>
                    </a:lnTo>
                    <a:lnTo>
                      <a:pt x="534" y="1248"/>
                    </a:lnTo>
                    <a:lnTo>
                      <a:pt x="534" y="1254"/>
                    </a:lnTo>
                    <a:lnTo>
                      <a:pt x="534" y="1260"/>
                    </a:lnTo>
                    <a:lnTo>
                      <a:pt x="528" y="1260"/>
                    </a:lnTo>
                    <a:lnTo>
                      <a:pt x="528" y="1266"/>
                    </a:lnTo>
                    <a:lnTo>
                      <a:pt x="522" y="1266"/>
                    </a:lnTo>
                    <a:lnTo>
                      <a:pt x="522" y="1272"/>
                    </a:lnTo>
                    <a:lnTo>
                      <a:pt x="522" y="1278"/>
                    </a:lnTo>
                    <a:lnTo>
                      <a:pt x="516" y="1278"/>
                    </a:lnTo>
                    <a:lnTo>
                      <a:pt x="522" y="1278"/>
                    </a:lnTo>
                    <a:lnTo>
                      <a:pt x="516" y="1278"/>
                    </a:lnTo>
                    <a:lnTo>
                      <a:pt x="516" y="1284"/>
                    </a:lnTo>
                    <a:lnTo>
                      <a:pt x="510" y="1290"/>
                    </a:lnTo>
                    <a:lnTo>
                      <a:pt x="510" y="1296"/>
                    </a:lnTo>
                    <a:lnTo>
                      <a:pt x="504" y="1296"/>
                    </a:lnTo>
                    <a:lnTo>
                      <a:pt x="504" y="1302"/>
                    </a:lnTo>
                    <a:lnTo>
                      <a:pt x="498" y="1302"/>
                    </a:lnTo>
                    <a:lnTo>
                      <a:pt x="498" y="1308"/>
                    </a:lnTo>
                    <a:lnTo>
                      <a:pt x="498" y="1314"/>
                    </a:lnTo>
                    <a:lnTo>
                      <a:pt x="492" y="1314"/>
                    </a:lnTo>
                    <a:lnTo>
                      <a:pt x="492" y="1320"/>
                    </a:lnTo>
                    <a:lnTo>
                      <a:pt x="486" y="1320"/>
                    </a:lnTo>
                    <a:lnTo>
                      <a:pt x="486" y="1326"/>
                    </a:lnTo>
                    <a:lnTo>
                      <a:pt x="486" y="1332"/>
                    </a:lnTo>
                    <a:lnTo>
                      <a:pt x="480" y="1332"/>
                    </a:lnTo>
                    <a:lnTo>
                      <a:pt x="480" y="1338"/>
                    </a:lnTo>
                    <a:lnTo>
                      <a:pt x="480" y="1344"/>
                    </a:lnTo>
                    <a:lnTo>
                      <a:pt x="474" y="1344"/>
                    </a:lnTo>
                    <a:lnTo>
                      <a:pt x="474" y="1350"/>
                    </a:lnTo>
                    <a:lnTo>
                      <a:pt x="468" y="1350"/>
                    </a:lnTo>
                    <a:lnTo>
                      <a:pt x="468" y="1356"/>
                    </a:lnTo>
                    <a:lnTo>
                      <a:pt x="462" y="1356"/>
                    </a:lnTo>
                    <a:lnTo>
                      <a:pt x="462" y="1362"/>
                    </a:lnTo>
                    <a:lnTo>
                      <a:pt x="462" y="1368"/>
                    </a:lnTo>
                    <a:lnTo>
                      <a:pt x="456" y="1368"/>
                    </a:lnTo>
                    <a:lnTo>
                      <a:pt x="456" y="1374"/>
                    </a:lnTo>
                    <a:lnTo>
                      <a:pt x="450" y="1374"/>
                    </a:lnTo>
                    <a:lnTo>
                      <a:pt x="450" y="1380"/>
                    </a:lnTo>
                    <a:lnTo>
                      <a:pt x="444" y="1380"/>
                    </a:lnTo>
                    <a:lnTo>
                      <a:pt x="444" y="1386"/>
                    </a:lnTo>
                    <a:lnTo>
                      <a:pt x="438" y="1386"/>
                    </a:lnTo>
                    <a:lnTo>
                      <a:pt x="438" y="1392"/>
                    </a:lnTo>
                    <a:lnTo>
                      <a:pt x="438" y="1386"/>
                    </a:lnTo>
                    <a:lnTo>
                      <a:pt x="438" y="1392"/>
                    </a:lnTo>
                    <a:lnTo>
                      <a:pt x="438" y="1398"/>
                    </a:lnTo>
                    <a:lnTo>
                      <a:pt x="432" y="1398"/>
                    </a:lnTo>
                    <a:lnTo>
                      <a:pt x="432" y="1404"/>
                    </a:lnTo>
                    <a:lnTo>
                      <a:pt x="426" y="1404"/>
                    </a:lnTo>
                    <a:lnTo>
                      <a:pt x="426" y="1410"/>
                    </a:lnTo>
                    <a:lnTo>
                      <a:pt x="420" y="1410"/>
                    </a:lnTo>
                    <a:lnTo>
                      <a:pt x="420" y="1416"/>
                    </a:lnTo>
                    <a:lnTo>
                      <a:pt x="426" y="1416"/>
                    </a:lnTo>
                    <a:lnTo>
                      <a:pt x="420" y="1416"/>
                    </a:lnTo>
                    <a:lnTo>
                      <a:pt x="420" y="1422"/>
                    </a:lnTo>
                    <a:lnTo>
                      <a:pt x="414" y="1422"/>
                    </a:lnTo>
                    <a:lnTo>
                      <a:pt x="408" y="1422"/>
                    </a:lnTo>
                    <a:lnTo>
                      <a:pt x="408" y="1416"/>
                    </a:lnTo>
                    <a:lnTo>
                      <a:pt x="408" y="1410"/>
                    </a:lnTo>
                    <a:lnTo>
                      <a:pt x="402" y="1404"/>
                    </a:lnTo>
                    <a:lnTo>
                      <a:pt x="396" y="1404"/>
                    </a:lnTo>
                    <a:lnTo>
                      <a:pt x="396" y="1398"/>
                    </a:lnTo>
                    <a:lnTo>
                      <a:pt x="396" y="1392"/>
                    </a:lnTo>
                    <a:lnTo>
                      <a:pt x="396" y="1386"/>
                    </a:lnTo>
                    <a:lnTo>
                      <a:pt x="390" y="1386"/>
                    </a:lnTo>
                    <a:lnTo>
                      <a:pt x="390" y="1380"/>
                    </a:lnTo>
                    <a:lnTo>
                      <a:pt x="396" y="1380"/>
                    </a:lnTo>
                    <a:lnTo>
                      <a:pt x="396" y="1374"/>
                    </a:lnTo>
                    <a:lnTo>
                      <a:pt x="396" y="1368"/>
                    </a:lnTo>
                    <a:lnTo>
                      <a:pt x="390" y="1368"/>
                    </a:lnTo>
                    <a:lnTo>
                      <a:pt x="390" y="1362"/>
                    </a:lnTo>
                    <a:lnTo>
                      <a:pt x="384" y="1362"/>
                    </a:lnTo>
                    <a:lnTo>
                      <a:pt x="378" y="1362"/>
                    </a:lnTo>
                    <a:lnTo>
                      <a:pt x="378" y="1356"/>
                    </a:lnTo>
                    <a:lnTo>
                      <a:pt x="378" y="1350"/>
                    </a:lnTo>
                    <a:lnTo>
                      <a:pt x="378" y="1344"/>
                    </a:lnTo>
                    <a:lnTo>
                      <a:pt x="372" y="1344"/>
                    </a:lnTo>
                    <a:lnTo>
                      <a:pt x="366" y="1344"/>
                    </a:lnTo>
                    <a:lnTo>
                      <a:pt x="360" y="1344"/>
                    </a:lnTo>
                    <a:lnTo>
                      <a:pt x="360" y="1338"/>
                    </a:lnTo>
                    <a:lnTo>
                      <a:pt x="354" y="1338"/>
                    </a:lnTo>
                    <a:lnTo>
                      <a:pt x="348" y="1338"/>
                    </a:lnTo>
                    <a:lnTo>
                      <a:pt x="348" y="1332"/>
                    </a:lnTo>
                    <a:lnTo>
                      <a:pt x="342" y="1326"/>
                    </a:lnTo>
                    <a:lnTo>
                      <a:pt x="342" y="1320"/>
                    </a:lnTo>
                    <a:lnTo>
                      <a:pt x="336" y="1320"/>
                    </a:lnTo>
                    <a:lnTo>
                      <a:pt x="330" y="1320"/>
                    </a:lnTo>
                    <a:lnTo>
                      <a:pt x="324" y="1320"/>
                    </a:lnTo>
                    <a:lnTo>
                      <a:pt x="324" y="1314"/>
                    </a:lnTo>
                    <a:lnTo>
                      <a:pt x="318" y="1308"/>
                    </a:lnTo>
                    <a:lnTo>
                      <a:pt x="312" y="1308"/>
                    </a:lnTo>
                    <a:lnTo>
                      <a:pt x="306" y="1302"/>
                    </a:lnTo>
                    <a:lnTo>
                      <a:pt x="306" y="1296"/>
                    </a:lnTo>
                    <a:lnTo>
                      <a:pt x="300" y="1290"/>
                    </a:lnTo>
                    <a:lnTo>
                      <a:pt x="294" y="1290"/>
                    </a:lnTo>
                    <a:lnTo>
                      <a:pt x="294" y="1296"/>
                    </a:lnTo>
                    <a:lnTo>
                      <a:pt x="288" y="1296"/>
                    </a:lnTo>
                    <a:lnTo>
                      <a:pt x="282" y="1296"/>
                    </a:lnTo>
                    <a:lnTo>
                      <a:pt x="276" y="1290"/>
                    </a:lnTo>
                    <a:lnTo>
                      <a:pt x="270" y="1290"/>
                    </a:lnTo>
                    <a:lnTo>
                      <a:pt x="270" y="1284"/>
                    </a:lnTo>
                    <a:lnTo>
                      <a:pt x="264" y="1284"/>
                    </a:lnTo>
                    <a:lnTo>
                      <a:pt x="258" y="1284"/>
                    </a:lnTo>
                    <a:lnTo>
                      <a:pt x="252" y="1284"/>
                    </a:lnTo>
                    <a:lnTo>
                      <a:pt x="246" y="1284"/>
                    </a:lnTo>
                    <a:lnTo>
                      <a:pt x="240" y="1284"/>
                    </a:lnTo>
                    <a:lnTo>
                      <a:pt x="240" y="1278"/>
                    </a:lnTo>
                    <a:lnTo>
                      <a:pt x="234" y="1278"/>
                    </a:lnTo>
                    <a:lnTo>
                      <a:pt x="228" y="1278"/>
                    </a:lnTo>
                    <a:lnTo>
                      <a:pt x="228" y="1272"/>
                    </a:lnTo>
                    <a:lnTo>
                      <a:pt x="222" y="1272"/>
                    </a:lnTo>
                    <a:lnTo>
                      <a:pt x="222" y="1266"/>
                    </a:lnTo>
                    <a:lnTo>
                      <a:pt x="216" y="1266"/>
                    </a:lnTo>
                    <a:lnTo>
                      <a:pt x="216" y="1260"/>
                    </a:lnTo>
                    <a:lnTo>
                      <a:pt x="210" y="1260"/>
                    </a:lnTo>
                    <a:lnTo>
                      <a:pt x="204" y="1260"/>
                    </a:lnTo>
                    <a:lnTo>
                      <a:pt x="198" y="1260"/>
                    </a:lnTo>
                    <a:lnTo>
                      <a:pt x="198" y="1266"/>
                    </a:lnTo>
                    <a:lnTo>
                      <a:pt x="192" y="1266"/>
                    </a:lnTo>
                    <a:lnTo>
                      <a:pt x="186" y="1266"/>
                    </a:lnTo>
                    <a:lnTo>
                      <a:pt x="180" y="1266"/>
                    </a:lnTo>
                    <a:lnTo>
                      <a:pt x="174" y="1266"/>
                    </a:lnTo>
                    <a:lnTo>
                      <a:pt x="174" y="1272"/>
                    </a:lnTo>
                    <a:lnTo>
                      <a:pt x="168" y="1272"/>
                    </a:lnTo>
                    <a:lnTo>
                      <a:pt x="162" y="1272"/>
                    </a:lnTo>
                    <a:lnTo>
                      <a:pt x="156" y="1266"/>
                    </a:lnTo>
                    <a:lnTo>
                      <a:pt x="150" y="1266"/>
                    </a:lnTo>
                    <a:lnTo>
                      <a:pt x="150" y="1260"/>
                    </a:lnTo>
                    <a:lnTo>
                      <a:pt x="144" y="1260"/>
                    </a:lnTo>
                    <a:lnTo>
                      <a:pt x="138" y="1260"/>
                    </a:lnTo>
                    <a:lnTo>
                      <a:pt x="132" y="1254"/>
                    </a:lnTo>
                    <a:lnTo>
                      <a:pt x="126" y="1254"/>
                    </a:lnTo>
                    <a:lnTo>
                      <a:pt x="120" y="1254"/>
                    </a:lnTo>
                    <a:lnTo>
                      <a:pt x="114" y="1248"/>
                    </a:lnTo>
                    <a:lnTo>
                      <a:pt x="108" y="1248"/>
                    </a:lnTo>
                    <a:lnTo>
                      <a:pt x="102" y="1248"/>
                    </a:lnTo>
                    <a:lnTo>
                      <a:pt x="96" y="1248"/>
                    </a:lnTo>
                    <a:lnTo>
                      <a:pt x="96" y="1242"/>
                    </a:lnTo>
                    <a:lnTo>
                      <a:pt x="96" y="1236"/>
                    </a:lnTo>
                    <a:lnTo>
                      <a:pt x="96" y="1230"/>
                    </a:lnTo>
                    <a:lnTo>
                      <a:pt x="96" y="1224"/>
                    </a:lnTo>
                    <a:lnTo>
                      <a:pt x="90" y="1224"/>
                    </a:lnTo>
                    <a:lnTo>
                      <a:pt x="84" y="1224"/>
                    </a:lnTo>
                    <a:lnTo>
                      <a:pt x="84" y="1218"/>
                    </a:lnTo>
                    <a:lnTo>
                      <a:pt x="78" y="1218"/>
                    </a:lnTo>
                    <a:lnTo>
                      <a:pt x="72" y="1218"/>
                    </a:lnTo>
                    <a:lnTo>
                      <a:pt x="72" y="1212"/>
                    </a:lnTo>
                    <a:lnTo>
                      <a:pt x="66" y="1218"/>
                    </a:lnTo>
                    <a:lnTo>
                      <a:pt x="66" y="1224"/>
                    </a:lnTo>
                    <a:lnTo>
                      <a:pt x="66" y="1230"/>
                    </a:lnTo>
                    <a:lnTo>
                      <a:pt x="66" y="1236"/>
                    </a:lnTo>
                    <a:lnTo>
                      <a:pt x="66" y="1242"/>
                    </a:lnTo>
                    <a:lnTo>
                      <a:pt x="60" y="1242"/>
                    </a:lnTo>
                    <a:lnTo>
                      <a:pt x="54" y="1242"/>
                    </a:lnTo>
                    <a:lnTo>
                      <a:pt x="54" y="1236"/>
                    </a:lnTo>
                    <a:lnTo>
                      <a:pt x="48" y="1236"/>
                    </a:lnTo>
                    <a:lnTo>
                      <a:pt x="42" y="1236"/>
                    </a:lnTo>
                    <a:lnTo>
                      <a:pt x="36" y="1236"/>
                    </a:lnTo>
                    <a:lnTo>
                      <a:pt x="30" y="1236"/>
                    </a:lnTo>
                    <a:lnTo>
                      <a:pt x="30" y="1230"/>
                    </a:lnTo>
                    <a:lnTo>
                      <a:pt x="24" y="1230"/>
                    </a:lnTo>
                    <a:lnTo>
                      <a:pt x="24" y="1224"/>
                    </a:lnTo>
                    <a:lnTo>
                      <a:pt x="24" y="1218"/>
                    </a:lnTo>
                    <a:lnTo>
                      <a:pt x="18" y="1218"/>
                    </a:lnTo>
                    <a:lnTo>
                      <a:pt x="18" y="1212"/>
                    </a:lnTo>
                    <a:lnTo>
                      <a:pt x="12" y="1212"/>
                    </a:lnTo>
                    <a:lnTo>
                      <a:pt x="6" y="1212"/>
                    </a:lnTo>
                    <a:lnTo>
                      <a:pt x="6" y="1206"/>
                    </a:lnTo>
                    <a:lnTo>
                      <a:pt x="0" y="1200"/>
                    </a:lnTo>
                    <a:lnTo>
                      <a:pt x="6" y="1194"/>
                    </a:lnTo>
                    <a:lnTo>
                      <a:pt x="6" y="1188"/>
                    </a:lnTo>
                    <a:lnTo>
                      <a:pt x="12" y="1188"/>
                    </a:lnTo>
                    <a:lnTo>
                      <a:pt x="12" y="1182"/>
                    </a:lnTo>
                    <a:lnTo>
                      <a:pt x="6" y="1182"/>
                    </a:lnTo>
                    <a:lnTo>
                      <a:pt x="6" y="1176"/>
                    </a:lnTo>
                    <a:lnTo>
                      <a:pt x="6" y="1170"/>
                    </a:lnTo>
                    <a:lnTo>
                      <a:pt x="0" y="1170"/>
                    </a:lnTo>
                    <a:lnTo>
                      <a:pt x="0" y="1164"/>
                    </a:lnTo>
                    <a:lnTo>
                      <a:pt x="6" y="1164"/>
                    </a:lnTo>
                    <a:lnTo>
                      <a:pt x="6" y="1158"/>
                    </a:lnTo>
                    <a:lnTo>
                      <a:pt x="6" y="1152"/>
                    </a:lnTo>
                    <a:lnTo>
                      <a:pt x="12" y="1152"/>
                    </a:lnTo>
                    <a:lnTo>
                      <a:pt x="12" y="1146"/>
                    </a:lnTo>
                    <a:lnTo>
                      <a:pt x="12" y="1140"/>
                    </a:lnTo>
                    <a:lnTo>
                      <a:pt x="12" y="1146"/>
                    </a:lnTo>
                    <a:lnTo>
                      <a:pt x="18" y="1146"/>
                    </a:lnTo>
                    <a:lnTo>
                      <a:pt x="24" y="1146"/>
                    </a:lnTo>
                    <a:lnTo>
                      <a:pt x="30" y="1152"/>
                    </a:lnTo>
                    <a:lnTo>
                      <a:pt x="36" y="1152"/>
                    </a:lnTo>
                    <a:lnTo>
                      <a:pt x="42" y="1152"/>
                    </a:lnTo>
                    <a:lnTo>
                      <a:pt x="42" y="1146"/>
                    </a:lnTo>
                    <a:lnTo>
                      <a:pt x="42" y="1140"/>
                    </a:lnTo>
                    <a:lnTo>
                      <a:pt x="42" y="1134"/>
                    </a:lnTo>
                    <a:lnTo>
                      <a:pt x="48" y="1134"/>
                    </a:lnTo>
                    <a:lnTo>
                      <a:pt x="54" y="1134"/>
                    </a:lnTo>
                    <a:lnTo>
                      <a:pt x="60" y="1134"/>
                    </a:lnTo>
                    <a:lnTo>
                      <a:pt x="60" y="1128"/>
                    </a:lnTo>
                    <a:lnTo>
                      <a:pt x="66" y="1128"/>
                    </a:lnTo>
                    <a:lnTo>
                      <a:pt x="66" y="1122"/>
                    </a:lnTo>
                    <a:lnTo>
                      <a:pt x="72" y="1122"/>
                    </a:lnTo>
                    <a:lnTo>
                      <a:pt x="78" y="1122"/>
                    </a:lnTo>
                    <a:lnTo>
                      <a:pt x="78" y="1116"/>
                    </a:lnTo>
                    <a:lnTo>
                      <a:pt x="72" y="1116"/>
                    </a:lnTo>
                    <a:lnTo>
                      <a:pt x="72" y="1110"/>
                    </a:lnTo>
                    <a:lnTo>
                      <a:pt x="78" y="1104"/>
                    </a:lnTo>
                    <a:lnTo>
                      <a:pt x="84" y="1104"/>
                    </a:lnTo>
                    <a:lnTo>
                      <a:pt x="84" y="1098"/>
                    </a:lnTo>
                    <a:lnTo>
                      <a:pt x="90" y="1098"/>
                    </a:lnTo>
                    <a:lnTo>
                      <a:pt x="96" y="1104"/>
                    </a:lnTo>
                    <a:lnTo>
                      <a:pt x="102" y="1104"/>
                    </a:lnTo>
                    <a:lnTo>
                      <a:pt x="102" y="1098"/>
                    </a:lnTo>
                    <a:lnTo>
                      <a:pt x="102" y="1092"/>
                    </a:lnTo>
                    <a:lnTo>
                      <a:pt x="108" y="1092"/>
                    </a:lnTo>
                    <a:lnTo>
                      <a:pt x="108" y="1086"/>
                    </a:lnTo>
                    <a:lnTo>
                      <a:pt x="114" y="1086"/>
                    </a:lnTo>
                    <a:lnTo>
                      <a:pt x="114" y="1080"/>
                    </a:lnTo>
                    <a:lnTo>
                      <a:pt x="114" y="1074"/>
                    </a:lnTo>
                    <a:lnTo>
                      <a:pt x="114" y="1068"/>
                    </a:lnTo>
                    <a:lnTo>
                      <a:pt x="108" y="1068"/>
                    </a:lnTo>
                    <a:lnTo>
                      <a:pt x="102" y="1068"/>
                    </a:lnTo>
                    <a:lnTo>
                      <a:pt x="102" y="1062"/>
                    </a:lnTo>
                    <a:lnTo>
                      <a:pt x="96" y="1062"/>
                    </a:lnTo>
                    <a:lnTo>
                      <a:pt x="96" y="1056"/>
                    </a:lnTo>
                    <a:lnTo>
                      <a:pt x="96" y="1050"/>
                    </a:lnTo>
                    <a:lnTo>
                      <a:pt x="90" y="1050"/>
                    </a:lnTo>
                    <a:lnTo>
                      <a:pt x="90" y="1044"/>
                    </a:lnTo>
                    <a:lnTo>
                      <a:pt x="96" y="1044"/>
                    </a:lnTo>
                    <a:lnTo>
                      <a:pt x="96" y="1038"/>
                    </a:lnTo>
                    <a:lnTo>
                      <a:pt x="108" y="1032"/>
                    </a:lnTo>
                    <a:lnTo>
                      <a:pt x="114" y="1032"/>
                    </a:lnTo>
                    <a:lnTo>
                      <a:pt x="114" y="1026"/>
                    </a:lnTo>
                    <a:lnTo>
                      <a:pt x="120" y="1026"/>
                    </a:lnTo>
                    <a:lnTo>
                      <a:pt x="126" y="1026"/>
                    </a:lnTo>
                    <a:lnTo>
                      <a:pt x="126" y="1020"/>
                    </a:lnTo>
                    <a:lnTo>
                      <a:pt x="132" y="1020"/>
                    </a:lnTo>
                    <a:lnTo>
                      <a:pt x="132" y="1014"/>
                    </a:lnTo>
                    <a:lnTo>
                      <a:pt x="126" y="1008"/>
                    </a:lnTo>
                    <a:lnTo>
                      <a:pt x="126" y="1002"/>
                    </a:lnTo>
                    <a:lnTo>
                      <a:pt x="120" y="996"/>
                    </a:lnTo>
                    <a:lnTo>
                      <a:pt x="120" y="990"/>
                    </a:lnTo>
                    <a:lnTo>
                      <a:pt x="126" y="978"/>
                    </a:lnTo>
                    <a:lnTo>
                      <a:pt x="126" y="966"/>
                    </a:lnTo>
                    <a:lnTo>
                      <a:pt x="126" y="960"/>
                    </a:lnTo>
                    <a:lnTo>
                      <a:pt x="126" y="954"/>
                    </a:lnTo>
                    <a:lnTo>
                      <a:pt x="126" y="948"/>
                    </a:lnTo>
                    <a:lnTo>
                      <a:pt x="132" y="948"/>
                    </a:lnTo>
                    <a:lnTo>
                      <a:pt x="132" y="942"/>
                    </a:lnTo>
                    <a:lnTo>
                      <a:pt x="132" y="936"/>
                    </a:lnTo>
                    <a:lnTo>
                      <a:pt x="138" y="930"/>
                    </a:lnTo>
                    <a:lnTo>
                      <a:pt x="144" y="930"/>
                    </a:lnTo>
                    <a:lnTo>
                      <a:pt x="150" y="924"/>
                    </a:lnTo>
                    <a:lnTo>
                      <a:pt x="156" y="924"/>
                    </a:lnTo>
                    <a:lnTo>
                      <a:pt x="162" y="924"/>
                    </a:lnTo>
                    <a:lnTo>
                      <a:pt x="168" y="924"/>
                    </a:lnTo>
                    <a:lnTo>
                      <a:pt x="174" y="918"/>
                    </a:lnTo>
                    <a:lnTo>
                      <a:pt x="174" y="912"/>
                    </a:lnTo>
                    <a:lnTo>
                      <a:pt x="168" y="906"/>
                    </a:lnTo>
                    <a:lnTo>
                      <a:pt x="174" y="906"/>
                    </a:lnTo>
                    <a:lnTo>
                      <a:pt x="180" y="906"/>
                    </a:lnTo>
                    <a:lnTo>
                      <a:pt x="180" y="900"/>
                    </a:lnTo>
                    <a:lnTo>
                      <a:pt x="174" y="900"/>
                    </a:lnTo>
                    <a:lnTo>
                      <a:pt x="174" y="894"/>
                    </a:lnTo>
                    <a:lnTo>
                      <a:pt x="174" y="888"/>
                    </a:lnTo>
                    <a:lnTo>
                      <a:pt x="174" y="882"/>
                    </a:lnTo>
                    <a:lnTo>
                      <a:pt x="174" y="876"/>
                    </a:lnTo>
                    <a:lnTo>
                      <a:pt x="180" y="870"/>
                    </a:lnTo>
                    <a:lnTo>
                      <a:pt x="186" y="870"/>
                    </a:lnTo>
                    <a:lnTo>
                      <a:pt x="186" y="864"/>
                    </a:lnTo>
                    <a:lnTo>
                      <a:pt x="192" y="864"/>
                    </a:lnTo>
                    <a:lnTo>
                      <a:pt x="198" y="858"/>
                    </a:lnTo>
                    <a:lnTo>
                      <a:pt x="204" y="858"/>
                    </a:lnTo>
                    <a:lnTo>
                      <a:pt x="210" y="858"/>
                    </a:lnTo>
                    <a:lnTo>
                      <a:pt x="216" y="846"/>
                    </a:lnTo>
                    <a:lnTo>
                      <a:pt x="216" y="840"/>
                    </a:lnTo>
                    <a:lnTo>
                      <a:pt x="216" y="834"/>
                    </a:lnTo>
                    <a:lnTo>
                      <a:pt x="222" y="834"/>
                    </a:lnTo>
                    <a:lnTo>
                      <a:pt x="222" y="828"/>
                    </a:lnTo>
                    <a:lnTo>
                      <a:pt x="222" y="822"/>
                    </a:lnTo>
                    <a:lnTo>
                      <a:pt x="216" y="822"/>
                    </a:lnTo>
                    <a:lnTo>
                      <a:pt x="216" y="816"/>
                    </a:lnTo>
                    <a:lnTo>
                      <a:pt x="216" y="810"/>
                    </a:lnTo>
                    <a:lnTo>
                      <a:pt x="216" y="804"/>
                    </a:lnTo>
                    <a:lnTo>
                      <a:pt x="210" y="798"/>
                    </a:lnTo>
                    <a:lnTo>
                      <a:pt x="210" y="792"/>
                    </a:lnTo>
                    <a:lnTo>
                      <a:pt x="204" y="786"/>
                    </a:lnTo>
                    <a:lnTo>
                      <a:pt x="204" y="774"/>
                    </a:lnTo>
                    <a:lnTo>
                      <a:pt x="198" y="768"/>
                    </a:lnTo>
                    <a:lnTo>
                      <a:pt x="198" y="762"/>
                    </a:lnTo>
                    <a:lnTo>
                      <a:pt x="192" y="762"/>
                    </a:lnTo>
                    <a:lnTo>
                      <a:pt x="192" y="756"/>
                    </a:lnTo>
                    <a:lnTo>
                      <a:pt x="192" y="750"/>
                    </a:lnTo>
                    <a:lnTo>
                      <a:pt x="192" y="744"/>
                    </a:lnTo>
                    <a:lnTo>
                      <a:pt x="192" y="738"/>
                    </a:lnTo>
                    <a:lnTo>
                      <a:pt x="186" y="738"/>
                    </a:lnTo>
                    <a:lnTo>
                      <a:pt x="180" y="738"/>
                    </a:lnTo>
                    <a:lnTo>
                      <a:pt x="180" y="732"/>
                    </a:lnTo>
                    <a:lnTo>
                      <a:pt x="180" y="738"/>
                    </a:lnTo>
                    <a:lnTo>
                      <a:pt x="174" y="732"/>
                    </a:lnTo>
                    <a:lnTo>
                      <a:pt x="174" y="738"/>
                    </a:lnTo>
                    <a:lnTo>
                      <a:pt x="168" y="738"/>
                    </a:lnTo>
                    <a:lnTo>
                      <a:pt x="162" y="732"/>
                    </a:lnTo>
                    <a:lnTo>
                      <a:pt x="156" y="726"/>
                    </a:lnTo>
                    <a:lnTo>
                      <a:pt x="156" y="720"/>
                    </a:lnTo>
                    <a:lnTo>
                      <a:pt x="150" y="714"/>
                    </a:lnTo>
                    <a:lnTo>
                      <a:pt x="144" y="714"/>
                    </a:lnTo>
                    <a:lnTo>
                      <a:pt x="138" y="708"/>
                    </a:lnTo>
                    <a:lnTo>
                      <a:pt x="132" y="702"/>
                    </a:lnTo>
                    <a:lnTo>
                      <a:pt x="126" y="702"/>
                    </a:lnTo>
                    <a:lnTo>
                      <a:pt x="120" y="702"/>
                    </a:lnTo>
                    <a:lnTo>
                      <a:pt x="120" y="696"/>
                    </a:lnTo>
                    <a:lnTo>
                      <a:pt x="114" y="696"/>
                    </a:lnTo>
                    <a:lnTo>
                      <a:pt x="114" y="690"/>
                    </a:lnTo>
                    <a:lnTo>
                      <a:pt x="114" y="684"/>
                    </a:lnTo>
                    <a:lnTo>
                      <a:pt x="102" y="672"/>
                    </a:lnTo>
                    <a:lnTo>
                      <a:pt x="96" y="672"/>
                    </a:lnTo>
                    <a:lnTo>
                      <a:pt x="90" y="678"/>
                    </a:lnTo>
                    <a:lnTo>
                      <a:pt x="90" y="672"/>
                    </a:lnTo>
                    <a:lnTo>
                      <a:pt x="84" y="666"/>
                    </a:lnTo>
                    <a:lnTo>
                      <a:pt x="78" y="660"/>
                    </a:lnTo>
                    <a:lnTo>
                      <a:pt x="78" y="654"/>
                    </a:lnTo>
                    <a:lnTo>
                      <a:pt x="78" y="648"/>
                    </a:lnTo>
                    <a:lnTo>
                      <a:pt x="72" y="648"/>
                    </a:lnTo>
                    <a:lnTo>
                      <a:pt x="72" y="636"/>
                    </a:lnTo>
                    <a:lnTo>
                      <a:pt x="66" y="636"/>
                    </a:lnTo>
                    <a:lnTo>
                      <a:pt x="60" y="630"/>
                    </a:lnTo>
                    <a:lnTo>
                      <a:pt x="54" y="624"/>
                    </a:lnTo>
                    <a:lnTo>
                      <a:pt x="54" y="618"/>
                    </a:lnTo>
                    <a:lnTo>
                      <a:pt x="60" y="612"/>
                    </a:lnTo>
                    <a:lnTo>
                      <a:pt x="60" y="606"/>
                    </a:lnTo>
                    <a:lnTo>
                      <a:pt x="60" y="600"/>
                    </a:lnTo>
                    <a:lnTo>
                      <a:pt x="60" y="594"/>
                    </a:lnTo>
                    <a:lnTo>
                      <a:pt x="66" y="594"/>
                    </a:lnTo>
                    <a:lnTo>
                      <a:pt x="72" y="588"/>
                    </a:lnTo>
                    <a:lnTo>
                      <a:pt x="72" y="582"/>
                    </a:lnTo>
                    <a:lnTo>
                      <a:pt x="72" y="576"/>
                    </a:lnTo>
                    <a:lnTo>
                      <a:pt x="72" y="570"/>
                    </a:lnTo>
                    <a:lnTo>
                      <a:pt x="78" y="570"/>
                    </a:lnTo>
                    <a:lnTo>
                      <a:pt x="84" y="564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96" y="558"/>
                    </a:lnTo>
                    <a:lnTo>
                      <a:pt x="102" y="558"/>
                    </a:lnTo>
                    <a:lnTo>
                      <a:pt x="102" y="552"/>
                    </a:lnTo>
                    <a:lnTo>
                      <a:pt x="108" y="552"/>
                    </a:lnTo>
                    <a:lnTo>
                      <a:pt x="114" y="552"/>
                    </a:lnTo>
                    <a:lnTo>
                      <a:pt x="120" y="552"/>
                    </a:lnTo>
                    <a:lnTo>
                      <a:pt x="126" y="552"/>
                    </a:lnTo>
                    <a:lnTo>
                      <a:pt x="132" y="552"/>
                    </a:lnTo>
                    <a:lnTo>
                      <a:pt x="138" y="552"/>
                    </a:lnTo>
                    <a:lnTo>
                      <a:pt x="144" y="546"/>
                    </a:lnTo>
                    <a:lnTo>
                      <a:pt x="150" y="552"/>
                    </a:lnTo>
                    <a:lnTo>
                      <a:pt x="156" y="546"/>
                    </a:lnTo>
                    <a:lnTo>
                      <a:pt x="156" y="540"/>
                    </a:lnTo>
                    <a:lnTo>
                      <a:pt x="156" y="534"/>
                    </a:lnTo>
                    <a:lnTo>
                      <a:pt x="156" y="528"/>
                    </a:lnTo>
                    <a:lnTo>
                      <a:pt x="156" y="522"/>
                    </a:lnTo>
                    <a:lnTo>
                      <a:pt x="162" y="522"/>
                    </a:lnTo>
                    <a:lnTo>
                      <a:pt x="162" y="516"/>
                    </a:lnTo>
                    <a:lnTo>
                      <a:pt x="168" y="516"/>
                    </a:lnTo>
                    <a:lnTo>
                      <a:pt x="174" y="516"/>
                    </a:lnTo>
                    <a:lnTo>
                      <a:pt x="180" y="516"/>
                    </a:lnTo>
                    <a:lnTo>
                      <a:pt x="186" y="516"/>
                    </a:lnTo>
                    <a:lnTo>
                      <a:pt x="186" y="510"/>
                    </a:lnTo>
                    <a:lnTo>
                      <a:pt x="192" y="510"/>
                    </a:lnTo>
                    <a:lnTo>
                      <a:pt x="192" y="504"/>
                    </a:lnTo>
                    <a:lnTo>
                      <a:pt x="198" y="504"/>
                    </a:lnTo>
                    <a:lnTo>
                      <a:pt x="198" y="498"/>
                    </a:lnTo>
                    <a:lnTo>
                      <a:pt x="204" y="498"/>
                    </a:lnTo>
                    <a:lnTo>
                      <a:pt x="204" y="492"/>
                    </a:lnTo>
                    <a:lnTo>
                      <a:pt x="210" y="492"/>
                    </a:lnTo>
                    <a:lnTo>
                      <a:pt x="216" y="492"/>
                    </a:lnTo>
                    <a:lnTo>
                      <a:pt x="222" y="492"/>
                    </a:lnTo>
                    <a:lnTo>
                      <a:pt x="222" y="486"/>
                    </a:lnTo>
                    <a:lnTo>
                      <a:pt x="228" y="486"/>
                    </a:lnTo>
                    <a:lnTo>
                      <a:pt x="228" y="480"/>
                    </a:lnTo>
                    <a:lnTo>
                      <a:pt x="228" y="474"/>
                    </a:lnTo>
                    <a:lnTo>
                      <a:pt x="234" y="474"/>
                    </a:lnTo>
                    <a:lnTo>
                      <a:pt x="240" y="474"/>
                    </a:lnTo>
                    <a:lnTo>
                      <a:pt x="240" y="468"/>
                    </a:lnTo>
                    <a:lnTo>
                      <a:pt x="240" y="462"/>
                    </a:lnTo>
                    <a:lnTo>
                      <a:pt x="246" y="462"/>
                    </a:lnTo>
                    <a:lnTo>
                      <a:pt x="246" y="456"/>
                    </a:lnTo>
                    <a:lnTo>
                      <a:pt x="252" y="456"/>
                    </a:lnTo>
                    <a:lnTo>
                      <a:pt x="258" y="456"/>
                    </a:lnTo>
                    <a:lnTo>
                      <a:pt x="264" y="456"/>
                    </a:lnTo>
                    <a:lnTo>
                      <a:pt x="270" y="456"/>
                    </a:lnTo>
                    <a:lnTo>
                      <a:pt x="276" y="456"/>
                    </a:lnTo>
                    <a:lnTo>
                      <a:pt x="276" y="450"/>
                    </a:lnTo>
                    <a:lnTo>
                      <a:pt x="282" y="450"/>
                    </a:lnTo>
                    <a:lnTo>
                      <a:pt x="282" y="444"/>
                    </a:lnTo>
                    <a:lnTo>
                      <a:pt x="282" y="438"/>
                    </a:lnTo>
                    <a:lnTo>
                      <a:pt x="288" y="438"/>
                    </a:lnTo>
                    <a:lnTo>
                      <a:pt x="288" y="432"/>
                    </a:lnTo>
                    <a:lnTo>
                      <a:pt x="294" y="432"/>
                    </a:lnTo>
                    <a:lnTo>
                      <a:pt x="294" y="426"/>
                    </a:lnTo>
                    <a:lnTo>
                      <a:pt x="300" y="426"/>
                    </a:lnTo>
                    <a:lnTo>
                      <a:pt x="300" y="420"/>
                    </a:lnTo>
                    <a:lnTo>
                      <a:pt x="300" y="414"/>
                    </a:lnTo>
                    <a:lnTo>
                      <a:pt x="300" y="408"/>
                    </a:lnTo>
                    <a:lnTo>
                      <a:pt x="300" y="402"/>
                    </a:lnTo>
                    <a:lnTo>
                      <a:pt x="294" y="402"/>
                    </a:lnTo>
                    <a:lnTo>
                      <a:pt x="294" y="396"/>
                    </a:lnTo>
                    <a:lnTo>
                      <a:pt x="288" y="396"/>
                    </a:lnTo>
                    <a:lnTo>
                      <a:pt x="288" y="390"/>
                    </a:lnTo>
                    <a:lnTo>
                      <a:pt x="288" y="384"/>
                    </a:lnTo>
                    <a:lnTo>
                      <a:pt x="288" y="378"/>
                    </a:lnTo>
                    <a:lnTo>
                      <a:pt x="288" y="372"/>
                    </a:lnTo>
                    <a:lnTo>
                      <a:pt x="294" y="372"/>
                    </a:lnTo>
                    <a:lnTo>
                      <a:pt x="294" y="366"/>
                    </a:lnTo>
                    <a:lnTo>
                      <a:pt x="300" y="366"/>
                    </a:lnTo>
                    <a:lnTo>
                      <a:pt x="300" y="360"/>
                    </a:lnTo>
                    <a:lnTo>
                      <a:pt x="300" y="354"/>
                    </a:lnTo>
                    <a:lnTo>
                      <a:pt x="300" y="348"/>
                    </a:lnTo>
                    <a:lnTo>
                      <a:pt x="300" y="342"/>
                    </a:lnTo>
                    <a:lnTo>
                      <a:pt x="306" y="342"/>
                    </a:lnTo>
                    <a:lnTo>
                      <a:pt x="306" y="336"/>
                    </a:lnTo>
                    <a:lnTo>
                      <a:pt x="306" y="330"/>
                    </a:lnTo>
                    <a:lnTo>
                      <a:pt x="312" y="330"/>
                    </a:lnTo>
                    <a:lnTo>
                      <a:pt x="312" y="324"/>
                    </a:lnTo>
                    <a:lnTo>
                      <a:pt x="312" y="318"/>
                    </a:lnTo>
                    <a:lnTo>
                      <a:pt x="318" y="318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18" y="300"/>
                    </a:lnTo>
                    <a:lnTo>
                      <a:pt x="312" y="294"/>
                    </a:lnTo>
                    <a:lnTo>
                      <a:pt x="318" y="288"/>
                    </a:lnTo>
                    <a:lnTo>
                      <a:pt x="318" y="282"/>
                    </a:lnTo>
                    <a:lnTo>
                      <a:pt x="318" y="276"/>
                    </a:lnTo>
                    <a:lnTo>
                      <a:pt x="318" y="270"/>
                    </a:lnTo>
                    <a:lnTo>
                      <a:pt x="312" y="270"/>
                    </a:lnTo>
                    <a:lnTo>
                      <a:pt x="312" y="264"/>
                    </a:lnTo>
                    <a:lnTo>
                      <a:pt x="312" y="258"/>
                    </a:lnTo>
                    <a:lnTo>
                      <a:pt x="312" y="252"/>
                    </a:lnTo>
                    <a:lnTo>
                      <a:pt x="318" y="252"/>
                    </a:lnTo>
                    <a:lnTo>
                      <a:pt x="318" y="246"/>
                    </a:lnTo>
                    <a:lnTo>
                      <a:pt x="324" y="246"/>
                    </a:lnTo>
                    <a:lnTo>
                      <a:pt x="330" y="240"/>
                    </a:lnTo>
                    <a:lnTo>
                      <a:pt x="336" y="240"/>
                    </a:lnTo>
                    <a:lnTo>
                      <a:pt x="336" y="234"/>
                    </a:lnTo>
                    <a:lnTo>
                      <a:pt x="342" y="234"/>
                    </a:lnTo>
                    <a:lnTo>
                      <a:pt x="342" y="228"/>
                    </a:lnTo>
                    <a:lnTo>
                      <a:pt x="342" y="222"/>
                    </a:lnTo>
                    <a:lnTo>
                      <a:pt x="336" y="222"/>
                    </a:lnTo>
                    <a:lnTo>
                      <a:pt x="336" y="216"/>
                    </a:lnTo>
                    <a:lnTo>
                      <a:pt x="330" y="216"/>
                    </a:lnTo>
                    <a:lnTo>
                      <a:pt x="330" y="210"/>
                    </a:lnTo>
                    <a:lnTo>
                      <a:pt x="324" y="210"/>
                    </a:lnTo>
                    <a:lnTo>
                      <a:pt x="324" y="204"/>
                    </a:lnTo>
                    <a:lnTo>
                      <a:pt x="324" y="198"/>
                    </a:lnTo>
                    <a:lnTo>
                      <a:pt x="324" y="192"/>
                    </a:lnTo>
                    <a:lnTo>
                      <a:pt x="330" y="192"/>
                    </a:lnTo>
                    <a:lnTo>
                      <a:pt x="330" y="186"/>
                    </a:lnTo>
                    <a:lnTo>
                      <a:pt x="336" y="186"/>
                    </a:lnTo>
                    <a:lnTo>
                      <a:pt x="342" y="186"/>
                    </a:lnTo>
                    <a:lnTo>
                      <a:pt x="342" y="192"/>
                    </a:lnTo>
                    <a:lnTo>
                      <a:pt x="348" y="192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0" y="180"/>
                    </a:lnTo>
                    <a:lnTo>
                      <a:pt x="360" y="174"/>
                    </a:lnTo>
                    <a:lnTo>
                      <a:pt x="360" y="168"/>
                    </a:lnTo>
                    <a:lnTo>
                      <a:pt x="366" y="168"/>
                    </a:lnTo>
                    <a:lnTo>
                      <a:pt x="366" y="162"/>
                    </a:lnTo>
                    <a:lnTo>
                      <a:pt x="372" y="162"/>
                    </a:lnTo>
                    <a:lnTo>
                      <a:pt x="378" y="162"/>
                    </a:lnTo>
                    <a:lnTo>
                      <a:pt x="384" y="162"/>
                    </a:lnTo>
                    <a:lnTo>
                      <a:pt x="384" y="156"/>
                    </a:lnTo>
                    <a:lnTo>
                      <a:pt x="390" y="156"/>
                    </a:lnTo>
                    <a:lnTo>
                      <a:pt x="390" y="162"/>
                    </a:lnTo>
                    <a:lnTo>
                      <a:pt x="396" y="162"/>
                    </a:lnTo>
                    <a:lnTo>
                      <a:pt x="402" y="162"/>
                    </a:lnTo>
                    <a:lnTo>
                      <a:pt x="408" y="162"/>
                    </a:lnTo>
                    <a:lnTo>
                      <a:pt x="408" y="168"/>
                    </a:lnTo>
                    <a:lnTo>
                      <a:pt x="414" y="168"/>
                    </a:lnTo>
                    <a:lnTo>
                      <a:pt x="420" y="162"/>
                    </a:lnTo>
                    <a:lnTo>
                      <a:pt x="426" y="162"/>
                    </a:lnTo>
                    <a:lnTo>
                      <a:pt x="432" y="162"/>
                    </a:lnTo>
                    <a:lnTo>
                      <a:pt x="438" y="162"/>
                    </a:lnTo>
                    <a:lnTo>
                      <a:pt x="444" y="162"/>
                    </a:lnTo>
                    <a:lnTo>
                      <a:pt x="444" y="168"/>
                    </a:lnTo>
                    <a:lnTo>
                      <a:pt x="450" y="168"/>
                    </a:lnTo>
                    <a:lnTo>
                      <a:pt x="456" y="168"/>
                    </a:lnTo>
                    <a:lnTo>
                      <a:pt x="456" y="162"/>
                    </a:lnTo>
                    <a:lnTo>
                      <a:pt x="462" y="162"/>
                    </a:lnTo>
                    <a:lnTo>
                      <a:pt x="462" y="156"/>
                    </a:lnTo>
                    <a:lnTo>
                      <a:pt x="468" y="156"/>
                    </a:lnTo>
                    <a:lnTo>
                      <a:pt x="474" y="156"/>
                    </a:lnTo>
                    <a:lnTo>
                      <a:pt x="480" y="156"/>
                    </a:lnTo>
                    <a:lnTo>
                      <a:pt x="480" y="150"/>
                    </a:lnTo>
                    <a:lnTo>
                      <a:pt x="486" y="150"/>
                    </a:lnTo>
                    <a:lnTo>
                      <a:pt x="486" y="144"/>
                    </a:lnTo>
                    <a:lnTo>
                      <a:pt x="492" y="144"/>
                    </a:lnTo>
                    <a:lnTo>
                      <a:pt x="498" y="144"/>
                    </a:lnTo>
                    <a:lnTo>
                      <a:pt x="504" y="144"/>
                    </a:lnTo>
                    <a:lnTo>
                      <a:pt x="504" y="138"/>
                    </a:lnTo>
                    <a:lnTo>
                      <a:pt x="510" y="138"/>
                    </a:lnTo>
                    <a:lnTo>
                      <a:pt x="516" y="138"/>
                    </a:lnTo>
                    <a:lnTo>
                      <a:pt x="522" y="138"/>
                    </a:lnTo>
                    <a:lnTo>
                      <a:pt x="522" y="132"/>
                    </a:lnTo>
                    <a:lnTo>
                      <a:pt x="528" y="132"/>
                    </a:lnTo>
                    <a:lnTo>
                      <a:pt x="534" y="132"/>
                    </a:lnTo>
                    <a:lnTo>
                      <a:pt x="540" y="132"/>
                    </a:lnTo>
                    <a:lnTo>
                      <a:pt x="540" y="138"/>
                    </a:lnTo>
                    <a:lnTo>
                      <a:pt x="540" y="144"/>
                    </a:lnTo>
                    <a:lnTo>
                      <a:pt x="546" y="144"/>
                    </a:lnTo>
                    <a:lnTo>
                      <a:pt x="552" y="144"/>
                    </a:lnTo>
                    <a:lnTo>
                      <a:pt x="558" y="144"/>
                    </a:lnTo>
                    <a:lnTo>
                      <a:pt x="564" y="144"/>
                    </a:lnTo>
                    <a:lnTo>
                      <a:pt x="570" y="144"/>
                    </a:lnTo>
                    <a:lnTo>
                      <a:pt x="570" y="150"/>
                    </a:lnTo>
                    <a:lnTo>
                      <a:pt x="576" y="150"/>
                    </a:lnTo>
                    <a:lnTo>
                      <a:pt x="582" y="150"/>
                    </a:lnTo>
                    <a:lnTo>
                      <a:pt x="588" y="150"/>
                    </a:lnTo>
                    <a:lnTo>
                      <a:pt x="594" y="150"/>
                    </a:lnTo>
                    <a:lnTo>
                      <a:pt x="594" y="144"/>
                    </a:lnTo>
                    <a:lnTo>
                      <a:pt x="600" y="144"/>
                    </a:lnTo>
                    <a:lnTo>
                      <a:pt x="600" y="138"/>
                    </a:lnTo>
                    <a:lnTo>
                      <a:pt x="606" y="138"/>
                    </a:lnTo>
                    <a:lnTo>
                      <a:pt x="612" y="138"/>
                    </a:lnTo>
                    <a:lnTo>
                      <a:pt x="618" y="138"/>
                    </a:lnTo>
                    <a:lnTo>
                      <a:pt x="624" y="138"/>
                    </a:lnTo>
                    <a:lnTo>
                      <a:pt x="624" y="144"/>
                    </a:lnTo>
                    <a:lnTo>
                      <a:pt x="630" y="144"/>
                    </a:lnTo>
                    <a:lnTo>
                      <a:pt x="636" y="144"/>
                    </a:lnTo>
                    <a:lnTo>
                      <a:pt x="636" y="150"/>
                    </a:lnTo>
                    <a:lnTo>
                      <a:pt x="642" y="150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50"/>
                    </a:lnTo>
                    <a:lnTo>
                      <a:pt x="648" y="156"/>
                    </a:lnTo>
                    <a:lnTo>
                      <a:pt x="654" y="156"/>
                    </a:lnTo>
                    <a:lnTo>
                      <a:pt x="654" y="162"/>
                    </a:lnTo>
                    <a:lnTo>
                      <a:pt x="660" y="162"/>
                    </a:lnTo>
                    <a:lnTo>
                      <a:pt x="666" y="162"/>
                    </a:lnTo>
                    <a:lnTo>
                      <a:pt x="666" y="156"/>
                    </a:lnTo>
                    <a:lnTo>
                      <a:pt x="672" y="156"/>
                    </a:lnTo>
                    <a:lnTo>
                      <a:pt x="678" y="150"/>
                    </a:lnTo>
                    <a:lnTo>
                      <a:pt x="684" y="150"/>
                    </a:lnTo>
                    <a:lnTo>
                      <a:pt x="690" y="150"/>
                    </a:lnTo>
                    <a:lnTo>
                      <a:pt x="690" y="156"/>
                    </a:lnTo>
                    <a:lnTo>
                      <a:pt x="690" y="162"/>
                    </a:lnTo>
                    <a:lnTo>
                      <a:pt x="690" y="168"/>
                    </a:lnTo>
                    <a:lnTo>
                      <a:pt x="696" y="168"/>
                    </a:lnTo>
                    <a:lnTo>
                      <a:pt x="702" y="168"/>
                    </a:lnTo>
                    <a:lnTo>
                      <a:pt x="708" y="168"/>
                    </a:lnTo>
                    <a:lnTo>
                      <a:pt x="714" y="168"/>
                    </a:lnTo>
                    <a:lnTo>
                      <a:pt x="720" y="168"/>
                    </a:lnTo>
                    <a:lnTo>
                      <a:pt x="726" y="168"/>
                    </a:lnTo>
                    <a:lnTo>
                      <a:pt x="726" y="162"/>
                    </a:lnTo>
                    <a:lnTo>
                      <a:pt x="732" y="162"/>
                    </a:lnTo>
                    <a:lnTo>
                      <a:pt x="732" y="168"/>
                    </a:lnTo>
                    <a:lnTo>
                      <a:pt x="738" y="168"/>
                    </a:lnTo>
                    <a:lnTo>
                      <a:pt x="744" y="168"/>
                    </a:lnTo>
                    <a:lnTo>
                      <a:pt x="750" y="168"/>
                    </a:lnTo>
                    <a:lnTo>
                      <a:pt x="756" y="174"/>
                    </a:lnTo>
                    <a:lnTo>
                      <a:pt x="756" y="180"/>
                    </a:lnTo>
                    <a:lnTo>
                      <a:pt x="762" y="180"/>
                    </a:lnTo>
                    <a:lnTo>
                      <a:pt x="768" y="174"/>
                    </a:lnTo>
                    <a:lnTo>
                      <a:pt x="774" y="168"/>
                    </a:lnTo>
                    <a:lnTo>
                      <a:pt x="774" y="162"/>
                    </a:lnTo>
                    <a:lnTo>
                      <a:pt x="780" y="156"/>
                    </a:lnTo>
                    <a:lnTo>
                      <a:pt x="786" y="150"/>
                    </a:lnTo>
                    <a:lnTo>
                      <a:pt x="792" y="144"/>
                    </a:lnTo>
                    <a:lnTo>
                      <a:pt x="798" y="138"/>
                    </a:lnTo>
                    <a:lnTo>
                      <a:pt x="804" y="138"/>
                    </a:lnTo>
                    <a:lnTo>
                      <a:pt x="810" y="138"/>
                    </a:lnTo>
                    <a:lnTo>
                      <a:pt x="810" y="144"/>
                    </a:lnTo>
                    <a:lnTo>
                      <a:pt x="816" y="144"/>
                    </a:lnTo>
                    <a:lnTo>
                      <a:pt x="822" y="150"/>
                    </a:lnTo>
                    <a:lnTo>
                      <a:pt x="828" y="150"/>
                    </a:lnTo>
                    <a:lnTo>
                      <a:pt x="846" y="156"/>
                    </a:lnTo>
                    <a:lnTo>
                      <a:pt x="852" y="162"/>
                    </a:lnTo>
                    <a:lnTo>
                      <a:pt x="858" y="162"/>
                    </a:lnTo>
                    <a:lnTo>
                      <a:pt x="864" y="162"/>
                    </a:lnTo>
                    <a:lnTo>
                      <a:pt x="870" y="168"/>
                    </a:lnTo>
                    <a:lnTo>
                      <a:pt x="882" y="168"/>
                    </a:lnTo>
                    <a:lnTo>
                      <a:pt x="894" y="168"/>
                    </a:lnTo>
                    <a:lnTo>
                      <a:pt x="900" y="168"/>
                    </a:lnTo>
                    <a:lnTo>
                      <a:pt x="906" y="168"/>
                    </a:lnTo>
                    <a:lnTo>
                      <a:pt x="912" y="168"/>
                    </a:lnTo>
                    <a:lnTo>
                      <a:pt x="918" y="168"/>
                    </a:lnTo>
                    <a:lnTo>
                      <a:pt x="924" y="168"/>
                    </a:lnTo>
                    <a:lnTo>
                      <a:pt x="942" y="168"/>
                    </a:lnTo>
                    <a:lnTo>
                      <a:pt x="948" y="168"/>
                    </a:lnTo>
                    <a:lnTo>
                      <a:pt x="960" y="168"/>
                    </a:lnTo>
                    <a:lnTo>
                      <a:pt x="984" y="174"/>
                    </a:lnTo>
                    <a:lnTo>
                      <a:pt x="1002" y="174"/>
                    </a:lnTo>
                    <a:lnTo>
                      <a:pt x="1002" y="168"/>
                    </a:lnTo>
                    <a:lnTo>
                      <a:pt x="1008" y="162"/>
                    </a:lnTo>
                    <a:lnTo>
                      <a:pt x="1008" y="156"/>
                    </a:lnTo>
                    <a:lnTo>
                      <a:pt x="1008" y="138"/>
                    </a:lnTo>
                    <a:lnTo>
                      <a:pt x="1008" y="126"/>
                    </a:lnTo>
                    <a:lnTo>
                      <a:pt x="1008" y="120"/>
                    </a:lnTo>
                    <a:lnTo>
                      <a:pt x="1008" y="114"/>
                    </a:lnTo>
                    <a:lnTo>
                      <a:pt x="1008" y="102"/>
                    </a:lnTo>
                    <a:lnTo>
                      <a:pt x="1014" y="90"/>
                    </a:lnTo>
                    <a:lnTo>
                      <a:pt x="1014" y="84"/>
                    </a:lnTo>
                    <a:lnTo>
                      <a:pt x="1014" y="72"/>
                    </a:lnTo>
                    <a:lnTo>
                      <a:pt x="1014" y="60"/>
                    </a:lnTo>
                    <a:lnTo>
                      <a:pt x="1014" y="54"/>
                    </a:lnTo>
                    <a:lnTo>
                      <a:pt x="1020" y="42"/>
                    </a:lnTo>
                    <a:lnTo>
                      <a:pt x="1020" y="36"/>
                    </a:lnTo>
                    <a:lnTo>
                      <a:pt x="1020" y="30"/>
                    </a:lnTo>
                    <a:lnTo>
                      <a:pt x="1020" y="18"/>
                    </a:lnTo>
                    <a:lnTo>
                      <a:pt x="1026" y="12"/>
                    </a:lnTo>
                    <a:lnTo>
                      <a:pt x="1026" y="6"/>
                    </a:lnTo>
                    <a:lnTo>
                      <a:pt x="1026" y="0"/>
                    </a:lnTo>
                    <a:lnTo>
                      <a:pt x="1032" y="0"/>
                    </a:lnTo>
                    <a:lnTo>
                      <a:pt x="1038" y="6"/>
                    </a:lnTo>
                    <a:lnTo>
                      <a:pt x="1044" y="6"/>
                    </a:lnTo>
                    <a:lnTo>
                      <a:pt x="1050" y="0"/>
                    </a:lnTo>
                    <a:lnTo>
                      <a:pt x="1056" y="6"/>
                    </a:lnTo>
                    <a:close/>
                    <a:moveTo>
                      <a:pt x="210" y="1038"/>
                    </a:moveTo>
                    <a:lnTo>
                      <a:pt x="204" y="1044"/>
                    </a:lnTo>
                    <a:lnTo>
                      <a:pt x="198" y="1044"/>
                    </a:lnTo>
                    <a:lnTo>
                      <a:pt x="198" y="1050"/>
                    </a:lnTo>
                    <a:lnTo>
                      <a:pt x="204" y="1050"/>
                    </a:lnTo>
                    <a:lnTo>
                      <a:pt x="204" y="1056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6" y="1062"/>
                    </a:lnTo>
                    <a:lnTo>
                      <a:pt x="216" y="1068"/>
                    </a:lnTo>
                    <a:lnTo>
                      <a:pt x="210" y="1068"/>
                    </a:lnTo>
                    <a:lnTo>
                      <a:pt x="204" y="1068"/>
                    </a:lnTo>
                    <a:lnTo>
                      <a:pt x="204" y="1074"/>
                    </a:lnTo>
                    <a:lnTo>
                      <a:pt x="204" y="1080"/>
                    </a:lnTo>
                    <a:lnTo>
                      <a:pt x="198" y="1080"/>
                    </a:lnTo>
                    <a:lnTo>
                      <a:pt x="198" y="1086"/>
                    </a:lnTo>
                    <a:lnTo>
                      <a:pt x="198" y="1092"/>
                    </a:lnTo>
                    <a:lnTo>
                      <a:pt x="198" y="1098"/>
                    </a:lnTo>
                    <a:lnTo>
                      <a:pt x="192" y="1098"/>
                    </a:lnTo>
                    <a:lnTo>
                      <a:pt x="192" y="1104"/>
                    </a:lnTo>
                    <a:lnTo>
                      <a:pt x="186" y="1104"/>
                    </a:lnTo>
                    <a:lnTo>
                      <a:pt x="192" y="1104"/>
                    </a:lnTo>
                    <a:lnTo>
                      <a:pt x="198" y="1110"/>
                    </a:lnTo>
                    <a:lnTo>
                      <a:pt x="204" y="1116"/>
                    </a:lnTo>
                    <a:lnTo>
                      <a:pt x="210" y="1116"/>
                    </a:lnTo>
                    <a:lnTo>
                      <a:pt x="216" y="1116"/>
                    </a:lnTo>
                    <a:lnTo>
                      <a:pt x="216" y="1122"/>
                    </a:lnTo>
                    <a:lnTo>
                      <a:pt x="222" y="1122"/>
                    </a:lnTo>
                    <a:lnTo>
                      <a:pt x="228" y="1128"/>
                    </a:lnTo>
                    <a:lnTo>
                      <a:pt x="228" y="1134"/>
                    </a:lnTo>
                    <a:lnTo>
                      <a:pt x="228" y="1140"/>
                    </a:lnTo>
                    <a:lnTo>
                      <a:pt x="222" y="1140"/>
                    </a:lnTo>
                    <a:lnTo>
                      <a:pt x="222" y="1146"/>
                    </a:lnTo>
                    <a:lnTo>
                      <a:pt x="222" y="1152"/>
                    </a:lnTo>
                    <a:lnTo>
                      <a:pt x="222" y="1158"/>
                    </a:lnTo>
                    <a:lnTo>
                      <a:pt x="222" y="1164"/>
                    </a:lnTo>
                    <a:lnTo>
                      <a:pt x="216" y="1164"/>
                    </a:lnTo>
                    <a:lnTo>
                      <a:pt x="222" y="1170"/>
                    </a:lnTo>
                    <a:lnTo>
                      <a:pt x="228" y="1170"/>
                    </a:lnTo>
                    <a:lnTo>
                      <a:pt x="228" y="1176"/>
                    </a:lnTo>
                    <a:lnTo>
                      <a:pt x="234" y="1176"/>
                    </a:lnTo>
                    <a:lnTo>
                      <a:pt x="234" y="1182"/>
                    </a:lnTo>
                    <a:lnTo>
                      <a:pt x="240" y="1188"/>
                    </a:lnTo>
                    <a:lnTo>
                      <a:pt x="240" y="1194"/>
                    </a:lnTo>
                    <a:lnTo>
                      <a:pt x="246" y="1200"/>
                    </a:lnTo>
                    <a:lnTo>
                      <a:pt x="246" y="1206"/>
                    </a:lnTo>
                    <a:lnTo>
                      <a:pt x="246" y="1212"/>
                    </a:lnTo>
                    <a:lnTo>
                      <a:pt x="246" y="1218"/>
                    </a:lnTo>
                    <a:lnTo>
                      <a:pt x="252" y="1218"/>
                    </a:lnTo>
                    <a:lnTo>
                      <a:pt x="252" y="1224"/>
                    </a:lnTo>
                    <a:lnTo>
                      <a:pt x="252" y="1230"/>
                    </a:lnTo>
                    <a:lnTo>
                      <a:pt x="246" y="1230"/>
                    </a:lnTo>
                    <a:lnTo>
                      <a:pt x="246" y="1236"/>
                    </a:lnTo>
                    <a:lnTo>
                      <a:pt x="246" y="1242"/>
                    </a:lnTo>
                    <a:lnTo>
                      <a:pt x="252" y="1242"/>
                    </a:lnTo>
                    <a:lnTo>
                      <a:pt x="258" y="1242"/>
                    </a:lnTo>
                    <a:lnTo>
                      <a:pt x="258" y="1236"/>
                    </a:lnTo>
                    <a:lnTo>
                      <a:pt x="264" y="1230"/>
                    </a:lnTo>
                    <a:lnTo>
                      <a:pt x="270" y="1230"/>
                    </a:lnTo>
                    <a:lnTo>
                      <a:pt x="276" y="1230"/>
                    </a:lnTo>
                    <a:lnTo>
                      <a:pt x="282" y="1230"/>
                    </a:lnTo>
                    <a:lnTo>
                      <a:pt x="288" y="1230"/>
                    </a:lnTo>
                    <a:lnTo>
                      <a:pt x="294" y="1230"/>
                    </a:lnTo>
                    <a:lnTo>
                      <a:pt x="300" y="1230"/>
                    </a:lnTo>
                    <a:lnTo>
                      <a:pt x="306" y="1236"/>
                    </a:lnTo>
                    <a:lnTo>
                      <a:pt x="306" y="1242"/>
                    </a:lnTo>
                    <a:lnTo>
                      <a:pt x="312" y="1242"/>
                    </a:lnTo>
                    <a:lnTo>
                      <a:pt x="318" y="1242"/>
                    </a:lnTo>
                    <a:lnTo>
                      <a:pt x="324" y="1248"/>
                    </a:lnTo>
                    <a:lnTo>
                      <a:pt x="330" y="1248"/>
                    </a:lnTo>
                    <a:lnTo>
                      <a:pt x="336" y="1248"/>
                    </a:lnTo>
                    <a:lnTo>
                      <a:pt x="342" y="1248"/>
                    </a:lnTo>
                    <a:lnTo>
                      <a:pt x="342" y="1254"/>
                    </a:lnTo>
                    <a:lnTo>
                      <a:pt x="348" y="1260"/>
                    </a:lnTo>
                    <a:lnTo>
                      <a:pt x="348" y="1254"/>
                    </a:lnTo>
                    <a:lnTo>
                      <a:pt x="348" y="1248"/>
                    </a:lnTo>
                    <a:lnTo>
                      <a:pt x="354" y="1248"/>
                    </a:lnTo>
                    <a:lnTo>
                      <a:pt x="360" y="1242"/>
                    </a:lnTo>
                    <a:lnTo>
                      <a:pt x="360" y="1236"/>
                    </a:lnTo>
                    <a:lnTo>
                      <a:pt x="366" y="1230"/>
                    </a:lnTo>
                    <a:lnTo>
                      <a:pt x="366" y="1224"/>
                    </a:lnTo>
                    <a:lnTo>
                      <a:pt x="372" y="1224"/>
                    </a:lnTo>
                    <a:lnTo>
                      <a:pt x="372" y="1218"/>
                    </a:lnTo>
                    <a:lnTo>
                      <a:pt x="378" y="1218"/>
                    </a:lnTo>
                    <a:lnTo>
                      <a:pt x="378" y="1212"/>
                    </a:lnTo>
                    <a:lnTo>
                      <a:pt x="378" y="1206"/>
                    </a:lnTo>
                    <a:lnTo>
                      <a:pt x="384" y="1212"/>
                    </a:lnTo>
                    <a:lnTo>
                      <a:pt x="390" y="1212"/>
                    </a:lnTo>
                    <a:lnTo>
                      <a:pt x="390" y="1206"/>
                    </a:lnTo>
                    <a:lnTo>
                      <a:pt x="396" y="1206"/>
                    </a:lnTo>
                    <a:lnTo>
                      <a:pt x="396" y="1200"/>
                    </a:lnTo>
                    <a:lnTo>
                      <a:pt x="402" y="1194"/>
                    </a:lnTo>
                    <a:lnTo>
                      <a:pt x="402" y="1188"/>
                    </a:lnTo>
                    <a:lnTo>
                      <a:pt x="396" y="1188"/>
                    </a:lnTo>
                    <a:lnTo>
                      <a:pt x="390" y="1188"/>
                    </a:lnTo>
                    <a:lnTo>
                      <a:pt x="390" y="1182"/>
                    </a:lnTo>
                    <a:lnTo>
                      <a:pt x="384" y="1182"/>
                    </a:lnTo>
                    <a:lnTo>
                      <a:pt x="378" y="1182"/>
                    </a:lnTo>
                    <a:lnTo>
                      <a:pt x="378" y="1176"/>
                    </a:lnTo>
                    <a:lnTo>
                      <a:pt x="372" y="1176"/>
                    </a:lnTo>
                    <a:lnTo>
                      <a:pt x="372" y="1170"/>
                    </a:lnTo>
                    <a:lnTo>
                      <a:pt x="378" y="1170"/>
                    </a:lnTo>
                    <a:lnTo>
                      <a:pt x="384" y="1170"/>
                    </a:lnTo>
                    <a:lnTo>
                      <a:pt x="384" y="1164"/>
                    </a:lnTo>
                    <a:lnTo>
                      <a:pt x="378" y="1164"/>
                    </a:lnTo>
                    <a:lnTo>
                      <a:pt x="378" y="1170"/>
                    </a:lnTo>
                    <a:lnTo>
                      <a:pt x="372" y="1170"/>
                    </a:lnTo>
                    <a:lnTo>
                      <a:pt x="366" y="1170"/>
                    </a:lnTo>
                    <a:lnTo>
                      <a:pt x="360" y="1170"/>
                    </a:lnTo>
                    <a:lnTo>
                      <a:pt x="360" y="1164"/>
                    </a:lnTo>
                    <a:lnTo>
                      <a:pt x="366" y="1164"/>
                    </a:lnTo>
                    <a:lnTo>
                      <a:pt x="366" y="1158"/>
                    </a:lnTo>
                    <a:lnTo>
                      <a:pt x="360" y="1158"/>
                    </a:lnTo>
                    <a:lnTo>
                      <a:pt x="360" y="1152"/>
                    </a:lnTo>
                    <a:lnTo>
                      <a:pt x="354" y="1152"/>
                    </a:lnTo>
                    <a:lnTo>
                      <a:pt x="348" y="1152"/>
                    </a:lnTo>
                    <a:lnTo>
                      <a:pt x="348" y="1146"/>
                    </a:lnTo>
                    <a:lnTo>
                      <a:pt x="348" y="1140"/>
                    </a:lnTo>
                    <a:lnTo>
                      <a:pt x="354" y="1140"/>
                    </a:lnTo>
                    <a:lnTo>
                      <a:pt x="354" y="1134"/>
                    </a:lnTo>
                    <a:lnTo>
                      <a:pt x="354" y="1128"/>
                    </a:lnTo>
                    <a:lnTo>
                      <a:pt x="348" y="1128"/>
                    </a:lnTo>
                    <a:lnTo>
                      <a:pt x="342" y="1128"/>
                    </a:lnTo>
                    <a:lnTo>
                      <a:pt x="342" y="1122"/>
                    </a:lnTo>
                    <a:lnTo>
                      <a:pt x="342" y="1116"/>
                    </a:lnTo>
                    <a:lnTo>
                      <a:pt x="336" y="1116"/>
                    </a:lnTo>
                    <a:lnTo>
                      <a:pt x="330" y="1110"/>
                    </a:lnTo>
                    <a:lnTo>
                      <a:pt x="330" y="1104"/>
                    </a:lnTo>
                    <a:lnTo>
                      <a:pt x="330" y="1098"/>
                    </a:lnTo>
                    <a:lnTo>
                      <a:pt x="330" y="1092"/>
                    </a:lnTo>
                    <a:lnTo>
                      <a:pt x="324" y="1092"/>
                    </a:lnTo>
                    <a:lnTo>
                      <a:pt x="324" y="1086"/>
                    </a:lnTo>
                    <a:lnTo>
                      <a:pt x="324" y="1080"/>
                    </a:lnTo>
                    <a:lnTo>
                      <a:pt x="318" y="1080"/>
                    </a:lnTo>
                    <a:lnTo>
                      <a:pt x="318" y="1074"/>
                    </a:lnTo>
                    <a:lnTo>
                      <a:pt x="306" y="1074"/>
                    </a:lnTo>
                    <a:lnTo>
                      <a:pt x="306" y="1080"/>
                    </a:lnTo>
                    <a:lnTo>
                      <a:pt x="300" y="1080"/>
                    </a:lnTo>
                    <a:lnTo>
                      <a:pt x="294" y="1080"/>
                    </a:lnTo>
                    <a:lnTo>
                      <a:pt x="288" y="1080"/>
                    </a:lnTo>
                    <a:lnTo>
                      <a:pt x="282" y="1080"/>
                    </a:lnTo>
                    <a:lnTo>
                      <a:pt x="276" y="1080"/>
                    </a:lnTo>
                    <a:lnTo>
                      <a:pt x="270" y="1080"/>
                    </a:lnTo>
                    <a:lnTo>
                      <a:pt x="270" y="1074"/>
                    </a:lnTo>
                    <a:lnTo>
                      <a:pt x="264" y="1068"/>
                    </a:lnTo>
                    <a:lnTo>
                      <a:pt x="258" y="1068"/>
                    </a:lnTo>
                    <a:lnTo>
                      <a:pt x="252" y="1068"/>
                    </a:lnTo>
                    <a:lnTo>
                      <a:pt x="246" y="1062"/>
                    </a:lnTo>
                    <a:lnTo>
                      <a:pt x="240" y="1056"/>
                    </a:lnTo>
                    <a:lnTo>
                      <a:pt x="234" y="1056"/>
                    </a:lnTo>
                    <a:lnTo>
                      <a:pt x="228" y="1056"/>
                    </a:lnTo>
                    <a:lnTo>
                      <a:pt x="228" y="1050"/>
                    </a:lnTo>
                    <a:lnTo>
                      <a:pt x="222" y="1050"/>
                    </a:lnTo>
                    <a:lnTo>
                      <a:pt x="222" y="1044"/>
                    </a:lnTo>
                    <a:lnTo>
                      <a:pt x="216" y="1038"/>
                    </a:lnTo>
                    <a:lnTo>
                      <a:pt x="210" y="103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1" name="Freeform 6"/>
              <p:cNvSpPr>
                <a:spLocks noChangeAspect="1" noEditPoints="1"/>
              </p:cNvSpPr>
              <p:nvPr/>
            </p:nvSpPr>
            <p:spPr bwMode="auto">
              <a:xfrm>
                <a:off x="3193455" y="5787951"/>
                <a:ext cx="246925" cy="161857"/>
              </a:xfrm>
              <a:custGeom>
                <a:avLst/>
                <a:gdLst>
                  <a:gd name="T0" fmla="*/ 2147483647 w 2160"/>
                  <a:gd name="T1" fmla="*/ 2147483647 h 1416"/>
                  <a:gd name="T2" fmla="*/ 2147483647 w 2160"/>
                  <a:gd name="T3" fmla="*/ 2147483647 h 1416"/>
                  <a:gd name="T4" fmla="*/ 2147483647 w 2160"/>
                  <a:gd name="T5" fmla="*/ 2147483647 h 1416"/>
                  <a:gd name="T6" fmla="*/ 2147483647 w 2160"/>
                  <a:gd name="T7" fmla="*/ 2147483647 h 1416"/>
                  <a:gd name="T8" fmla="*/ 2147483647 w 2160"/>
                  <a:gd name="T9" fmla="*/ 2147483647 h 1416"/>
                  <a:gd name="T10" fmla="*/ 2147483647 w 2160"/>
                  <a:gd name="T11" fmla="*/ 2147483647 h 1416"/>
                  <a:gd name="T12" fmla="*/ 2147483647 w 2160"/>
                  <a:gd name="T13" fmla="*/ 2147483647 h 1416"/>
                  <a:gd name="T14" fmla="*/ 2147483647 w 2160"/>
                  <a:gd name="T15" fmla="*/ 2147483647 h 1416"/>
                  <a:gd name="T16" fmla="*/ 2147483647 w 2160"/>
                  <a:gd name="T17" fmla="*/ 2147483647 h 1416"/>
                  <a:gd name="T18" fmla="*/ 2147483647 w 2160"/>
                  <a:gd name="T19" fmla="*/ 2147483647 h 1416"/>
                  <a:gd name="T20" fmla="*/ 2147483647 w 2160"/>
                  <a:gd name="T21" fmla="*/ 2147483647 h 1416"/>
                  <a:gd name="T22" fmla="*/ 2147483647 w 2160"/>
                  <a:gd name="T23" fmla="*/ 2147483647 h 1416"/>
                  <a:gd name="T24" fmla="*/ 2147483647 w 2160"/>
                  <a:gd name="T25" fmla="*/ 2147483647 h 1416"/>
                  <a:gd name="T26" fmla="*/ 2147483647 w 2160"/>
                  <a:gd name="T27" fmla="*/ 2147483647 h 1416"/>
                  <a:gd name="T28" fmla="*/ 2147483647 w 2160"/>
                  <a:gd name="T29" fmla="*/ 2147483647 h 1416"/>
                  <a:gd name="T30" fmla="*/ 2147483647 w 2160"/>
                  <a:gd name="T31" fmla="*/ 2147483647 h 1416"/>
                  <a:gd name="T32" fmla="*/ 2147483647 w 2160"/>
                  <a:gd name="T33" fmla="*/ 2147483647 h 1416"/>
                  <a:gd name="T34" fmla="*/ 2147483647 w 2160"/>
                  <a:gd name="T35" fmla="*/ 2147483647 h 1416"/>
                  <a:gd name="T36" fmla="*/ 2147483647 w 2160"/>
                  <a:gd name="T37" fmla="*/ 2147483647 h 1416"/>
                  <a:gd name="T38" fmla="*/ 2147483647 w 2160"/>
                  <a:gd name="T39" fmla="*/ 2147483647 h 1416"/>
                  <a:gd name="T40" fmla="*/ 2147483647 w 2160"/>
                  <a:gd name="T41" fmla="*/ 2147483647 h 1416"/>
                  <a:gd name="T42" fmla="*/ 2147483647 w 2160"/>
                  <a:gd name="T43" fmla="*/ 2147483647 h 1416"/>
                  <a:gd name="T44" fmla="*/ 2147483647 w 2160"/>
                  <a:gd name="T45" fmla="*/ 2147483647 h 1416"/>
                  <a:gd name="T46" fmla="*/ 2147483647 w 2160"/>
                  <a:gd name="T47" fmla="*/ 2147483647 h 1416"/>
                  <a:gd name="T48" fmla="*/ 2147483647 w 2160"/>
                  <a:gd name="T49" fmla="*/ 2147483647 h 1416"/>
                  <a:gd name="T50" fmla="*/ 2147483647 w 2160"/>
                  <a:gd name="T51" fmla="*/ 2147483647 h 1416"/>
                  <a:gd name="T52" fmla="*/ 2147483647 w 2160"/>
                  <a:gd name="T53" fmla="*/ 2147483647 h 1416"/>
                  <a:gd name="T54" fmla="*/ 2147483647 w 2160"/>
                  <a:gd name="T55" fmla="*/ 2147483647 h 1416"/>
                  <a:gd name="T56" fmla="*/ 2147483647 w 2160"/>
                  <a:gd name="T57" fmla="*/ 2147483647 h 1416"/>
                  <a:gd name="T58" fmla="*/ 2147483647 w 2160"/>
                  <a:gd name="T59" fmla="*/ 2147483647 h 1416"/>
                  <a:gd name="T60" fmla="*/ 2147483647 w 2160"/>
                  <a:gd name="T61" fmla="*/ 2147483647 h 1416"/>
                  <a:gd name="T62" fmla="*/ 2147483647 w 2160"/>
                  <a:gd name="T63" fmla="*/ 2147483647 h 1416"/>
                  <a:gd name="T64" fmla="*/ 2147483647 w 2160"/>
                  <a:gd name="T65" fmla="*/ 2147483647 h 1416"/>
                  <a:gd name="T66" fmla="*/ 2147483647 w 2160"/>
                  <a:gd name="T67" fmla="*/ 2147483647 h 1416"/>
                  <a:gd name="T68" fmla="*/ 2147483647 w 2160"/>
                  <a:gd name="T69" fmla="*/ 2147483647 h 1416"/>
                  <a:gd name="T70" fmla="*/ 2147483647 w 2160"/>
                  <a:gd name="T71" fmla="*/ 2147483647 h 1416"/>
                  <a:gd name="T72" fmla="*/ 2147483647 w 2160"/>
                  <a:gd name="T73" fmla="*/ 2147483647 h 1416"/>
                  <a:gd name="T74" fmla="*/ 2147483647 w 2160"/>
                  <a:gd name="T75" fmla="*/ 2147483647 h 1416"/>
                  <a:gd name="T76" fmla="*/ 2147483647 w 2160"/>
                  <a:gd name="T77" fmla="*/ 2147483647 h 1416"/>
                  <a:gd name="T78" fmla="*/ 2147483647 w 2160"/>
                  <a:gd name="T79" fmla="*/ 2147483647 h 1416"/>
                  <a:gd name="T80" fmla="*/ 2147483647 w 2160"/>
                  <a:gd name="T81" fmla="*/ 2147483647 h 1416"/>
                  <a:gd name="T82" fmla="*/ 2147483647 w 2160"/>
                  <a:gd name="T83" fmla="*/ 2147483647 h 1416"/>
                  <a:gd name="T84" fmla="*/ 2147483647 w 2160"/>
                  <a:gd name="T85" fmla="*/ 2147483647 h 1416"/>
                  <a:gd name="T86" fmla="*/ 2147483647 w 2160"/>
                  <a:gd name="T87" fmla="*/ 2147483647 h 1416"/>
                  <a:gd name="T88" fmla="*/ 2147483647 w 2160"/>
                  <a:gd name="T89" fmla="*/ 2147483647 h 1416"/>
                  <a:gd name="T90" fmla="*/ 2147483647 w 2160"/>
                  <a:gd name="T91" fmla="*/ 2147483647 h 1416"/>
                  <a:gd name="T92" fmla="*/ 2147483647 w 2160"/>
                  <a:gd name="T93" fmla="*/ 2147483647 h 1416"/>
                  <a:gd name="T94" fmla="*/ 2147483647 w 2160"/>
                  <a:gd name="T95" fmla="*/ 2147483647 h 1416"/>
                  <a:gd name="T96" fmla="*/ 2147483647 w 2160"/>
                  <a:gd name="T97" fmla="*/ 2147483647 h 1416"/>
                  <a:gd name="T98" fmla="*/ 2147483647 w 2160"/>
                  <a:gd name="T99" fmla="*/ 2147483647 h 1416"/>
                  <a:gd name="T100" fmla="*/ 2147483647 w 2160"/>
                  <a:gd name="T101" fmla="*/ 2147483647 h 1416"/>
                  <a:gd name="T102" fmla="*/ 2147483647 w 2160"/>
                  <a:gd name="T103" fmla="*/ 2147483647 h 1416"/>
                  <a:gd name="T104" fmla="*/ 2147483647 w 2160"/>
                  <a:gd name="T105" fmla="*/ 2147483647 h 1416"/>
                  <a:gd name="T106" fmla="*/ 2147483647 w 2160"/>
                  <a:gd name="T107" fmla="*/ 2147483647 h 1416"/>
                  <a:gd name="T108" fmla="*/ 2147483647 w 2160"/>
                  <a:gd name="T109" fmla="*/ 2147483647 h 1416"/>
                  <a:gd name="T110" fmla="*/ 2147483647 w 2160"/>
                  <a:gd name="T111" fmla="*/ 2147483647 h 1416"/>
                  <a:gd name="T112" fmla="*/ 2147483647 w 2160"/>
                  <a:gd name="T113" fmla="*/ 2147483647 h 1416"/>
                  <a:gd name="T114" fmla="*/ 2147483647 w 2160"/>
                  <a:gd name="T115" fmla="*/ 2147483647 h 1416"/>
                  <a:gd name="T116" fmla="*/ 2147483647 w 2160"/>
                  <a:gd name="T117" fmla="*/ 2147483647 h 1416"/>
                  <a:gd name="T118" fmla="*/ 2147483647 w 2160"/>
                  <a:gd name="T119" fmla="*/ 2147483647 h 1416"/>
                  <a:gd name="T120" fmla="*/ 2147483647 w 2160"/>
                  <a:gd name="T121" fmla="*/ 2147483647 h 1416"/>
                  <a:gd name="T122" fmla="*/ 2147483647 w 2160"/>
                  <a:gd name="T123" fmla="*/ 2147483647 h 1416"/>
                  <a:gd name="T124" fmla="*/ 2147483647 w 2160"/>
                  <a:gd name="T125" fmla="*/ 2147483647 h 141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160" h="1416">
                    <a:moveTo>
                      <a:pt x="1008" y="1290"/>
                    </a:moveTo>
                    <a:lnTo>
                      <a:pt x="1014" y="1290"/>
                    </a:lnTo>
                    <a:lnTo>
                      <a:pt x="1014" y="1296"/>
                    </a:lnTo>
                    <a:lnTo>
                      <a:pt x="1008" y="1296"/>
                    </a:lnTo>
                    <a:lnTo>
                      <a:pt x="1008" y="1290"/>
                    </a:lnTo>
                    <a:close/>
                    <a:moveTo>
                      <a:pt x="1860" y="48"/>
                    </a:moveTo>
                    <a:lnTo>
                      <a:pt x="1854" y="48"/>
                    </a:lnTo>
                    <a:lnTo>
                      <a:pt x="1854" y="54"/>
                    </a:lnTo>
                    <a:lnTo>
                      <a:pt x="1848" y="54"/>
                    </a:lnTo>
                    <a:lnTo>
                      <a:pt x="1848" y="60"/>
                    </a:lnTo>
                    <a:lnTo>
                      <a:pt x="1848" y="66"/>
                    </a:lnTo>
                    <a:lnTo>
                      <a:pt x="1842" y="66"/>
                    </a:lnTo>
                    <a:lnTo>
                      <a:pt x="1836" y="60"/>
                    </a:lnTo>
                    <a:lnTo>
                      <a:pt x="1830" y="60"/>
                    </a:lnTo>
                    <a:lnTo>
                      <a:pt x="1830" y="66"/>
                    </a:lnTo>
                    <a:lnTo>
                      <a:pt x="1824" y="66"/>
                    </a:lnTo>
                    <a:lnTo>
                      <a:pt x="1818" y="72"/>
                    </a:lnTo>
                    <a:lnTo>
                      <a:pt x="1818" y="78"/>
                    </a:lnTo>
                    <a:lnTo>
                      <a:pt x="1824" y="78"/>
                    </a:lnTo>
                    <a:lnTo>
                      <a:pt x="1824" y="84"/>
                    </a:lnTo>
                    <a:lnTo>
                      <a:pt x="1818" y="84"/>
                    </a:lnTo>
                    <a:lnTo>
                      <a:pt x="1812" y="84"/>
                    </a:lnTo>
                    <a:lnTo>
                      <a:pt x="1812" y="90"/>
                    </a:lnTo>
                    <a:lnTo>
                      <a:pt x="1806" y="90"/>
                    </a:lnTo>
                    <a:lnTo>
                      <a:pt x="1806" y="96"/>
                    </a:lnTo>
                    <a:lnTo>
                      <a:pt x="1800" y="96"/>
                    </a:lnTo>
                    <a:lnTo>
                      <a:pt x="1794" y="96"/>
                    </a:lnTo>
                    <a:lnTo>
                      <a:pt x="1788" y="96"/>
                    </a:lnTo>
                    <a:lnTo>
                      <a:pt x="1788" y="102"/>
                    </a:lnTo>
                    <a:lnTo>
                      <a:pt x="1788" y="108"/>
                    </a:lnTo>
                    <a:lnTo>
                      <a:pt x="1788" y="114"/>
                    </a:lnTo>
                    <a:lnTo>
                      <a:pt x="1782" y="114"/>
                    </a:lnTo>
                    <a:lnTo>
                      <a:pt x="1776" y="114"/>
                    </a:lnTo>
                    <a:lnTo>
                      <a:pt x="1770" y="108"/>
                    </a:lnTo>
                    <a:lnTo>
                      <a:pt x="1764" y="108"/>
                    </a:lnTo>
                    <a:lnTo>
                      <a:pt x="1758" y="108"/>
                    </a:lnTo>
                    <a:lnTo>
                      <a:pt x="1758" y="102"/>
                    </a:lnTo>
                    <a:lnTo>
                      <a:pt x="1758" y="108"/>
                    </a:lnTo>
                    <a:lnTo>
                      <a:pt x="1758" y="114"/>
                    </a:lnTo>
                    <a:lnTo>
                      <a:pt x="1752" y="114"/>
                    </a:lnTo>
                    <a:lnTo>
                      <a:pt x="1752" y="120"/>
                    </a:lnTo>
                    <a:lnTo>
                      <a:pt x="1752" y="126"/>
                    </a:lnTo>
                    <a:lnTo>
                      <a:pt x="1746" y="126"/>
                    </a:lnTo>
                    <a:lnTo>
                      <a:pt x="1746" y="132"/>
                    </a:lnTo>
                    <a:lnTo>
                      <a:pt x="1752" y="132"/>
                    </a:lnTo>
                    <a:lnTo>
                      <a:pt x="1752" y="138"/>
                    </a:lnTo>
                    <a:lnTo>
                      <a:pt x="1752" y="144"/>
                    </a:lnTo>
                    <a:lnTo>
                      <a:pt x="1758" y="144"/>
                    </a:lnTo>
                    <a:lnTo>
                      <a:pt x="1758" y="150"/>
                    </a:lnTo>
                    <a:lnTo>
                      <a:pt x="1752" y="150"/>
                    </a:lnTo>
                    <a:lnTo>
                      <a:pt x="1752" y="156"/>
                    </a:lnTo>
                    <a:lnTo>
                      <a:pt x="1746" y="162"/>
                    </a:lnTo>
                    <a:lnTo>
                      <a:pt x="1752" y="168"/>
                    </a:lnTo>
                    <a:lnTo>
                      <a:pt x="1752" y="174"/>
                    </a:lnTo>
                    <a:lnTo>
                      <a:pt x="1758" y="174"/>
                    </a:lnTo>
                    <a:lnTo>
                      <a:pt x="1764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6"/>
                    </a:lnTo>
                    <a:lnTo>
                      <a:pt x="1770" y="192"/>
                    </a:lnTo>
                    <a:lnTo>
                      <a:pt x="1776" y="192"/>
                    </a:lnTo>
                    <a:lnTo>
                      <a:pt x="1776" y="198"/>
                    </a:lnTo>
                    <a:lnTo>
                      <a:pt x="1782" y="198"/>
                    </a:lnTo>
                    <a:lnTo>
                      <a:pt x="1788" y="198"/>
                    </a:lnTo>
                    <a:lnTo>
                      <a:pt x="1794" y="198"/>
                    </a:lnTo>
                    <a:lnTo>
                      <a:pt x="1800" y="198"/>
                    </a:lnTo>
                    <a:lnTo>
                      <a:pt x="1800" y="204"/>
                    </a:lnTo>
                    <a:lnTo>
                      <a:pt x="1806" y="204"/>
                    </a:lnTo>
                    <a:lnTo>
                      <a:pt x="1812" y="204"/>
                    </a:lnTo>
                    <a:lnTo>
                      <a:pt x="1812" y="198"/>
                    </a:lnTo>
                    <a:lnTo>
                      <a:pt x="1812" y="192"/>
                    </a:lnTo>
                    <a:lnTo>
                      <a:pt x="1812" y="186"/>
                    </a:lnTo>
                    <a:lnTo>
                      <a:pt x="1812" y="180"/>
                    </a:lnTo>
                    <a:lnTo>
                      <a:pt x="1818" y="174"/>
                    </a:lnTo>
                    <a:lnTo>
                      <a:pt x="1818" y="180"/>
                    </a:lnTo>
                    <a:lnTo>
                      <a:pt x="1824" y="180"/>
                    </a:lnTo>
                    <a:lnTo>
                      <a:pt x="1830" y="180"/>
                    </a:lnTo>
                    <a:lnTo>
                      <a:pt x="1830" y="186"/>
                    </a:lnTo>
                    <a:lnTo>
                      <a:pt x="1836" y="186"/>
                    </a:lnTo>
                    <a:lnTo>
                      <a:pt x="1842" y="186"/>
                    </a:lnTo>
                    <a:lnTo>
                      <a:pt x="1842" y="192"/>
                    </a:lnTo>
                    <a:lnTo>
                      <a:pt x="1842" y="198"/>
                    </a:lnTo>
                    <a:lnTo>
                      <a:pt x="1842" y="204"/>
                    </a:lnTo>
                    <a:lnTo>
                      <a:pt x="1842" y="210"/>
                    </a:lnTo>
                    <a:lnTo>
                      <a:pt x="1848" y="210"/>
                    </a:lnTo>
                    <a:lnTo>
                      <a:pt x="1854" y="210"/>
                    </a:lnTo>
                    <a:lnTo>
                      <a:pt x="1860" y="210"/>
                    </a:lnTo>
                    <a:lnTo>
                      <a:pt x="1866" y="216"/>
                    </a:lnTo>
                    <a:lnTo>
                      <a:pt x="1872" y="216"/>
                    </a:lnTo>
                    <a:lnTo>
                      <a:pt x="1878" y="216"/>
                    </a:lnTo>
                    <a:lnTo>
                      <a:pt x="1884" y="222"/>
                    </a:lnTo>
                    <a:lnTo>
                      <a:pt x="1890" y="222"/>
                    </a:lnTo>
                    <a:lnTo>
                      <a:pt x="1896" y="222"/>
                    </a:lnTo>
                    <a:lnTo>
                      <a:pt x="1896" y="228"/>
                    </a:lnTo>
                    <a:lnTo>
                      <a:pt x="1902" y="228"/>
                    </a:lnTo>
                    <a:lnTo>
                      <a:pt x="1908" y="234"/>
                    </a:lnTo>
                    <a:lnTo>
                      <a:pt x="1914" y="234"/>
                    </a:lnTo>
                    <a:lnTo>
                      <a:pt x="1920" y="234"/>
                    </a:lnTo>
                    <a:lnTo>
                      <a:pt x="1920" y="228"/>
                    </a:lnTo>
                    <a:lnTo>
                      <a:pt x="1926" y="228"/>
                    </a:lnTo>
                    <a:lnTo>
                      <a:pt x="1932" y="228"/>
                    </a:lnTo>
                    <a:lnTo>
                      <a:pt x="1938" y="228"/>
                    </a:lnTo>
                    <a:lnTo>
                      <a:pt x="1944" y="228"/>
                    </a:lnTo>
                    <a:lnTo>
                      <a:pt x="1944" y="222"/>
                    </a:lnTo>
                    <a:lnTo>
                      <a:pt x="1950" y="222"/>
                    </a:lnTo>
                    <a:lnTo>
                      <a:pt x="1956" y="222"/>
                    </a:lnTo>
                    <a:lnTo>
                      <a:pt x="1962" y="222"/>
                    </a:lnTo>
                    <a:lnTo>
                      <a:pt x="1962" y="228"/>
                    </a:lnTo>
                    <a:lnTo>
                      <a:pt x="1968" y="228"/>
                    </a:lnTo>
                    <a:lnTo>
                      <a:pt x="1968" y="234"/>
                    </a:lnTo>
                    <a:lnTo>
                      <a:pt x="1974" y="234"/>
                    </a:lnTo>
                    <a:lnTo>
                      <a:pt x="1974" y="240"/>
                    </a:lnTo>
                    <a:lnTo>
                      <a:pt x="1980" y="240"/>
                    </a:lnTo>
                    <a:lnTo>
                      <a:pt x="1986" y="240"/>
                    </a:lnTo>
                    <a:lnTo>
                      <a:pt x="1986" y="246"/>
                    </a:lnTo>
                    <a:lnTo>
                      <a:pt x="1992" y="246"/>
                    </a:lnTo>
                    <a:lnTo>
                      <a:pt x="1998" y="246"/>
                    </a:lnTo>
                    <a:lnTo>
                      <a:pt x="2004" y="246"/>
                    </a:lnTo>
                    <a:lnTo>
                      <a:pt x="2010" y="246"/>
                    </a:lnTo>
                    <a:lnTo>
                      <a:pt x="2016" y="246"/>
                    </a:lnTo>
                    <a:lnTo>
                      <a:pt x="2016" y="252"/>
                    </a:lnTo>
                    <a:lnTo>
                      <a:pt x="2022" y="252"/>
                    </a:lnTo>
                    <a:lnTo>
                      <a:pt x="2028" y="258"/>
                    </a:lnTo>
                    <a:lnTo>
                      <a:pt x="2034" y="258"/>
                    </a:lnTo>
                    <a:lnTo>
                      <a:pt x="2040" y="258"/>
                    </a:lnTo>
                    <a:lnTo>
                      <a:pt x="2040" y="252"/>
                    </a:lnTo>
                    <a:lnTo>
                      <a:pt x="2046" y="252"/>
                    </a:lnTo>
                    <a:lnTo>
                      <a:pt x="2052" y="258"/>
                    </a:lnTo>
                    <a:lnTo>
                      <a:pt x="2052" y="264"/>
                    </a:lnTo>
                    <a:lnTo>
                      <a:pt x="2058" y="270"/>
                    </a:lnTo>
                    <a:lnTo>
                      <a:pt x="2064" y="270"/>
                    </a:lnTo>
                    <a:lnTo>
                      <a:pt x="2070" y="276"/>
                    </a:lnTo>
                    <a:lnTo>
                      <a:pt x="2070" y="282"/>
                    </a:lnTo>
                    <a:lnTo>
                      <a:pt x="2076" y="282"/>
                    </a:lnTo>
                    <a:lnTo>
                      <a:pt x="2082" y="282"/>
                    </a:lnTo>
                    <a:lnTo>
                      <a:pt x="2088" y="282"/>
                    </a:lnTo>
                    <a:lnTo>
                      <a:pt x="2088" y="288"/>
                    </a:lnTo>
                    <a:lnTo>
                      <a:pt x="2094" y="294"/>
                    </a:lnTo>
                    <a:lnTo>
                      <a:pt x="2094" y="300"/>
                    </a:lnTo>
                    <a:lnTo>
                      <a:pt x="2100" y="300"/>
                    </a:lnTo>
                    <a:lnTo>
                      <a:pt x="2106" y="300"/>
                    </a:lnTo>
                    <a:lnTo>
                      <a:pt x="2106" y="306"/>
                    </a:lnTo>
                    <a:lnTo>
                      <a:pt x="2112" y="306"/>
                    </a:lnTo>
                    <a:lnTo>
                      <a:pt x="2118" y="306"/>
                    </a:lnTo>
                    <a:lnTo>
                      <a:pt x="2124" y="306"/>
                    </a:lnTo>
                    <a:lnTo>
                      <a:pt x="2124" y="312"/>
                    </a:lnTo>
                    <a:lnTo>
                      <a:pt x="2124" y="318"/>
                    </a:lnTo>
                    <a:lnTo>
                      <a:pt x="2124" y="324"/>
                    </a:lnTo>
                    <a:lnTo>
                      <a:pt x="2130" y="324"/>
                    </a:lnTo>
                    <a:lnTo>
                      <a:pt x="2136" y="324"/>
                    </a:lnTo>
                    <a:lnTo>
                      <a:pt x="2136" y="330"/>
                    </a:lnTo>
                    <a:lnTo>
                      <a:pt x="2142" y="330"/>
                    </a:lnTo>
                    <a:lnTo>
                      <a:pt x="2142" y="336"/>
                    </a:lnTo>
                    <a:lnTo>
                      <a:pt x="2142" y="342"/>
                    </a:lnTo>
                    <a:lnTo>
                      <a:pt x="2136" y="342"/>
                    </a:lnTo>
                    <a:lnTo>
                      <a:pt x="2136" y="348"/>
                    </a:lnTo>
                    <a:lnTo>
                      <a:pt x="2142" y="348"/>
                    </a:lnTo>
                    <a:lnTo>
                      <a:pt x="2142" y="354"/>
                    </a:lnTo>
                    <a:lnTo>
                      <a:pt x="2142" y="360"/>
                    </a:lnTo>
                    <a:lnTo>
                      <a:pt x="2142" y="366"/>
                    </a:lnTo>
                    <a:lnTo>
                      <a:pt x="2148" y="366"/>
                    </a:lnTo>
                    <a:lnTo>
                      <a:pt x="2154" y="372"/>
                    </a:lnTo>
                    <a:lnTo>
                      <a:pt x="2154" y="378"/>
                    </a:lnTo>
                    <a:lnTo>
                      <a:pt x="2154" y="384"/>
                    </a:lnTo>
                    <a:lnTo>
                      <a:pt x="2160" y="384"/>
                    </a:lnTo>
                    <a:lnTo>
                      <a:pt x="2160" y="390"/>
                    </a:lnTo>
                    <a:lnTo>
                      <a:pt x="2154" y="390"/>
                    </a:lnTo>
                    <a:lnTo>
                      <a:pt x="2154" y="396"/>
                    </a:lnTo>
                    <a:lnTo>
                      <a:pt x="2148" y="396"/>
                    </a:lnTo>
                    <a:lnTo>
                      <a:pt x="2148" y="390"/>
                    </a:lnTo>
                    <a:lnTo>
                      <a:pt x="2148" y="396"/>
                    </a:lnTo>
                    <a:lnTo>
                      <a:pt x="2154" y="396"/>
                    </a:lnTo>
                    <a:lnTo>
                      <a:pt x="2148" y="396"/>
                    </a:lnTo>
                    <a:lnTo>
                      <a:pt x="2148" y="402"/>
                    </a:lnTo>
                    <a:lnTo>
                      <a:pt x="2148" y="396"/>
                    </a:lnTo>
                    <a:lnTo>
                      <a:pt x="2148" y="402"/>
                    </a:lnTo>
                    <a:lnTo>
                      <a:pt x="2148" y="408"/>
                    </a:lnTo>
                    <a:lnTo>
                      <a:pt x="2142" y="408"/>
                    </a:lnTo>
                    <a:lnTo>
                      <a:pt x="2136" y="408"/>
                    </a:lnTo>
                    <a:lnTo>
                      <a:pt x="2142" y="408"/>
                    </a:lnTo>
                    <a:lnTo>
                      <a:pt x="2142" y="414"/>
                    </a:lnTo>
                    <a:lnTo>
                      <a:pt x="2136" y="414"/>
                    </a:lnTo>
                    <a:lnTo>
                      <a:pt x="2136" y="420"/>
                    </a:lnTo>
                    <a:lnTo>
                      <a:pt x="2130" y="420"/>
                    </a:lnTo>
                    <a:lnTo>
                      <a:pt x="2130" y="426"/>
                    </a:lnTo>
                    <a:lnTo>
                      <a:pt x="2124" y="426"/>
                    </a:lnTo>
                    <a:lnTo>
                      <a:pt x="2124" y="432"/>
                    </a:lnTo>
                    <a:lnTo>
                      <a:pt x="2118" y="432"/>
                    </a:lnTo>
                    <a:lnTo>
                      <a:pt x="2118" y="438"/>
                    </a:lnTo>
                    <a:lnTo>
                      <a:pt x="2112" y="438"/>
                    </a:lnTo>
                    <a:lnTo>
                      <a:pt x="2112" y="444"/>
                    </a:lnTo>
                    <a:lnTo>
                      <a:pt x="2112" y="438"/>
                    </a:lnTo>
                    <a:lnTo>
                      <a:pt x="2112" y="444"/>
                    </a:lnTo>
                    <a:lnTo>
                      <a:pt x="2112" y="450"/>
                    </a:lnTo>
                    <a:lnTo>
                      <a:pt x="2106" y="450"/>
                    </a:lnTo>
                    <a:lnTo>
                      <a:pt x="2106" y="456"/>
                    </a:lnTo>
                    <a:lnTo>
                      <a:pt x="2100" y="456"/>
                    </a:lnTo>
                    <a:lnTo>
                      <a:pt x="2100" y="462"/>
                    </a:lnTo>
                    <a:lnTo>
                      <a:pt x="2094" y="462"/>
                    </a:lnTo>
                    <a:lnTo>
                      <a:pt x="2094" y="468"/>
                    </a:lnTo>
                    <a:lnTo>
                      <a:pt x="2088" y="468"/>
                    </a:lnTo>
                    <a:lnTo>
                      <a:pt x="2088" y="462"/>
                    </a:lnTo>
                    <a:lnTo>
                      <a:pt x="2088" y="468"/>
                    </a:lnTo>
                    <a:lnTo>
                      <a:pt x="2088" y="462"/>
                    </a:lnTo>
                    <a:lnTo>
                      <a:pt x="2088" y="468"/>
                    </a:lnTo>
                    <a:lnTo>
                      <a:pt x="2088" y="474"/>
                    </a:lnTo>
                    <a:lnTo>
                      <a:pt x="2082" y="474"/>
                    </a:lnTo>
                    <a:lnTo>
                      <a:pt x="2082" y="480"/>
                    </a:lnTo>
                    <a:lnTo>
                      <a:pt x="2076" y="480"/>
                    </a:lnTo>
                    <a:lnTo>
                      <a:pt x="2076" y="486"/>
                    </a:lnTo>
                    <a:lnTo>
                      <a:pt x="2070" y="486"/>
                    </a:lnTo>
                    <a:lnTo>
                      <a:pt x="2070" y="492"/>
                    </a:lnTo>
                    <a:lnTo>
                      <a:pt x="2070" y="486"/>
                    </a:lnTo>
                    <a:lnTo>
                      <a:pt x="2064" y="486"/>
                    </a:lnTo>
                    <a:lnTo>
                      <a:pt x="2064" y="492"/>
                    </a:lnTo>
                    <a:lnTo>
                      <a:pt x="2058" y="492"/>
                    </a:lnTo>
                    <a:lnTo>
                      <a:pt x="2058" y="498"/>
                    </a:lnTo>
                    <a:lnTo>
                      <a:pt x="2052" y="498"/>
                    </a:lnTo>
                    <a:lnTo>
                      <a:pt x="2052" y="504"/>
                    </a:lnTo>
                    <a:lnTo>
                      <a:pt x="2046" y="504"/>
                    </a:lnTo>
                    <a:lnTo>
                      <a:pt x="2040" y="504"/>
                    </a:lnTo>
                    <a:lnTo>
                      <a:pt x="2034" y="504"/>
                    </a:lnTo>
                    <a:lnTo>
                      <a:pt x="2028" y="504"/>
                    </a:lnTo>
                    <a:lnTo>
                      <a:pt x="2028" y="510"/>
                    </a:lnTo>
                    <a:lnTo>
                      <a:pt x="2022" y="510"/>
                    </a:lnTo>
                    <a:lnTo>
                      <a:pt x="2016" y="510"/>
                    </a:lnTo>
                    <a:lnTo>
                      <a:pt x="2022" y="510"/>
                    </a:lnTo>
                    <a:lnTo>
                      <a:pt x="2022" y="516"/>
                    </a:lnTo>
                    <a:lnTo>
                      <a:pt x="2016" y="516"/>
                    </a:lnTo>
                    <a:lnTo>
                      <a:pt x="2016" y="522"/>
                    </a:lnTo>
                    <a:lnTo>
                      <a:pt x="2010" y="522"/>
                    </a:lnTo>
                    <a:lnTo>
                      <a:pt x="2010" y="528"/>
                    </a:lnTo>
                    <a:lnTo>
                      <a:pt x="2010" y="522"/>
                    </a:lnTo>
                    <a:lnTo>
                      <a:pt x="2010" y="528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2004" y="528"/>
                    </a:lnTo>
                    <a:lnTo>
                      <a:pt x="2004" y="534"/>
                    </a:lnTo>
                    <a:lnTo>
                      <a:pt x="1998" y="534"/>
                    </a:lnTo>
                    <a:lnTo>
                      <a:pt x="1998" y="540"/>
                    </a:lnTo>
                    <a:lnTo>
                      <a:pt x="1992" y="540"/>
                    </a:lnTo>
                    <a:lnTo>
                      <a:pt x="1992" y="546"/>
                    </a:lnTo>
                    <a:lnTo>
                      <a:pt x="1986" y="546"/>
                    </a:lnTo>
                    <a:lnTo>
                      <a:pt x="1992" y="546"/>
                    </a:lnTo>
                    <a:lnTo>
                      <a:pt x="1986" y="546"/>
                    </a:lnTo>
                    <a:lnTo>
                      <a:pt x="1986" y="552"/>
                    </a:lnTo>
                    <a:lnTo>
                      <a:pt x="1980" y="552"/>
                    </a:lnTo>
                    <a:lnTo>
                      <a:pt x="1980" y="558"/>
                    </a:lnTo>
                    <a:lnTo>
                      <a:pt x="1974" y="558"/>
                    </a:lnTo>
                    <a:lnTo>
                      <a:pt x="1968" y="558"/>
                    </a:lnTo>
                    <a:lnTo>
                      <a:pt x="1968" y="564"/>
                    </a:lnTo>
                    <a:lnTo>
                      <a:pt x="1962" y="564"/>
                    </a:lnTo>
                    <a:lnTo>
                      <a:pt x="1962" y="558"/>
                    </a:lnTo>
                    <a:lnTo>
                      <a:pt x="1956" y="558"/>
                    </a:lnTo>
                    <a:lnTo>
                      <a:pt x="1956" y="552"/>
                    </a:lnTo>
                    <a:lnTo>
                      <a:pt x="1956" y="558"/>
                    </a:lnTo>
                    <a:lnTo>
                      <a:pt x="1962" y="558"/>
                    </a:lnTo>
                    <a:lnTo>
                      <a:pt x="1962" y="564"/>
                    </a:lnTo>
                    <a:lnTo>
                      <a:pt x="1962" y="570"/>
                    </a:lnTo>
                    <a:lnTo>
                      <a:pt x="1956" y="570"/>
                    </a:lnTo>
                    <a:lnTo>
                      <a:pt x="1956" y="576"/>
                    </a:lnTo>
                    <a:lnTo>
                      <a:pt x="1950" y="576"/>
                    </a:lnTo>
                    <a:lnTo>
                      <a:pt x="1944" y="576"/>
                    </a:lnTo>
                    <a:lnTo>
                      <a:pt x="1944" y="582"/>
                    </a:lnTo>
                    <a:lnTo>
                      <a:pt x="1938" y="582"/>
                    </a:lnTo>
                    <a:lnTo>
                      <a:pt x="1932" y="582"/>
                    </a:lnTo>
                    <a:lnTo>
                      <a:pt x="1938" y="582"/>
                    </a:lnTo>
                    <a:lnTo>
                      <a:pt x="1932" y="582"/>
                    </a:lnTo>
                    <a:lnTo>
                      <a:pt x="1938" y="582"/>
                    </a:lnTo>
                    <a:lnTo>
                      <a:pt x="1938" y="576"/>
                    </a:lnTo>
                    <a:lnTo>
                      <a:pt x="1932" y="576"/>
                    </a:lnTo>
                    <a:lnTo>
                      <a:pt x="1932" y="582"/>
                    </a:lnTo>
                    <a:lnTo>
                      <a:pt x="1926" y="582"/>
                    </a:lnTo>
                    <a:lnTo>
                      <a:pt x="1926" y="588"/>
                    </a:lnTo>
                    <a:lnTo>
                      <a:pt x="1926" y="582"/>
                    </a:lnTo>
                    <a:lnTo>
                      <a:pt x="1926" y="588"/>
                    </a:lnTo>
                    <a:lnTo>
                      <a:pt x="1920" y="588"/>
                    </a:lnTo>
                    <a:lnTo>
                      <a:pt x="1926" y="588"/>
                    </a:lnTo>
                    <a:lnTo>
                      <a:pt x="1920" y="588"/>
                    </a:lnTo>
                    <a:lnTo>
                      <a:pt x="1920" y="594"/>
                    </a:lnTo>
                    <a:lnTo>
                      <a:pt x="1920" y="600"/>
                    </a:lnTo>
                    <a:lnTo>
                      <a:pt x="1914" y="600"/>
                    </a:lnTo>
                    <a:lnTo>
                      <a:pt x="1914" y="606"/>
                    </a:lnTo>
                    <a:lnTo>
                      <a:pt x="1908" y="606"/>
                    </a:lnTo>
                    <a:lnTo>
                      <a:pt x="1908" y="612"/>
                    </a:lnTo>
                    <a:lnTo>
                      <a:pt x="1908" y="618"/>
                    </a:lnTo>
                    <a:lnTo>
                      <a:pt x="1902" y="618"/>
                    </a:lnTo>
                    <a:lnTo>
                      <a:pt x="1902" y="624"/>
                    </a:lnTo>
                    <a:lnTo>
                      <a:pt x="1896" y="624"/>
                    </a:lnTo>
                    <a:lnTo>
                      <a:pt x="1890" y="624"/>
                    </a:lnTo>
                    <a:lnTo>
                      <a:pt x="1896" y="624"/>
                    </a:lnTo>
                    <a:lnTo>
                      <a:pt x="1896" y="630"/>
                    </a:lnTo>
                    <a:lnTo>
                      <a:pt x="1890" y="630"/>
                    </a:lnTo>
                    <a:lnTo>
                      <a:pt x="1890" y="636"/>
                    </a:lnTo>
                    <a:lnTo>
                      <a:pt x="1884" y="636"/>
                    </a:lnTo>
                    <a:lnTo>
                      <a:pt x="1884" y="642"/>
                    </a:lnTo>
                    <a:lnTo>
                      <a:pt x="1878" y="642"/>
                    </a:lnTo>
                    <a:lnTo>
                      <a:pt x="1878" y="636"/>
                    </a:lnTo>
                    <a:lnTo>
                      <a:pt x="1878" y="642"/>
                    </a:lnTo>
                    <a:lnTo>
                      <a:pt x="1878" y="648"/>
                    </a:lnTo>
                    <a:lnTo>
                      <a:pt x="1872" y="648"/>
                    </a:lnTo>
                    <a:lnTo>
                      <a:pt x="1872" y="654"/>
                    </a:lnTo>
                    <a:lnTo>
                      <a:pt x="1872" y="648"/>
                    </a:lnTo>
                    <a:lnTo>
                      <a:pt x="1872" y="654"/>
                    </a:lnTo>
                    <a:lnTo>
                      <a:pt x="1872" y="660"/>
                    </a:lnTo>
                    <a:lnTo>
                      <a:pt x="1866" y="660"/>
                    </a:lnTo>
                    <a:lnTo>
                      <a:pt x="1872" y="660"/>
                    </a:lnTo>
                    <a:lnTo>
                      <a:pt x="1866" y="660"/>
                    </a:lnTo>
                    <a:lnTo>
                      <a:pt x="1866" y="666"/>
                    </a:lnTo>
                    <a:lnTo>
                      <a:pt x="1860" y="666"/>
                    </a:lnTo>
                    <a:lnTo>
                      <a:pt x="1866" y="666"/>
                    </a:lnTo>
                    <a:lnTo>
                      <a:pt x="1860" y="666"/>
                    </a:lnTo>
                    <a:lnTo>
                      <a:pt x="1860" y="672"/>
                    </a:lnTo>
                    <a:lnTo>
                      <a:pt x="1854" y="672"/>
                    </a:lnTo>
                    <a:lnTo>
                      <a:pt x="1854" y="666"/>
                    </a:lnTo>
                    <a:lnTo>
                      <a:pt x="1854" y="672"/>
                    </a:lnTo>
                    <a:lnTo>
                      <a:pt x="1848" y="672"/>
                    </a:lnTo>
                    <a:lnTo>
                      <a:pt x="1848" y="678"/>
                    </a:lnTo>
                    <a:lnTo>
                      <a:pt x="1842" y="678"/>
                    </a:lnTo>
                    <a:lnTo>
                      <a:pt x="1842" y="684"/>
                    </a:lnTo>
                    <a:lnTo>
                      <a:pt x="1842" y="678"/>
                    </a:lnTo>
                    <a:lnTo>
                      <a:pt x="1842" y="684"/>
                    </a:lnTo>
                    <a:lnTo>
                      <a:pt x="1842" y="690"/>
                    </a:lnTo>
                    <a:lnTo>
                      <a:pt x="1836" y="690"/>
                    </a:lnTo>
                    <a:lnTo>
                      <a:pt x="1836" y="696"/>
                    </a:lnTo>
                    <a:lnTo>
                      <a:pt x="1830" y="696"/>
                    </a:lnTo>
                    <a:lnTo>
                      <a:pt x="1830" y="702"/>
                    </a:lnTo>
                    <a:lnTo>
                      <a:pt x="1830" y="708"/>
                    </a:lnTo>
                    <a:lnTo>
                      <a:pt x="1824" y="708"/>
                    </a:lnTo>
                    <a:lnTo>
                      <a:pt x="1824" y="714"/>
                    </a:lnTo>
                    <a:lnTo>
                      <a:pt x="1818" y="714"/>
                    </a:lnTo>
                    <a:lnTo>
                      <a:pt x="1818" y="720"/>
                    </a:lnTo>
                    <a:lnTo>
                      <a:pt x="1812" y="720"/>
                    </a:lnTo>
                    <a:lnTo>
                      <a:pt x="1812" y="726"/>
                    </a:lnTo>
                    <a:lnTo>
                      <a:pt x="1806" y="726"/>
                    </a:lnTo>
                    <a:lnTo>
                      <a:pt x="1806" y="732"/>
                    </a:lnTo>
                    <a:lnTo>
                      <a:pt x="1800" y="732"/>
                    </a:lnTo>
                    <a:lnTo>
                      <a:pt x="1800" y="738"/>
                    </a:lnTo>
                    <a:lnTo>
                      <a:pt x="1794" y="738"/>
                    </a:lnTo>
                    <a:lnTo>
                      <a:pt x="1794" y="732"/>
                    </a:lnTo>
                    <a:lnTo>
                      <a:pt x="1794" y="738"/>
                    </a:lnTo>
                    <a:lnTo>
                      <a:pt x="1800" y="738"/>
                    </a:lnTo>
                    <a:lnTo>
                      <a:pt x="1800" y="744"/>
                    </a:lnTo>
                    <a:lnTo>
                      <a:pt x="1794" y="744"/>
                    </a:lnTo>
                    <a:lnTo>
                      <a:pt x="1788" y="744"/>
                    </a:lnTo>
                    <a:lnTo>
                      <a:pt x="1788" y="750"/>
                    </a:lnTo>
                    <a:lnTo>
                      <a:pt x="1782" y="750"/>
                    </a:lnTo>
                    <a:lnTo>
                      <a:pt x="1788" y="750"/>
                    </a:lnTo>
                    <a:lnTo>
                      <a:pt x="1782" y="750"/>
                    </a:lnTo>
                    <a:lnTo>
                      <a:pt x="1782" y="756"/>
                    </a:lnTo>
                    <a:lnTo>
                      <a:pt x="1782" y="762"/>
                    </a:lnTo>
                    <a:lnTo>
                      <a:pt x="1776" y="762"/>
                    </a:lnTo>
                    <a:lnTo>
                      <a:pt x="1776" y="768"/>
                    </a:lnTo>
                    <a:lnTo>
                      <a:pt x="1770" y="768"/>
                    </a:lnTo>
                    <a:lnTo>
                      <a:pt x="1764" y="768"/>
                    </a:lnTo>
                    <a:lnTo>
                      <a:pt x="1764" y="762"/>
                    </a:lnTo>
                    <a:lnTo>
                      <a:pt x="1764" y="768"/>
                    </a:lnTo>
                    <a:lnTo>
                      <a:pt x="1770" y="768"/>
                    </a:lnTo>
                    <a:lnTo>
                      <a:pt x="1770" y="774"/>
                    </a:lnTo>
                    <a:lnTo>
                      <a:pt x="1764" y="774"/>
                    </a:lnTo>
                    <a:lnTo>
                      <a:pt x="1764" y="780"/>
                    </a:lnTo>
                    <a:lnTo>
                      <a:pt x="1758" y="780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64" y="780"/>
                    </a:lnTo>
                    <a:lnTo>
                      <a:pt x="1758" y="780"/>
                    </a:lnTo>
                    <a:lnTo>
                      <a:pt x="1758" y="786"/>
                    </a:lnTo>
                    <a:lnTo>
                      <a:pt x="1758" y="780"/>
                    </a:lnTo>
                    <a:lnTo>
                      <a:pt x="1758" y="786"/>
                    </a:lnTo>
                    <a:lnTo>
                      <a:pt x="1752" y="786"/>
                    </a:lnTo>
                    <a:lnTo>
                      <a:pt x="1746" y="786"/>
                    </a:lnTo>
                    <a:lnTo>
                      <a:pt x="1746" y="792"/>
                    </a:lnTo>
                    <a:lnTo>
                      <a:pt x="1746" y="798"/>
                    </a:lnTo>
                    <a:lnTo>
                      <a:pt x="1740" y="798"/>
                    </a:lnTo>
                    <a:lnTo>
                      <a:pt x="1734" y="798"/>
                    </a:lnTo>
                    <a:lnTo>
                      <a:pt x="1734" y="804"/>
                    </a:lnTo>
                    <a:lnTo>
                      <a:pt x="1728" y="804"/>
                    </a:lnTo>
                    <a:lnTo>
                      <a:pt x="1728" y="810"/>
                    </a:lnTo>
                    <a:lnTo>
                      <a:pt x="1722" y="810"/>
                    </a:lnTo>
                    <a:lnTo>
                      <a:pt x="1722" y="816"/>
                    </a:lnTo>
                    <a:lnTo>
                      <a:pt x="1722" y="822"/>
                    </a:lnTo>
                    <a:lnTo>
                      <a:pt x="1716" y="822"/>
                    </a:lnTo>
                    <a:lnTo>
                      <a:pt x="1716" y="816"/>
                    </a:lnTo>
                    <a:lnTo>
                      <a:pt x="1716" y="822"/>
                    </a:lnTo>
                    <a:lnTo>
                      <a:pt x="1710" y="822"/>
                    </a:lnTo>
                    <a:lnTo>
                      <a:pt x="1710" y="828"/>
                    </a:lnTo>
                    <a:lnTo>
                      <a:pt x="1704" y="828"/>
                    </a:lnTo>
                    <a:lnTo>
                      <a:pt x="1710" y="828"/>
                    </a:lnTo>
                    <a:lnTo>
                      <a:pt x="1704" y="828"/>
                    </a:lnTo>
                    <a:lnTo>
                      <a:pt x="1704" y="834"/>
                    </a:lnTo>
                    <a:lnTo>
                      <a:pt x="1704" y="828"/>
                    </a:lnTo>
                    <a:lnTo>
                      <a:pt x="1704" y="834"/>
                    </a:lnTo>
                    <a:lnTo>
                      <a:pt x="1698" y="834"/>
                    </a:lnTo>
                    <a:lnTo>
                      <a:pt x="1692" y="834"/>
                    </a:lnTo>
                    <a:lnTo>
                      <a:pt x="1698" y="834"/>
                    </a:lnTo>
                    <a:lnTo>
                      <a:pt x="1698" y="840"/>
                    </a:lnTo>
                    <a:lnTo>
                      <a:pt x="1692" y="840"/>
                    </a:lnTo>
                    <a:lnTo>
                      <a:pt x="1698" y="840"/>
                    </a:lnTo>
                    <a:lnTo>
                      <a:pt x="1692" y="840"/>
                    </a:lnTo>
                    <a:lnTo>
                      <a:pt x="1698" y="840"/>
                    </a:lnTo>
                    <a:lnTo>
                      <a:pt x="1698" y="846"/>
                    </a:lnTo>
                    <a:lnTo>
                      <a:pt x="1692" y="846"/>
                    </a:lnTo>
                    <a:lnTo>
                      <a:pt x="1686" y="846"/>
                    </a:lnTo>
                    <a:lnTo>
                      <a:pt x="1686" y="852"/>
                    </a:lnTo>
                    <a:lnTo>
                      <a:pt x="1680" y="852"/>
                    </a:lnTo>
                    <a:lnTo>
                      <a:pt x="1680" y="846"/>
                    </a:lnTo>
                    <a:lnTo>
                      <a:pt x="1680" y="852"/>
                    </a:lnTo>
                    <a:lnTo>
                      <a:pt x="1680" y="846"/>
                    </a:lnTo>
                    <a:lnTo>
                      <a:pt x="1680" y="852"/>
                    </a:lnTo>
                    <a:lnTo>
                      <a:pt x="1680" y="858"/>
                    </a:lnTo>
                    <a:lnTo>
                      <a:pt x="1674" y="858"/>
                    </a:lnTo>
                    <a:lnTo>
                      <a:pt x="1668" y="858"/>
                    </a:lnTo>
                    <a:lnTo>
                      <a:pt x="1674" y="858"/>
                    </a:lnTo>
                    <a:lnTo>
                      <a:pt x="1674" y="864"/>
                    </a:lnTo>
                    <a:lnTo>
                      <a:pt x="1668" y="864"/>
                    </a:lnTo>
                    <a:lnTo>
                      <a:pt x="1668" y="870"/>
                    </a:lnTo>
                    <a:lnTo>
                      <a:pt x="1662" y="870"/>
                    </a:lnTo>
                    <a:lnTo>
                      <a:pt x="1668" y="870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68" y="876"/>
                    </a:lnTo>
                    <a:lnTo>
                      <a:pt x="1662" y="876"/>
                    </a:lnTo>
                    <a:lnTo>
                      <a:pt x="1656" y="876"/>
                    </a:lnTo>
                    <a:lnTo>
                      <a:pt x="1656" y="882"/>
                    </a:lnTo>
                    <a:lnTo>
                      <a:pt x="1656" y="876"/>
                    </a:lnTo>
                    <a:lnTo>
                      <a:pt x="1656" y="882"/>
                    </a:lnTo>
                    <a:lnTo>
                      <a:pt x="1656" y="888"/>
                    </a:lnTo>
                    <a:lnTo>
                      <a:pt x="1650" y="888"/>
                    </a:lnTo>
                    <a:lnTo>
                      <a:pt x="1644" y="888"/>
                    </a:lnTo>
                    <a:lnTo>
                      <a:pt x="1644" y="882"/>
                    </a:lnTo>
                    <a:lnTo>
                      <a:pt x="1644" y="888"/>
                    </a:lnTo>
                    <a:lnTo>
                      <a:pt x="1644" y="894"/>
                    </a:lnTo>
                    <a:lnTo>
                      <a:pt x="1638" y="894"/>
                    </a:lnTo>
                    <a:lnTo>
                      <a:pt x="1632" y="894"/>
                    </a:lnTo>
                    <a:lnTo>
                      <a:pt x="1626" y="894"/>
                    </a:lnTo>
                    <a:lnTo>
                      <a:pt x="1632" y="894"/>
                    </a:lnTo>
                    <a:lnTo>
                      <a:pt x="1632" y="900"/>
                    </a:lnTo>
                    <a:lnTo>
                      <a:pt x="1626" y="900"/>
                    </a:lnTo>
                    <a:lnTo>
                      <a:pt x="1626" y="906"/>
                    </a:lnTo>
                    <a:lnTo>
                      <a:pt x="1620" y="906"/>
                    </a:lnTo>
                    <a:lnTo>
                      <a:pt x="1620" y="912"/>
                    </a:lnTo>
                    <a:lnTo>
                      <a:pt x="1620" y="906"/>
                    </a:lnTo>
                    <a:lnTo>
                      <a:pt x="1614" y="906"/>
                    </a:lnTo>
                    <a:lnTo>
                      <a:pt x="1614" y="912"/>
                    </a:lnTo>
                    <a:lnTo>
                      <a:pt x="1614" y="906"/>
                    </a:lnTo>
                    <a:lnTo>
                      <a:pt x="1608" y="906"/>
                    </a:lnTo>
                    <a:lnTo>
                      <a:pt x="1608" y="900"/>
                    </a:lnTo>
                    <a:lnTo>
                      <a:pt x="1608" y="894"/>
                    </a:lnTo>
                    <a:lnTo>
                      <a:pt x="1608" y="900"/>
                    </a:lnTo>
                    <a:lnTo>
                      <a:pt x="1608" y="906"/>
                    </a:lnTo>
                    <a:lnTo>
                      <a:pt x="1614" y="906"/>
                    </a:lnTo>
                    <a:lnTo>
                      <a:pt x="1614" y="912"/>
                    </a:lnTo>
                    <a:lnTo>
                      <a:pt x="1614" y="918"/>
                    </a:lnTo>
                    <a:lnTo>
                      <a:pt x="1608" y="918"/>
                    </a:lnTo>
                    <a:lnTo>
                      <a:pt x="1608" y="924"/>
                    </a:lnTo>
                    <a:lnTo>
                      <a:pt x="1608" y="918"/>
                    </a:lnTo>
                    <a:lnTo>
                      <a:pt x="1602" y="918"/>
                    </a:lnTo>
                    <a:lnTo>
                      <a:pt x="1602" y="924"/>
                    </a:lnTo>
                    <a:lnTo>
                      <a:pt x="1596" y="924"/>
                    </a:lnTo>
                    <a:lnTo>
                      <a:pt x="1590" y="924"/>
                    </a:lnTo>
                    <a:lnTo>
                      <a:pt x="1590" y="930"/>
                    </a:lnTo>
                    <a:lnTo>
                      <a:pt x="1584" y="930"/>
                    </a:lnTo>
                    <a:lnTo>
                      <a:pt x="1584" y="936"/>
                    </a:lnTo>
                    <a:lnTo>
                      <a:pt x="1578" y="936"/>
                    </a:lnTo>
                    <a:lnTo>
                      <a:pt x="1578" y="942"/>
                    </a:lnTo>
                    <a:lnTo>
                      <a:pt x="1578" y="936"/>
                    </a:lnTo>
                    <a:lnTo>
                      <a:pt x="1578" y="942"/>
                    </a:lnTo>
                    <a:lnTo>
                      <a:pt x="1572" y="942"/>
                    </a:lnTo>
                    <a:lnTo>
                      <a:pt x="1566" y="942"/>
                    </a:lnTo>
                    <a:lnTo>
                      <a:pt x="1560" y="942"/>
                    </a:lnTo>
                    <a:lnTo>
                      <a:pt x="1560" y="948"/>
                    </a:lnTo>
                    <a:lnTo>
                      <a:pt x="1554" y="948"/>
                    </a:lnTo>
                    <a:lnTo>
                      <a:pt x="1554" y="942"/>
                    </a:lnTo>
                    <a:lnTo>
                      <a:pt x="1554" y="948"/>
                    </a:lnTo>
                    <a:lnTo>
                      <a:pt x="1548" y="948"/>
                    </a:lnTo>
                    <a:lnTo>
                      <a:pt x="1548" y="954"/>
                    </a:lnTo>
                    <a:lnTo>
                      <a:pt x="1542" y="954"/>
                    </a:lnTo>
                    <a:lnTo>
                      <a:pt x="1542" y="948"/>
                    </a:lnTo>
                    <a:lnTo>
                      <a:pt x="1536" y="948"/>
                    </a:lnTo>
                    <a:lnTo>
                      <a:pt x="1536" y="954"/>
                    </a:lnTo>
                    <a:lnTo>
                      <a:pt x="1542" y="954"/>
                    </a:lnTo>
                    <a:lnTo>
                      <a:pt x="1542" y="960"/>
                    </a:lnTo>
                    <a:lnTo>
                      <a:pt x="1536" y="960"/>
                    </a:lnTo>
                    <a:lnTo>
                      <a:pt x="1536" y="966"/>
                    </a:lnTo>
                    <a:lnTo>
                      <a:pt x="1536" y="972"/>
                    </a:lnTo>
                    <a:lnTo>
                      <a:pt x="1536" y="978"/>
                    </a:lnTo>
                    <a:lnTo>
                      <a:pt x="1530" y="978"/>
                    </a:lnTo>
                    <a:lnTo>
                      <a:pt x="1530" y="984"/>
                    </a:lnTo>
                    <a:lnTo>
                      <a:pt x="1530" y="978"/>
                    </a:lnTo>
                    <a:lnTo>
                      <a:pt x="1530" y="984"/>
                    </a:lnTo>
                    <a:lnTo>
                      <a:pt x="1524" y="984"/>
                    </a:lnTo>
                    <a:lnTo>
                      <a:pt x="1524" y="990"/>
                    </a:lnTo>
                    <a:lnTo>
                      <a:pt x="1518" y="990"/>
                    </a:lnTo>
                    <a:lnTo>
                      <a:pt x="1518" y="996"/>
                    </a:lnTo>
                    <a:lnTo>
                      <a:pt x="1512" y="996"/>
                    </a:lnTo>
                    <a:lnTo>
                      <a:pt x="1512" y="1002"/>
                    </a:lnTo>
                    <a:lnTo>
                      <a:pt x="1506" y="1002"/>
                    </a:lnTo>
                    <a:lnTo>
                      <a:pt x="1500" y="1002"/>
                    </a:lnTo>
                    <a:lnTo>
                      <a:pt x="1500" y="1008"/>
                    </a:lnTo>
                    <a:lnTo>
                      <a:pt x="1494" y="1008"/>
                    </a:lnTo>
                    <a:lnTo>
                      <a:pt x="1494" y="1002"/>
                    </a:lnTo>
                    <a:lnTo>
                      <a:pt x="1494" y="1008"/>
                    </a:lnTo>
                    <a:lnTo>
                      <a:pt x="1494" y="1002"/>
                    </a:lnTo>
                    <a:lnTo>
                      <a:pt x="1494" y="1008"/>
                    </a:lnTo>
                    <a:lnTo>
                      <a:pt x="1488" y="1008"/>
                    </a:lnTo>
                    <a:lnTo>
                      <a:pt x="1494" y="1008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2" y="1014"/>
                    </a:lnTo>
                    <a:lnTo>
                      <a:pt x="1482" y="1008"/>
                    </a:lnTo>
                    <a:lnTo>
                      <a:pt x="1482" y="1014"/>
                    </a:lnTo>
                    <a:lnTo>
                      <a:pt x="1488" y="1014"/>
                    </a:lnTo>
                    <a:lnTo>
                      <a:pt x="1488" y="1008"/>
                    </a:lnTo>
                    <a:lnTo>
                      <a:pt x="1488" y="1014"/>
                    </a:lnTo>
                    <a:lnTo>
                      <a:pt x="1488" y="1020"/>
                    </a:lnTo>
                    <a:lnTo>
                      <a:pt x="1482" y="1020"/>
                    </a:lnTo>
                    <a:lnTo>
                      <a:pt x="1482" y="1026"/>
                    </a:lnTo>
                    <a:lnTo>
                      <a:pt x="1476" y="1026"/>
                    </a:lnTo>
                    <a:lnTo>
                      <a:pt x="1470" y="1026"/>
                    </a:lnTo>
                    <a:lnTo>
                      <a:pt x="1464" y="1026"/>
                    </a:lnTo>
                    <a:lnTo>
                      <a:pt x="1470" y="1026"/>
                    </a:lnTo>
                    <a:lnTo>
                      <a:pt x="1476" y="1026"/>
                    </a:lnTo>
                    <a:lnTo>
                      <a:pt x="1482" y="1026"/>
                    </a:lnTo>
                    <a:lnTo>
                      <a:pt x="1476" y="1026"/>
                    </a:lnTo>
                    <a:lnTo>
                      <a:pt x="1476" y="1032"/>
                    </a:lnTo>
                    <a:lnTo>
                      <a:pt x="1470" y="1032"/>
                    </a:lnTo>
                    <a:lnTo>
                      <a:pt x="1464" y="1032"/>
                    </a:lnTo>
                    <a:lnTo>
                      <a:pt x="1464" y="1038"/>
                    </a:lnTo>
                    <a:lnTo>
                      <a:pt x="1458" y="1038"/>
                    </a:lnTo>
                    <a:lnTo>
                      <a:pt x="1452" y="1038"/>
                    </a:lnTo>
                    <a:lnTo>
                      <a:pt x="1452" y="1044"/>
                    </a:lnTo>
                    <a:lnTo>
                      <a:pt x="1446" y="1044"/>
                    </a:lnTo>
                    <a:lnTo>
                      <a:pt x="1446" y="1050"/>
                    </a:lnTo>
                    <a:lnTo>
                      <a:pt x="1440" y="1050"/>
                    </a:lnTo>
                    <a:lnTo>
                      <a:pt x="1434" y="1050"/>
                    </a:lnTo>
                    <a:lnTo>
                      <a:pt x="1428" y="1050"/>
                    </a:lnTo>
                    <a:lnTo>
                      <a:pt x="1428" y="1056"/>
                    </a:lnTo>
                    <a:lnTo>
                      <a:pt x="1422" y="1056"/>
                    </a:lnTo>
                    <a:lnTo>
                      <a:pt x="1422" y="1062"/>
                    </a:lnTo>
                    <a:lnTo>
                      <a:pt x="1416" y="1062"/>
                    </a:lnTo>
                    <a:lnTo>
                      <a:pt x="1422" y="1062"/>
                    </a:lnTo>
                    <a:lnTo>
                      <a:pt x="1416" y="1062"/>
                    </a:lnTo>
                    <a:lnTo>
                      <a:pt x="1416" y="1068"/>
                    </a:lnTo>
                    <a:lnTo>
                      <a:pt x="1410" y="1068"/>
                    </a:lnTo>
                    <a:lnTo>
                      <a:pt x="1410" y="1074"/>
                    </a:lnTo>
                    <a:lnTo>
                      <a:pt x="1404" y="1074"/>
                    </a:lnTo>
                    <a:lnTo>
                      <a:pt x="1404" y="1080"/>
                    </a:lnTo>
                    <a:lnTo>
                      <a:pt x="1398" y="1080"/>
                    </a:lnTo>
                    <a:lnTo>
                      <a:pt x="1398" y="1086"/>
                    </a:lnTo>
                    <a:lnTo>
                      <a:pt x="1392" y="1086"/>
                    </a:lnTo>
                    <a:lnTo>
                      <a:pt x="1386" y="1086"/>
                    </a:lnTo>
                    <a:lnTo>
                      <a:pt x="1386" y="1092"/>
                    </a:lnTo>
                    <a:lnTo>
                      <a:pt x="1380" y="1092"/>
                    </a:lnTo>
                    <a:lnTo>
                      <a:pt x="1380" y="1086"/>
                    </a:lnTo>
                    <a:lnTo>
                      <a:pt x="1380" y="1092"/>
                    </a:lnTo>
                    <a:lnTo>
                      <a:pt x="1374" y="1092"/>
                    </a:lnTo>
                    <a:lnTo>
                      <a:pt x="1374" y="1098"/>
                    </a:lnTo>
                    <a:lnTo>
                      <a:pt x="1368" y="1098"/>
                    </a:lnTo>
                    <a:lnTo>
                      <a:pt x="1368" y="1104"/>
                    </a:lnTo>
                    <a:lnTo>
                      <a:pt x="1362" y="1104"/>
                    </a:lnTo>
                    <a:lnTo>
                      <a:pt x="1356" y="1104"/>
                    </a:lnTo>
                    <a:lnTo>
                      <a:pt x="1356" y="1110"/>
                    </a:lnTo>
                    <a:lnTo>
                      <a:pt x="1350" y="1110"/>
                    </a:lnTo>
                    <a:lnTo>
                      <a:pt x="1350" y="1104"/>
                    </a:lnTo>
                    <a:lnTo>
                      <a:pt x="1350" y="1110"/>
                    </a:lnTo>
                    <a:lnTo>
                      <a:pt x="1344" y="1110"/>
                    </a:lnTo>
                    <a:lnTo>
                      <a:pt x="1344" y="1104"/>
                    </a:lnTo>
                    <a:lnTo>
                      <a:pt x="1344" y="1110"/>
                    </a:lnTo>
                    <a:lnTo>
                      <a:pt x="1350" y="1110"/>
                    </a:lnTo>
                    <a:lnTo>
                      <a:pt x="1356" y="1110"/>
                    </a:lnTo>
                    <a:lnTo>
                      <a:pt x="1350" y="1110"/>
                    </a:lnTo>
                    <a:lnTo>
                      <a:pt x="1350" y="1116"/>
                    </a:lnTo>
                    <a:lnTo>
                      <a:pt x="1344" y="1116"/>
                    </a:lnTo>
                    <a:lnTo>
                      <a:pt x="1344" y="1122"/>
                    </a:lnTo>
                    <a:lnTo>
                      <a:pt x="1338" y="1122"/>
                    </a:lnTo>
                    <a:lnTo>
                      <a:pt x="1338" y="1128"/>
                    </a:lnTo>
                    <a:lnTo>
                      <a:pt x="1332" y="1128"/>
                    </a:lnTo>
                    <a:lnTo>
                      <a:pt x="1326" y="1128"/>
                    </a:lnTo>
                    <a:lnTo>
                      <a:pt x="1326" y="1134"/>
                    </a:lnTo>
                    <a:lnTo>
                      <a:pt x="1320" y="1134"/>
                    </a:lnTo>
                    <a:lnTo>
                      <a:pt x="1314" y="1134"/>
                    </a:lnTo>
                    <a:lnTo>
                      <a:pt x="1314" y="1140"/>
                    </a:lnTo>
                    <a:lnTo>
                      <a:pt x="1308" y="1140"/>
                    </a:lnTo>
                    <a:lnTo>
                      <a:pt x="1308" y="1146"/>
                    </a:lnTo>
                    <a:lnTo>
                      <a:pt x="1308" y="1140"/>
                    </a:lnTo>
                    <a:lnTo>
                      <a:pt x="1308" y="1146"/>
                    </a:lnTo>
                    <a:lnTo>
                      <a:pt x="1302" y="1146"/>
                    </a:lnTo>
                    <a:lnTo>
                      <a:pt x="1296" y="1146"/>
                    </a:lnTo>
                    <a:lnTo>
                      <a:pt x="1296" y="1152"/>
                    </a:lnTo>
                    <a:lnTo>
                      <a:pt x="1290" y="1152"/>
                    </a:lnTo>
                    <a:lnTo>
                      <a:pt x="1290" y="1158"/>
                    </a:lnTo>
                    <a:lnTo>
                      <a:pt x="1284" y="1158"/>
                    </a:lnTo>
                    <a:lnTo>
                      <a:pt x="1278" y="1158"/>
                    </a:lnTo>
                    <a:lnTo>
                      <a:pt x="1278" y="1164"/>
                    </a:lnTo>
                    <a:lnTo>
                      <a:pt x="1278" y="1170"/>
                    </a:lnTo>
                    <a:lnTo>
                      <a:pt x="1272" y="1170"/>
                    </a:lnTo>
                    <a:lnTo>
                      <a:pt x="1266" y="1170"/>
                    </a:lnTo>
                    <a:lnTo>
                      <a:pt x="1260" y="1170"/>
                    </a:lnTo>
                    <a:lnTo>
                      <a:pt x="1260" y="1176"/>
                    </a:lnTo>
                    <a:lnTo>
                      <a:pt x="1254" y="1176"/>
                    </a:lnTo>
                    <a:lnTo>
                      <a:pt x="1254" y="1182"/>
                    </a:lnTo>
                    <a:lnTo>
                      <a:pt x="1254" y="1176"/>
                    </a:lnTo>
                    <a:lnTo>
                      <a:pt x="1248" y="1176"/>
                    </a:lnTo>
                    <a:lnTo>
                      <a:pt x="1254" y="1176"/>
                    </a:lnTo>
                    <a:lnTo>
                      <a:pt x="1254" y="1182"/>
                    </a:lnTo>
                    <a:lnTo>
                      <a:pt x="1248" y="1182"/>
                    </a:lnTo>
                    <a:lnTo>
                      <a:pt x="1248" y="1188"/>
                    </a:lnTo>
                    <a:lnTo>
                      <a:pt x="1242" y="1188"/>
                    </a:lnTo>
                    <a:lnTo>
                      <a:pt x="1236" y="1188"/>
                    </a:lnTo>
                    <a:lnTo>
                      <a:pt x="1236" y="1194"/>
                    </a:lnTo>
                    <a:lnTo>
                      <a:pt x="1230" y="1194"/>
                    </a:lnTo>
                    <a:lnTo>
                      <a:pt x="1224" y="1194"/>
                    </a:lnTo>
                    <a:lnTo>
                      <a:pt x="1224" y="1200"/>
                    </a:lnTo>
                    <a:lnTo>
                      <a:pt x="1218" y="1200"/>
                    </a:lnTo>
                    <a:lnTo>
                      <a:pt x="1218" y="1206"/>
                    </a:lnTo>
                    <a:lnTo>
                      <a:pt x="1212" y="1206"/>
                    </a:lnTo>
                    <a:lnTo>
                      <a:pt x="1206" y="1206"/>
                    </a:lnTo>
                    <a:lnTo>
                      <a:pt x="1200" y="1206"/>
                    </a:lnTo>
                    <a:lnTo>
                      <a:pt x="1194" y="1206"/>
                    </a:lnTo>
                    <a:lnTo>
                      <a:pt x="1194" y="1212"/>
                    </a:lnTo>
                    <a:lnTo>
                      <a:pt x="1188" y="1212"/>
                    </a:lnTo>
                    <a:lnTo>
                      <a:pt x="1188" y="1218"/>
                    </a:lnTo>
                    <a:lnTo>
                      <a:pt x="1182" y="1218"/>
                    </a:lnTo>
                    <a:lnTo>
                      <a:pt x="1182" y="1224"/>
                    </a:lnTo>
                    <a:lnTo>
                      <a:pt x="1176" y="1224"/>
                    </a:lnTo>
                    <a:lnTo>
                      <a:pt x="1170" y="1224"/>
                    </a:lnTo>
                    <a:lnTo>
                      <a:pt x="1164" y="1224"/>
                    </a:lnTo>
                    <a:lnTo>
                      <a:pt x="1158" y="1224"/>
                    </a:lnTo>
                    <a:lnTo>
                      <a:pt x="1152" y="1224"/>
                    </a:lnTo>
                    <a:lnTo>
                      <a:pt x="1152" y="1230"/>
                    </a:lnTo>
                    <a:lnTo>
                      <a:pt x="1146" y="1230"/>
                    </a:lnTo>
                    <a:lnTo>
                      <a:pt x="1140" y="1230"/>
                    </a:lnTo>
                    <a:lnTo>
                      <a:pt x="1140" y="1236"/>
                    </a:lnTo>
                    <a:lnTo>
                      <a:pt x="1134" y="1236"/>
                    </a:lnTo>
                    <a:lnTo>
                      <a:pt x="1128" y="1236"/>
                    </a:lnTo>
                    <a:lnTo>
                      <a:pt x="1128" y="1242"/>
                    </a:lnTo>
                    <a:lnTo>
                      <a:pt x="1122" y="1242"/>
                    </a:lnTo>
                    <a:lnTo>
                      <a:pt x="1122" y="1248"/>
                    </a:lnTo>
                    <a:lnTo>
                      <a:pt x="1116" y="1248"/>
                    </a:lnTo>
                    <a:lnTo>
                      <a:pt x="1110" y="1248"/>
                    </a:lnTo>
                    <a:lnTo>
                      <a:pt x="1110" y="1254"/>
                    </a:lnTo>
                    <a:lnTo>
                      <a:pt x="1104" y="1254"/>
                    </a:lnTo>
                    <a:lnTo>
                      <a:pt x="1098" y="1254"/>
                    </a:lnTo>
                    <a:lnTo>
                      <a:pt x="1092" y="1254"/>
                    </a:lnTo>
                    <a:lnTo>
                      <a:pt x="1092" y="1260"/>
                    </a:lnTo>
                    <a:lnTo>
                      <a:pt x="1086" y="1260"/>
                    </a:lnTo>
                    <a:lnTo>
                      <a:pt x="1086" y="1266"/>
                    </a:lnTo>
                    <a:lnTo>
                      <a:pt x="1080" y="1266"/>
                    </a:lnTo>
                    <a:lnTo>
                      <a:pt x="1074" y="1266"/>
                    </a:lnTo>
                    <a:lnTo>
                      <a:pt x="1068" y="1266"/>
                    </a:lnTo>
                    <a:lnTo>
                      <a:pt x="1068" y="1272"/>
                    </a:lnTo>
                    <a:lnTo>
                      <a:pt x="1062" y="1272"/>
                    </a:lnTo>
                    <a:lnTo>
                      <a:pt x="1056" y="1272"/>
                    </a:lnTo>
                    <a:lnTo>
                      <a:pt x="1056" y="1266"/>
                    </a:lnTo>
                    <a:lnTo>
                      <a:pt x="1050" y="1266"/>
                    </a:lnTo>
                    <a:lnTo>
                      <a:pt x="1044" y="1266"/>
                    </a:lnTo>
                    <a:lnTo>
                      <a:pt x="1038" y="1266"/>
                    </a:lnTo>
                    <a:lnTo>
                      <a:pt x="1032" y="1266"/>
                    </a:lnTo>
                    <a:lnTo>
                      <a:pt x="1026" y="1266"/>
                    </a:lnTo>
                    <a:lnTo>
                      <a:pt x="1020" y="1266"/>
                    </a:lnTo>
                    <a:lnTo>
                      <a:pt x="1014" y="1266"/>
                    </a:lnTo>
                    <a:lnTo>
                      <a:pt x="1008" y="1266"/>
                    </a:lnTo>
                    <a:lnTo>
                      <a:pt x="1008" y="1260"/>
                    </a:lnTo>
                    <a:lnTo>
                      <a:pt x="1002" y="1260"/>
                    </a:lnTo>
                    <a:lnTo>
                      <a:pt x="996" y="1260"/>
                    </a:lnTo>
                    <a:lnTo>
                      <a:pt x="990" y="1260"/>
                    </a:lnTo>
                    <a:lnTo>
                      <a:pt x="990" y="1254"/>
                    </a:lnTo>
                    <a:lnTo>
                      <a:pt x="984" y="1254"/>
                    </a:lnTo>
                    <a:lnTo>
                      <a:pt x="978" y="1254"/>
                    </a:lnTo>
                    <a:lnTo>
                      <a:pt x="972" y="1254"/>
                    </a:lnTo>
                    <a:lnTo>
                      <a:pt x="972" y="1248"/>
                    </a:lnTo>
                    <a:lnTo>
                      <a:pt x="966" y="1248"/>
                    </a:lnTo>
                    <a:lnTo>
                      <a:pt x="960" y="1248"/>
                    </a:lnTo>
                    <a:lnTo>
                      <a:pt x="954" y="1248"/>
                    </a:lnTo>
                    <a:lnTo>
                      <a:pt x="948" y="1248"/>
                    </a:lnTo>
                    <a:lnTo>
                      <a:pt x="942" y="1248"/>
                    </a:lnTo>
                    <a:lnTo>
                      <a:pt x="936" y="1248"/>
                    </a:lnTo>
                    <a:lnTo>
                      <a:pt x="930" y="1248"/>
                    </a:lnTo>
                    <a:lnTo>
                      <a:pt x="924" y="1248"/>
                    </a:lnTo>
                    <a:lnTo>
                      <a:pt x="918" y="1248"/>
                    </a:lnTo>
                    <a:lnTo>
                      <a:pt x="912" y="1248"/>
                    </a:lnTo>
                    <a:lnTo>
                      <a:pt x="906" y="1248"/>
                    </a:lnTo>
                    <a:lnTo>
                      <a:pt x="900" y="1248"/>
                    </a:lnTo>
                    <a:lnTo>
                      <a:pt x="894" y="1248"/>
                    </a:lnTo>
                    <a:lnTo>
                      <a:pt x="894" y="1254"/>
                    </a:lnTo>
                    <a:lnTo>
                      <a:pt x="888" y="1254"/>
                    </a:lnTo>
                    <a:lnTo>
                      <a:pt x="882" y="1254"/>
                    </a:lnTo>
                    <a:lnTo>
                      <a:pt x="876" y="1254"/>
                    </a:lnTo>
                    <a:lnTo>
                      <a:pt x="876" y="1260"/>
                    </a:lnTo>
                    <a:lnTo>
                      <a:pt x="870" y="1260"/>
                    </a:lnTo>
                    <a:lnTo>
                      <a:pt x="864" y="1260"/>
                    </a:lnTo>
                    <a:lnTo>
                      <a:pt x="864" y="1266"/>
                    </a:lnTo>
                    <a:lnTo>
                      <a:pt x="858" y="1266"/>
                    </a:lnTo>
                    <a:lnTo>
                      <a:pt x="858" y="1272"/>
                    </a:lnTo>
                    <a:lnTo>
                      <a:pt x="852" y="1272"/>
                    </a:lnTo>
                    <a:lnTo>
                      <a:pt x="846" y="1272"/>
                    </a:lnTo>
                    <a:lnTo>
                      <a:pt x="846" y="1278"/>
                    </a:lnTo>
                    <a:lnTo>
                      <a:pt x="840" y="1278"/>
                    </a:lnTo>
                    <a:lnTo>
                      <a:pt x="840" y="1284"/>
                    </a:lnTo>
                    <a:lnTo>
                      <a:pt x="834" y="1284"/>
                    </a:lnTo>
                    <a:lnTo>
                      <a:pt x="834" y="1290"/>
                    </a:lnTo>
                    <a:lnTo>
                      <a:pt x="828" y="1290"/>
                    </a:lnTo>
                    <a:lnTo>
                      <a:pt x="828" y="1296"/>
                    </a:lnTo>
                    <a:lnTo>
                      <a:pt x="828" y="1302"/>
                    </a:lnTo>
                    <a:lnTo>
                      <a:pt x="822" y="1302"/>
                    </a:lnTo>
                    <a:lnTo>
                      <a:pt x="822" y="1308"/>
                    </a:lnTo>
                    <a:lnTo>
                      <a:pt x="822" y="1314"/>
                    </a:lnTo>
                    <a:lnTo>
                      <a:pt x="822" y="1320"/>
                    </a:lnTo>
                    <a:lnTo>
                      <a:pt x="822" y="1326"/>
                    </a:lnTo>
                    <a:lnTo>
                      <a:pt x="822" y="1332"/>
                    </a:lnTo>
                    <a:lnTo>
                      <a:pt x="828" y="1332"/>
                    </a:lnTo>
                    <a:lnTo>
                      <a:pt x="822" y="1332"/>
                    </a:lnTo>
                    <a:lnTo>
                      <a:pt x="828" y="1332"/>
                    </a:lnTo>
                    <a:lnTo>
                      <a:pt x="828" y="1338"/>
                    </a:lnTo>
                    <a:lnTo>
                      <a:pt x="834" y="1338"/>
                    </a:lnTo>
                    <a:lnTo>
                      <a:pt x="834" y="1344"/>
                    </a:lnTo>
                    <a:lnTo>
                      <a:pt x="840" y="1344"/>
                    </a:lnTo>
                    <a:lnTo>
                      <a:pt x="840" y="1350"/>
                    </a:lnTo>
                    <a:lnTo>
                      <a:pt x="846" y="1350"/>
                    </a:lnTo>
                    <a:lnTo>
                      <a:pt x="846" y="1356"/>
                    </a:lnTo>
                    <a:lnTo>
                      <a:pt x="840" y="1356"/>
                    </a:lnTo>
                    <a:lnTo>
                      <a:pt x="846" y="1356"/>
                    </a:lnTo>
                    <a:lnTo>
                      <a:pt x="840" y="1356"/>
                    </a:lnTo>
                    <a:lnTo>
                      <a:pt x="834" y="1356"/>
                    </a:lnTo>
                    <a:lnTo>
                      <a:pt x="828" y="1356"/>
                    </a:lnTo>
                    <a:lnTo>
                      <a:pt x="828" y="1362"/>
                    </a:lnTo>
                    <a:lnTo>
                      <a:pt x="822" y="1362"/>
                    </a:lnTo>
                    <a:lnTo>
                      <a:pt x="816" y="1362"/>
                    </a:lnTo>
                    <a:lnTo>
                      <a:pt x="810" y="1362"/>
                    </a:lnTo>
                    <a:lnTo>
                      <a:pt x="804" y="1362"/>
                    </a:lnTo>
                    <a:lnTo>
                      <a:pt x="798" y="1362"/>
                    </a:lnTo>
                    <a:lnTo>
                      <a:pt x="798" y="1356"/>
                    </a:lnTo>
                    <a:lnTo>
                      <a:pt x="792" y="1356"/>
                    </a:lnTo>
                    <a:lnTo>
                      <a:pt x="786" y="1356"/>
                    </a:lnTo>
                    <a:lnTo>
                      <a:pt x="780" y="1356"/>
                    </a:lnTo>
                    <a:lnTo>
                      <a:pt x="774" y="1356"/>
                    </a:lnTo>
                    <a:lnTo>
                      <a:pt x="768" y="1356"/>
                    </a:lnTo>
                    <a:lnTo>
                      <a:pt x="762" y="1356"/>
                    </a:lnTo>
                    <a:lnTo>
                      <a:pt x="756" y="1356"/>
                    </a:lnTo>
                    <a:lnTo>
                      <a:pt x="756" y="1350"/>
                    </a:lnTo>
                    <a:lnTo>
                      <a:pt x="750" y="1350"/>
                    </a:lnTo>
                    <a:lnTo>
                      <a:pt x="744" y="1350"/>
                    </a:lnTo>
                    <a:lnTo>
                      <a:pt x="738" y="1350"/>
                    </a:lnTo>
                    <a:lnTo>
                      <a:pt x="738" y="1344"/>
                    </a:lnTo>
                    <a:lnTo>
                      <a:pt x="732" y="1344"/>
                    </a:lnTo>
                    <a:lnTo>
                      <a:pt x="726" y="1344"/>
                    </a:lnTo>
                    <a:lnTo>
                      <a:pt x="726" y="1338"/>
                    </a:lnTo>
                    <a:lnTo>
                      <a:pt x="720" y="1338"/>
                    </a:lnTo>
                    <a:lnTo>
                      <a:pt x="714" y="1338"/>
                    </a:lnTo>
                    <a:lnTo>
                      <a:pt x="708" y="1338"/>
                    </a:lnTo>
                    <a:lnTo>
                      <a:pt x="708" y="1332"/>
                    </a:lnTo>
                    <a:lnTo>
                      <a:pt x="702" y="1332"/>
                    </a:lnTo>
                    <a:lnTo>
                      <a:pt x="696" y="1332"/>
                    </a:lnTo>
                    <a:lnTo>
                      <a:pt x="690" y="1332"/>
                    </a:lnTo>
                    <a:lnTo>
                      <a:pt x="684" y="1332"/>
                    </a:lnTo>
                    <a:lnTo>
                      <a:pt x="678" y="1332"/>
                    </a:lnTo>
                    <a:lnTo>
                      <a:pt x="672" y="1332"/>
                    </a:lnTo>
                    <a:lnTo>
                      <a:pt x="666" y="1332"/>
                    </a:lnTo>
                    <a:lnTo>
                      <a:pt x="660" y="1332"/>
                    </a:lnTo>
                    <a:lnTo>
                      <a:pt x="660" y="1338"/>
                    </a:lnTo>
                    <a:lnTo>
                      <a:pt x="660" y="1332"/>
                    </a:lnTo>
                    <a:lnTo>
                      <a:pt x="654" y="1332"/>
                    </a:lnTo>
                    <a:lnTo>
                      <a:pt x="654" y="1338"/>
                    </a:lnTo>
                    <a:lnTo>
                      <a:pt x="648" y="1338"/>
                    </a:lnTo>
                    <a:lnTo>
                      <a:pt x="642" y="1338"/>
                    </a:lnTo>
                    <a:lnTo>
                      <a:pt x="636" y="1338"/>
                    </a:lnTo>
                    <a:lnTo>
                      <a:pt x="636" y="1344"/>
                    </a:lnTo>
                    <a:lnTo>
                      <a:pt x="630" y="1344"/>
                    </a:lnTo>
                    <a:lnTo>
                      <a:pt x="630" y="1350"/>
                    </a:lnTo>
                    <a:lnTo>
                      <a:pt x="624" y="1350"/>
                    </a:lnTo>
                    <a:lnTo>
                      <a:pt x="624" y="1356"/>
                    </a:lnTo>
                    <a:lnTo>
                      <a:pt x="630" y="1356"/>
                    </a:lnTo>
                    <a:lnTo>
                      <a:pt x="630" y="1362"/>
                    </a:lnTo>
                    <a:lnTo>
                      <a:pt x="624" y="1362"/>
                    </a:lnTo>
                    <a:lnTo>
                      <a:pt x="624" y="1368"/>
                    </a:lnTo>
                    <a:lnTo>
                      <a:pt x="624" y="1374"/>
                    </a:lnTo>
                    <a:lnTo>
                      <a:pt x="618" y="1374"/>
                    </a:lnTo>
                    <a:lnTo>
                      <a:pt x="618" y="1380"/>
                    </a:lnTo>
                    <a:lnTo>
                      <a:pt x="612" y="1380"/>
                    </a:lnTo>
                    <a:lnTo>
                      <a:pt x="612" y="1386"/>
                    </a:lnTo>
                    <a:lnTo>
                      <a:pt x="606" y="1386"/>
                    </a:lnTo>
                    <a:lnTo>
                      <a:pt x="606" y="1392"/>
                    </a:lnTo>
                    <a:lnTo>
                      <a:pt x="600" y="1392"/>
                    </a:lnTo>
                    <a:lnTo>
                      <a:pt x="600" y="1398"/>
                    </a:lnTo>
                    <a:lnTo>
                      <a:pt x="600" y="1404"/>
                    </a:lnTo>
                    <a:lnTo>
                      <a:pt x="606" y="1404"/>
                    </a:lnTo>
                    <a:lnTo>
                      <a:pt x="606" y="1410"/>
                    </a:lnTo>
                    <a:lnTo>
                      <a:pt x="612" y="1410"/>
                    </a:lnTo>
                    <a:lnTo>
                      <a:pt x="606" y="1410"/>
                    </a:lnTo>
                    <a:lnTo>
                      <a:pt x="600" y="1410"/>
                    </a:lnTo>
                    <a:lnTo>
                      <a:pt x="600" y="1416"/>
                    </a:lnTo>
                    <a:lnTo>
                      <a:pt x="594" y="1416"/>
                    </a:lnTo>
                    <a:lnTo>
                      <a:pt x="588" y="1416"/>
                    </a:lnTo>
                    <a:lnTo>
                      <a:pt x="588" y="1410"/>
                    </a:lnTo>
                    <a:lnTo>
                      <a:pt x="588" y="1416"/>
                    </a:lnTo>
                    <a:lnTo>
                      <a:pt x="582" y="1416"/>
                    </a:lnTo>
                    <a:lnTo>
                      <a:pt x="582" y="1410"/>
                    </a:lnTo>
                    <a:lnTo>
                      <a:pt x="576" y="1410"/>
                    </a:lnTo>
                    <a:lnTo>
                      <a:pt x="570" y="1410"/>
                    </a:lnTo>
                    <a:lnTo>
                      <a:pt x="564" y="1410"/>
                    </a:lnTo>
                    <a:lnTo>
                      <a:pt x="558" y="1410"/>
                    </a:lnTo>
                    <a:lnTo>
                      <a:pt x="558" y="1404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40" y="1404"/>
                    </a:lnTo>
                    <a:lnTo>
                      <a:pt x="534" y="1404"/>
                    </a:lnTo>
                    <a:lnTo>
                      <a:pt x="534" y="1410"/>
                    </a:lnTo>
                    <a:lnTo>
                      <a:pt x="528" y="1410"/>
                    </a:lnTo>
                    <a:lnTo>
                      <a:pt x="528" y="1404"/>
                    </a:lnTo>
                    <a:lnTo>
                      <a:pt x="522" y="1404"/>
                    </a:lnTo>
                    <a:lnTo>
                      <a:pt x="516" y="1404"/>
                    </a:lnTo>
                    <a:lnTo>
                      <a:pt x="510" y="1404"/>
                    </a:lnTo>
                    <a:lnTo>
                      <a:pt x="504" y="1404"/>
                    </a:lnTo>
                    <a:lnTo>
                      <a:pt x="498" y="1404"/>
                    </a:lnTo>
                    <a:lnTo>
                      <a:pt x="498" y="1398"/>
                    </a:lnTo>
                    <a:lnTo>
                      <a:pt x="492" y="1398"/>
                    </a:lnTo>
                    <a:lnTo>
                      <a:pt x="492" y="1392"/>
                    </a:lnTo>
                    <a:lnTo>
                      <a:pt x="486" y="1392"/>
                    </a:lnTo>
                    <a:lnTo>
                      <a:pt x="492" y="1392"/>
                    </a:lnTo>
                    <a:lnTo>
                      <a:pt x="486" y="1392"/>
                    </a:lnTo>
                    <a:lnTo>
                      <a:pt x="486" y="1386"/>
                    </a:lnTo>
                    <a:lnTo>
                      <a:pt x="480" y="1386"/>
                    </a:lnTo>
                    <a:lnTo>
                      <a:pt x="474" y="1386"/>
                    </a:lnTo>
                    <a:lnTo>
                      <a:pt x="474" y="1380"/>
                    </a:lnTo>
                    <a:lnTo>
                      <a:pt x="468" y="1380"/>
                    </a:lnTo>
                    <a:lnTo>
                      <a:pt x="462" y="1380"/>
                    </a:lnTo>
                    <a:lnTo>
                      <a:pt x="456" y="1380"/>
                    </a:lnTo>
                    <a:lnTo>
                      <a:pt x="450" y="1380"/>
                    </a:lnTo>
                    <a:lnTo>
                      <a:pt x="444" y="1380"/>
                    </a:lnTo>
                    <a:lnTo>
                      <a:pt x="444" y="1374"/>
                    </a:lnTo>
                    <a:lnTo>
                      <a:pt x="438" y="1374"/>
                    </a:lnTo>
                    <a:lnTo>
                      <a:pt x="432" y="1374"/>
                    </a:lnTo>
                    <a:lnTo>
                      <a:pt x="426" y="1374"/>
                    </a:lnTo>
                    <a:lnTo>
                      <a:pt x="426" y="1368"/>
                    </a:lnTo>
                    <a:lnTo>
                      <a:pt x="420" y="1368"/>
                    </a:lnTo>
                    <a:lnTo>
                      <a:pt x="414" y="1368"/>
                    </a:lnTo>
                    <a:lnTo>
                      <a:pt x="414" y="1362"/>
                    </a:lnTo>
                    <a:lnTo>
                      <a:pt x="414" y="1368"/>
                    </a:lnTo>
                    <a:lnTo>
                      <a:pt x="414" y="1362"/>
                    </a:lnTo>
                    <a:lnTo>
                      <a:pt x="414" y="1368"/>
                    </a:lnTo>
                    <a:lnTo>
                      <a:pt x="408" y="1368"/>
                    </a:lnTo>
                    <a:lnTo>
                      <a:pt x="408" y="1362"/>
                    </a:lnTo>
                    <a:lnTo>
                      <a:pt x="402" y="1362"/>
                    </a:lnTo>
                    <a:lnTo>
                      <a:pt x="396" y="1362"/>
                    </a:lnTo>
                    <a:lnTo>
                      <a:pt x="390" y="1362"/>
                    </a:lnTo>
                    <a:lnTo>
                      <a:pt x="384" y="1362"/>
                    </a:lnTo>
                    <a:lnTo>
                      <a:pt x="378" y="1362"/>
                    </a:lnTo>
                    <a:lnTo>
                      <a:pt x="372" y="1362"/>
                    </a:lnTo>
                    <a:lnTo>
                      <a:pt x="366" y="1362"/>
                    </a:lnTo>
                    <a:lnTo>
                      <a:pt x="366" y="1356"/>
                    </a:lnTo>
                    <a:lnTo>
                      <a:pt x="366" y="1362"/>
                    </a:lnTo>
                    <a:lnTo>
                      <a:pt x="366" y="1356"/>
                    </a:lnTo>
                    <a:lnTo>
                      <a:pt x="360" y="1356"/>
                    </a:lnTo>
                    <a:lnTo>
                      <a:pt x="354" y="1356"/>
                    </a:lnTo>
                    <a:lnTo>
                      <a:pt x="348" y="1356"/>
                    </a:lnTo>
                    <a:lnTo>
                      <a:pt x="342" y="1356"/>
                    </a:lnTo>
                    <a:lnTo>
                      <a:pt x="336" y="1356"/>
                    </a:lnTo>
                    <a:lnTo>
                      <a:pt x="330" y="1356"/>
                    </a:lnTo>
                    <a:lnTo>
                      <a:pt x="324" y="1356"/>
                    </a:lnTo>
                    <a:lnTo>
                      <a:pt x="318" y="1356"/>
                    </a:lnTo>
                    <a:lnTo>
                      <a:pt x="318" y="1350"/>
                    </a:lnTo>
                    <a:lnTo>
                      <a:pt x="312" y="1350"/>
                    </a:lnTo>
                    <a:lnTo>
                      <a:pt x="306" y="1350"/>
                    </a:lnTo>
                    <a:lnTo>
                      <a:pt x="300" y="1350"/>
                    </a:lnTo>
                    <a:lnTo>
                      <a:pt x="294" y="1350"/>
                    </a:lnTo>
                    <a:lnTo>
                      <a:pt x="294" y="1344"/>
                    </a:lnTo>
                    <a:lnTo>
                      <a:pt x="288" y="1344"/>
                    </a:lnTo>
                    <a:lnTo>
                      <a:pt x="282" y="1344"/>
                    </a:lnTo>
                    <a:lnTo>
                      <a:pt x="276" y="1344"/>
                    </a:lnTo>
                    <a:lnTo>
                      <a:pt x="270" y="1344"/>
                    </a:lnTo>
                    <a:lnTo>
                      <a:pt x="270" y="1338"/>
                    </a:lnTo>
                    <a:lnTo>
                      <a:pt x="270" y="1344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64" y="1344"/>
                    </a:lnTo>
                    <a:lnTo>
                      <a:pt x="264" y="1338"/>
                    </a:lnTo>
                    <a:lnTo>
                      <a:pt x="258" y="1332"/>
                    </a:lnTo>
                    <a:lnTo>
                      <a:pt x="258" y="1326"/>
                    </a:lnTo>
                    <a:lnTo>
                      <a:pt x="270" y="1308"/>
                    </a:lnTo>
                    <a:lnTo>
                      <a:pt x="276" y="1308"/>
                    </a:lnTo>
                    <a:lnTo>
                      <a:pt x="276" y="1302"/>
                    </a:lnTo>
                    <a:lnTo>
                      <a:pt x="264" y="1302"/>
                    </a:lnTo>
                    <a:lnTo>
                      <a:pt x="234" y="1290"/>
                    </a:lnTo>
                    <a:lnTo>
                      <a:pt x="234" y="1272"/>
                    </a:lnTo>
                    <a:lnTo>
                      <a:pt x="228" y="1272"/>
                    </a:lnTo>
                    <a:lnTo>
                      <a:pt x="222" y="1272"/>
                    </a:lnTo>
                    <a:lnTo>
                      <a:pt x="210" y="1278"/>
                    </a:lnTo>
                    <a:lnTo>
                      <a:pt x="186" y="1272"/>
                    </a:lnTo>
                    <a:lnTo>
                      <a:pt x="198" y="1260"/>
                    </a:lnTo>
                    <a:lnTo>
                      <a:pt x="198" y="1254"/>
                    </a:lnTo>
                    <a:lnTo>
                      <a:pt x="198" y="1248"/>
                    </a:lnTo>
                    <a:lnTo>
                      <a:pt x="228" y="1242"/>
                    </a:lnTo>
                    <a:lnTo>
                      <a:pt x="234" y="1230"/>
                    </a:lnTo>
                    <a:lnTo>
                      <a:pt x="240" y="1236"/>
                    </a:lnTo>
                    <a:lnTo>
                      <a:pt x="264" y="1230"/>
                    </a:lnTo>
                    <a:lnTo>
                      <a:pt x="264" y="1218"/>
                    </a:lnTo>
                    <a:lnTo>
                      <a:pt x="252" y="1206"/>
                    </a:lnTo>
                    <a:lnTo>
                      <a:pt x="246" y="1200"/>
                    </a:lnTo>
                    <a:lnTo>
                      <a:pt x="240" y="1176"/>
                    </a:lnTo>
                    <a:lnTo>
                      <a:pt x="216" y="1164"/>
                    </a:lnTo>
                    <a:lnTo>
                      <a:pt x="216" y="1158"/>
                    </a:lnTo>
                    <a:lnTo>
                      <a:pt x="168" y="1158"/>
                    </a:lnTo>
                    <a:lnTo>
                      <a:pt x="162" y="1140"/>
                    </a:lnTo>
                    <a:lnTo>
                      <a:pt x="138" y="1140"/>
                    </a:lnTo>
                    <a:lnTo>
                      <a:pt x="114" y="1140"/>
                    </a:lnTo>
                    <a:lnTo>
                      <a:pt x="96" y="1146"/>
                    </a:lnTo>
                    <a:lnTo>
                      <a:pt x="90" y="1140"/>
                    </a:lnTo>
                    <a:lnTo>
                      <a:pt x="48" y="1152"/>
                    </a:lnTo>
                    <a:lnTo>
                      <a:pt x="30" y="1152"/>
                    </a:lnTo>
                    <a:lnTo>
                      <a:pt x="18" y="1152"/>
                    </a:lnTo>
                    <a:lnTo>
                      <a:pt x="6" y="1146"/>
                    </a:lnTo>
                    <a:lnTo>
                      <a:pt x="0" y="1140"/>
                    </a:lnTo>
                    <a:lnTo>
                      <a:pt x="0" y="1122"/>
                    </a:lnTo>
                    <a:lnTo>
                      <a:pt x="12" y="1122"/>
                    </a:lnTo>
                    <a:lnTo>
                      <a:pt x="18" y="1104"/>
                    </a:lnTo>
                    <a:lnTo>
                      <a:pt x="30" y="1086"/>
                    </a:lnTo>
                    <a:lnTo>
                      <a:pt x="36" y="1086"/>
                    </a:lnTo>
                    <a:lnTo>
                      <a:pt x="36" y="1074"/>
                    </a:lnTo>
                    <a:lnTo>
                      <a:pt x="42" y="1056"/>
                    </a:lnTo>
                    <a:lnTo>
                      <a:pt x="60" y="1044"/>
                    </a:lnTo>
                    <a:lnTo>
                      <a:pt x="60" y="1026"/>
                    </a:lnTo>
                    <a:lnTo>
                      <a:pt x="54" y="1014"/>
                    </a:lnTo>
                    <a:lnTo>
                      <a:pt x="60" y="1008"/>
                    </a:lnTo>
                    <a:lnTo>
                      <a:pt x="60" y="990"/>
                    </a:lnTo>
                    <a:lnTo>
                      <a:pt x="72" y="978"/>
                    </a:lnTo>
                    <a:lnTo>
                      <a:pt x="78" y="966"/>
                    </a:lnTo>
                    <a:lnTo>
                      <a:pt x="96" y="972"/>
                    </a:lnTo>
                    <a:lnTo>
                      <a:pt x="102" y="960"/>
                    </a:lnTo>
                    <a:lnTo>
                      <a:pt x="90" y="930"/>
                    </a:lnTo>
                    <a:lnTo>
                      <a:pt x="96" y="936"/>
                    </a:lnTo>
                    <a:lnTo>
                      <a:pt x="102" y="942"/>
                    </a:lnTo>
                    <a:lnTo>
                      <a:pt x="102" y="948"/>
                    </a:lnTo>
                    <a:lnTo>
                      <a:pt x="108" y="954"/>
                    </a:lnTo>
                    <a:lnTo>
                      <a:pt x="126" y="936"/>
                    </a:lnTo>
                    <a:lnTo>
                      <a:pt x="150" y="942"/>
                    </a:lnTo>
                    <a:lnTo>
                      <a:pt x="180" y="948"/>
                    </a:lnTo>
                    <a:lnTo>
                      <a:pt x="180" y="930"/>
                    </a:lnTo>
                    <a:lnTo>
                      <a:pt x="174" y="930"/>
                    </a:lnTo>
                    <a:lnTo>
                      <a:pt x="168" y="924"/>
                    </a:lnTo>
                    <a:lnTo>
                      <a:pt x="168" y="918"/>
                    </a:lnTo>
                    <a:lnTo>
                      <a:pt x="168" y="912"/>
                    </a:lnTo>
                    <a:lnTo>
                      <a:pt x="168" y="906"/>
                    </a:lnTo>
                    <a:lnTo>
                      <a:pt x="144" y="894"/>
                    </a:lnTo>
                    <a:lnTo>
                      <a:pt x="156" y="888"/>
                    </a:lnTo>
                    <a:lnTo>
                      <a:pt x="156" y="882"/>
                    </a:lnTo>
                    <a:lnTo>
                      <a:pt x="150" y="852"/>
                    </a:lnTo>
                    <a:lnTo>
                      <a:pt x="138" y="846"/>
                    </a:lnTo>
                    <a:lnTo>
                      <a:pt x="138" y="828"/>
                    </a:lnTo>
                    <a:lnTo>
                      <a:pt x="138" y="822"/>
                    </a:lnTo>
                    <a:lnTo>
                      <a:pt x="132" y="816"/>
                    </a:lnTo>
                    <a:lnTo>
                      <a:pt x="162" y="798"/>
                    </a:lnTo>
                    <a:lnTo>
                      <a:pt x="168" y="792"/>
                    </a:lnTo>
                    <a:lnTo>
                      <a:pt x="186" y="798"/>
                    </a:lnTo>
                    <a:lnTo>
                      <a:pt x="198" y="780"/>
                    </a:lnTo>
                    <a:lnTo>
                      <a:pt x="234" y="780"/>
                    </a:lnTo>
                    <a:lnTo>
                      <a:pt x="240" y="780"/>
                    </a:lnTo>
                    <a:lnTo>
                      <a:pt x="258" y="780"/>
                    </a:lnTo>
                    <a:lnTo>
                      <a:pt x="258" y="774"/>
                    </a:lnTo>
                    <a:lnTo>
                      <a:pt x="252" y="768"/>
                    </a:lnTo>
                    <a:lnTo>
                      <a:pt x="258" y="750"/>
                    </a:lnTo>
                    <a:lnTo>
                      <a:pt x="282" y="732"/>
                    </a:lnTo>
                    <a:lnTo>
                      <a:pt x="288" y="726"/>
                    </a:lnTo>
                    <a:lnTo>
                      <a:pt x="306" y="738"/>
                    </a:lnTo>
                    <a:lnTo>
                      <a:pt x="306" y="744"/>
                    </a:lnTo>
                    <a:lnTo>
                      <a:pt x="312" y="750"/>
                    </a:lnTo>
                    <a:lnTo>
                      <a:pt x="324" y="750"/>
                    </a:lnTo>
                    <a:lnTo>
                      <a:pt x="366" y="726"/>
                    </a:lnTo>
                    <a:lnTo>
                      <a:pt x="366" y="720"/>
                    </a:lnTo>
                    <a:lnTo>
                      <a:pt x="378" y="720"/>
                    </a:lnTo>
                    <a:lnTo>
                      <a:pt x="390" y="708"/>
                    </a:lnTo>
                    <a:lnTo>
                      <a:pt x="390" y="702"/>
                    </a:lnTo>
                    <a:lnTo>
                      <a:pt x="384" y="696"/>
                    </a:lnTo>
                    <a:lnTo>
                      <a:pt x="384" y="690"/>
                    </a:lnTo>
                    <a:lnTo>
                      <a:pt x="384" y="684"/>
                    </a:lnTo>
                    <a:lnTo>
                      <a:pt x="390" y="684"/>
                    </a:lnTo>
                    <a:lnTo>
                      <a:pt x="396" y="684"/>
                    </a:lnTo>
                    <a:lnTo>
                      <a:pt x="396" y="678"/>
                    </a:lnTo>
                    <a:lnTo>
                      <a:pt x="390" y="672"/>
                    </a:lnTo>
                    <a:lnTo>
                      <a:pt x="390" y="666"/>
                    </a:lnTo>
                    <a:lnTo>
                      <a:pt x="402" y="666"/>
                    </a:lnTo>
                    <a:lnTo>
                      <a:pt x="420" y="648"/>
                    </a:lnTo>
                    <a:lnTo>
                      <a:pt x="408" y="642"/>
                    </a:lnTo>
                    <a:lnTo>
                      <a:pt x="414" y="642"/>
                    </a:lnTo>
                    <a:lnTo>
                      <a:pt x="408" y="636"/>
                    </a:lnTo>
                    <a:lnTo>
                      <a:pt x="402" y="630"/>
                    </a:lnTo>
                    <a:lnTo>
                      <a:pt x="384" y="636"/>
                    </a:lnTo>
                    <a:lnTo>
                      <a:pt x="396" y="618"/>
                    </a:lnTo>
                    <a:lnTo>
                      <a:pt x="402" y="618"/>
                    </a:lnTo>
                    <a:lnTo>
                      <a:pt x="402" y="606"/>
                    </a:lnTo>
                    <a:lnTo>
                      <a:pt x="408" y="606"/>
                    </a:lnTo>
                    <a:lnTo>
                      <a:pt x="402" y="600"/>
                    </a:lnTo>
                    <a:lnTo>
                      <a:pt x="402" y="594"/>
                    </a:lnTo>
                    <a:lnTo>
                      <a:pt x="396" y="588"/>
                    </a:lnTo>
                    <a:lnTo>
                      <a:pt x="396" y="582"/>
                    </a:lnTo>
                    <a:lnTo>
                      <a:pt x="402" y="576"/>
                    </a:lnTo>
                    <a:lnTo>
                      <a:pt x="426" y="588"/>
                    </a:lnTo>
                    <a:lnTo>
                      <a:pt x="432" y="588"/>
                    </a:lnTo>
                    <a:lnTo>
                      <a:pt x="438" y="582"/>
                    </a:lnTo>
                    <a:lnTo>
                      <a:pt x="444" y="576"/>
                    </a:lnTo>
                    <a:lnTo>
                      <a:pt x="444" y="570"/>
                    </a:lnTo>
                    <a:lnTo>
                      <a:pt x="498" y="570"/>
                    </a:lnTo>
                    <a:lnTo>
                      <a:pt x="504" y="564"/>
                    </a:lnTo>
                    <a:lnTo>
                      <a:pt x="504" y="540"/>
                    </a:lnTo>
                    <a:lnTo>
                      <a:pt x="504" y="528"/>
                    </a:lnTo>
                    <a:lnTo>
                      <a:pt x="504" y="522"/>
                    </a:lnTo>
                    <a:lnTo>
                      <a:pt x="504" y="516"/>
                    </a:lnTo>
                    <a:lnTo>
                      <a:pt x="510" y="498"/>
                    </a:lnTo>
                    <a:lnTo>
                      <a:pt x="504" y="492"/>
                    </a:lnTo>
                    <a:lnTo>
                      <a:pt x="516" y="486"/>
                    </a:lnTo>
                    <a:lnTo>
                      <a:pt x="516" y="468"/>
                    </a:lnTo>
                    <a:lnTo>
                      <a:pt x="516" y="462"/>
                    </a:lnTo>
                    <a:lnTo>
                      <a:pt x="540" y="462"/>
                    </a:lnTo>
                    <a:lnTo>
                      <a:pt x="558" y="468"/>
                    </a:lnTo>
                    <a:lnTo>
                      <a:pt x="564" y="462"/>
                    </a:lnTo>
                    <a:lnTo>
                      <a:pt x="582" y="462"/>
                    </a:lnTo>
                    <a:lnTo>
                      <a:pt x="594" y="450"/>
                    </a:lnTo>
                    <a:lnTo>
                      <a:pt x="606" y="456"/>
                    </a:lnTo>
                    <a:lnTo>
                      <a:pt x="606" y="438"/>
                    </a:lnTo>
                    <a:lnTo>
                      <a:pt x="630" y="432"/>
                    </a:lnTo>
                    <a:lnTo>
                      <a:pt x="636" y="420"/>
                    </a:lnTo>
                    <a:lnTo>
                      <a:pt x="660" y="420"/>
                    </a:lnTo>
                    <a:lnTo>
                      <a:pt x="702" y="402"/>
                    </a:lnTo>
                    <a:lnTo>
                      <a:pt x="708" y="396"/>
                    </a:lnTo>
                    <a:lnTo>
                      <a:pt x="750" y="402"/>
                    </a:lnTo>
                    <a:lnTo>
                      <a:pt x="756" y="396"/>
                    </a:lnTo>
                    <a:lnTo>
                      <a:pt x="756" y="378"/>
                    </a:lnTo>
                    <a:lnTo>
                      <a:pt x="762" y="372"/>
                    </a:lnTo>
                    <a:lnTo>
                      <a:pt x="768" y="372"/>
                    </a:lnTo>
                    <a:lnTo>
                      <a:pt x="780" y="360"/>
                    </a:lnTo>
                    <a:lnTo>
                      <a:pt x="774" y="348"/>
                    </a:lnTo>
                    <a:lnTo>
                      <a:pt x="780" y="348"/>
                    </a:lnTo>
                    <a:lnTo>
                      <a:pt x="792" y="336"/>
                    </a:lnTo>
                    <a:lnTo>
                      <a:pt x="786" y="324"/>
                    </a:lnTo>
                    <a:lnTo>
                      <a:pt x="792" y="312"/>
                    </a:lnTo>
                    <a:lnTo>
                      <a:pt x="798" y="306"/>
                    </a:lnTo>
                    <a:lnTo>
                      <a:pt x="798" y="300"/>
                    </a:lnTo>
                    <a:lnTo>
                      <a:pt x="798" y="294"/>
                    </a:lnTo>
                    <a:lnTo>
                      <a:pt x="786" y="282"/>
                    </a:lnTo>
                    <a:lnTo>
                      <a:pt x="786" y="276"/>
                    </a:lnTo>
                    <a:lnTo>
                      <a:pt x="792" y="276"/>
                    </a:lnTo>
                    <a:lnTo>
                      <a:pt x="798" y="270"/>
                    </a:lnTo>
                    <a:lnTo>
                      <a:pt x="804" y="258"/>
                    </a:lnTo>
                    <a:lnTo>
                      <a:pt x="786" y="252"/>
                    </a:lnTo>
                    <a:lnTo>
                      <a:pt x="780" y="198"/>
                    </a:lnTo>
                    <a:lnTo>
                      <a:pt x="786" y="198"/>
                    </a:lnTo>
                    <a:lnTo>
                      <a:pt x="792" y="198"/>
                    </a:lnTo>
                    <a:lnTo>
                      <a:pt x="798" y="198"/>
                    </a:lnTo>
                    <a:lnTo>
                      <a:pt x="798" y="192"/>
                    </a:lnTo>
                    <a:lnTo>
                      <a:pt x="804" y="192"/>
                    </a:lnTo>
                    <a:lnTo>
                      <a:pt x="810" y="192"/>
                    </a:lnTo>
                    <a:lnTo>
                      <a:pt x="816" y="192"/>
                    </a:lnTo>
                    <a:lnTo>
                      <a:pt x="822" y="192"/>
                    </a:lnTo>
                    <a:lnTo>
                      <a:pt x="828" y="192"/>
                    </a:lnTo>
                    <a:lnTo>
                      <a:pt x="828" y="198"/>
                    </a:lnTo>
                    <a:lnTo>
                      <a:pt x="828" y="204"/>
                    </a:lnTo>
                    <a:lnTo>
                      <a:pt x="828" y="210"/>
                    </a:lnTo>
                    <a:lnTo>
                      <a:pt x="834" y="210"/>
                    </a:lnTo>
                    <a:lnTo>
                      <a:pt x="840" y="210"/>
                    </a:lnTo>
                    <a:lnTo>
                      <a:pt x="846" y="216"/>
                    </a:lnTo>
                    <a:lnTo>
                      <a:pt x="852" y="216"/>
                    </a:lnTo>
                    <a:lnTo>
                      <a:pt x="858" y="216"/>
                    </a:lnTo>
                    <a:lnTo>
                      <a:pt x="858" y="222"/>
                    </a:lnTo>
                    <a:lnTo>
                      <a:pt x="864" y="222"/>
                    </a:lnTo>
                    <a:lnTo>
                      <a:pt x="864" y="216"/>
                    </a:lnTo>
                    <a:lnTo>
                      <a:pt x="870" y="216"/>
                    </a:lnTo>
                    <a:lnTo>
                      <a:pt x="876" y="216"/>
                    </a:lnTo>
                    <a:lnTo>
                      <a:pt x="876" y="210"/>
                    </a:lnTo>
                    <a:lnTo>
                      <a:pt x="882" y="210"/>
                    </a:lnTo>
                    <a:lnTo>
                      <a:pt x="888" y="204"/>
                    </a:lnTo>
                    <a:lnTo>
                      <a:pt x="894" y="204"/>
                    </a:lnTo>
                    <a:lnTo>
                      <a:pt x="894" y="198"/>
                    </a:lnTo>
                    <a:lnTo>
                      <a:pt x="900" y="198"/>
                    </a:lnTo>
                    <a:lnTo>
                      <a:pt x="900" y="192"/>
                    </a:lnTo>
                    <a:lnTo>
                      <a:pt x="906" y="192"/>
                    </a:lnTo>
                    <a:lnTo>
                      <a:pt x="906" y="186"/>
                    </a:lnTo>
                    <a:lnTo>
                      <a:pt x="900" y="186"/>
                    </a:lnTo>
                    <a:lnTo>
                      <a:pt x="900" y="180"/>
                    </a:lnTo>
                    <a:lnTo>
                      <a:pt x="900" y="174"/>
                    </a:lnTo>
                    <a:lnTo>
                      <a:pt x="906" y="174"/>
                    </a:lnTo>
                    <a:lnTo>
                      <a:pt x="912" y="174"/>
                    </a:lnTo>
                    <a:lnTo>
                      <a:pt x="918" y="174"/>
                    </a:lnTo>
                    <a:lnTo>
                      <a:pt x="918" y="180"/>
                    </a:lnTo>
                    <a:lnTo>
                      <a:pt x="924" y="180"/>
                    </a:lnTo>
                    <a:lnTo>
                      <a:pt x="930" y="180"/>
                    </a:lnTo>
                    <a:lnTo>
                      <a:pt x="930" y="174"/>
                    </a:lnTo>
                    <a:lnTo>
                      <a:pt x="936" y="174"/>
                    </a:lnTo>
                    <a:lnTo>
                      <a:pt x="936" y="168"/>
                    </a:lnTo>
                    <a:lnTo>
                      <a:pt x="942" y="168"/>
                    </a:lnTo>
                    <a:lnTo>
                      <a:pt x="948" y="168"/>
                    </a:lnTo>
                    <a:lnTo>
                      <a:pt x="954" y="168"/>
                    </a:lnTo>
                    <a:lnTo>
                      <a:pt x="954" y="162"/>
                    </a:lnTo>
                    <a:lnTo>
                      <a:pt x="960" y="162"/>
                    </a:lnTo>
                    <a:lnTo>
                      <a:pt x="966" y="162"/>
                    </a:lnTo>
                    <a:lnTo>
                      <a:pt x="966" y="168"/>
                    </a:lnTo>
                    <a:lnTo>
                      <a:pt x="972" y="168"/>
                    </a:lnTo>
                    <a:lnTo>
                      <a:pt x="972" y="174"/>
                    </a:lnTo>
                    <a:lnTo>
                      <a:pt x="978" y="168"/>
                    </a:lnTo>
                    <a:lnTo>
                      <a:pt x="984" y="168"/>
                    </a:lnTo>
                    <a:lnTo>
                      <a:pt x="984" y="162"/>
                    </a:lnTo>
                    <a:lnTo>
                      <a:pt x="978" y="162"/>
                    </a:lnTo>
                    <a:lnTo>
                      <a:pt x="978" y="156"/>
                    </a:lnTo>
                    <a:lnTo>
                      <a:pt x="984" y="156"/>
                    </a:lnTo>
                    <a:lnTo>
                      <a:pt x="990" y="156"/>
                    </a:lnTo>
                    <a:lnTo>
                      <a:pt x="996" y="156"/>
                    </a:lnTo>
                    <a:lnTo>
                      <a:pt x="996" y="162"/>
                    </a:lnTo>
                    <a:lnTo>
                      <a:pt x="996" y="168"/>
                    </a:lnTo>
                    <a:lnTo>
                      <a:pt x="1002" y="168"/>
                    </a:lnTo>
                    <a:lnTo>
                      <a:pt x="1008" y="168"/>
                    </a:lnTo>
                    <a:lnTo>
                      <a:pt x="1008" y="174"/>
                    </a:lnTo>
                    <a:lnTo>
                      <a:pt x="1014" y="174"/>
                    </a:lnTo>
                    <a:lnTo>
                      <a:pt x="1020" y="180"/>
                    </a:lnTo>
                    <a:lnTo>
                      <a:pt x="1020" y="186"/>
                    </a:lnTo>
                    <a:lnTo>
                      <a:pt x="1026" y="186"/>
                    </a:lnTo>
                    <a:lnTo>
                      <a:pt x="1032" y="186"/>
                    </a:lnTo>
                    <a:lnTo>
                      <a:pt x="1038" y="186"/>
                    </a:lnTo>
                    <a:lnTo>
                      <a:pt x="1044" y="186"/>
                    </a:lnTo>
                    <a:lnTo>
                      <a:pt x="1050" y="186"/>
                    </a:lnTo>
                    <a:lnTo>
                      <a:pt x="1050" y="180"/>
                    </a:lnTo>
                    <a:lnTo>
                      <a:pt x="1056" y="180"/>
                    </a:lnTo>
                    <a:lnTo>
                      <a:pt x="1056" y="186"/>
                    </a:lnTo>
                    <a:lnTo>
                      <a:pt x="1062" y="186"/>
                    </a:lnTo>
                    <a:lnTo>
                      <a:pt x="1062" y="180"/>
                    </a:lnTo>
                    <a:lnTo>
                      <a:pt x="1068" y="180"/>
                    </a:lnTo>
                    <a:lnTo>
                      <a:pt x="1068" y="186"/>
                    </a:lnTo>
                    <a:lnTo>
                      <a:pt x="1074" y="186"/>
                    </a:lnTo>
                    <a:lnTo>
                      <a:pt x="1080" y="186"/>
                    </a:lnTo>
                    <a:lnTo>
                      <a:pt x="1080" y="192"/>
                    </a:lnTo>
                    <a:lnTo>
                      <a:pt x="1080" y="198"/>
                    </a:lnTo>
                    <a:lnTo>
                      <a:pt x="1080" y="204"/>
                    </a:lnTo>
                    <a:lnTo>
                      <a:pt x="1086" y="204"/>
                    </a:lnTo>
                    <a:lnTo>
                      <a:pt x="1086" y="210"/>
                    </a:lnTo>
                    <a:lnTo>
                      <a:pt x="1092" y="210"/>
                    </a:lnTo>
                    <a:lnTo>
                      <a:pt x="1098" y="210"/>
                    </a:lnTo>
                    <a:lnTo>
                      <a:pt x="1098" y="216"/>
                    </a:lnTo>
                    <a:lnTo>
                      <a:pt x="1104" y="216"/>
                    </a:lnTo>
                    <a:lnTo>
                      <a:pt x="1110" y="216"/>
                    </a:lnTo>
                    <a:lnTo>
                      <a:pt x="1116" y="216"/>
                    </a:lnTo>
                    <a:lnTo>
                      <a:pt x="1122" y="216"/>
                    </a:lnTo>
                    <a:lnTo>
                      <a:pt x="1128" y="216"/>
                    </a:lnTo>
                    <a:lnTo>
                      <a:pt x="1122" y="216"/>
                    </a:lnTo>
                    <a:lnTo>
                      <a:pt x="1122" y="222"/>
                    </a:lnTo>
                    <a:lnTo>
                      <a:pt x="1128" y="222"/>
                    </a:lnTo>
                    <a:lnTo>
                      <a:pt x="1134" y="222"/>
                    </a:lnTo>
                    <a:lnTo>
                      <a:pt x="1134" y="216"/>
                    </a:lnTo>
                    <a:lnTo>
                      <a:pt x="1140" y="216"/>
                    </a:lnTo>
                    <a:lnTo>
                      <a:pt x="1140" y="222"/>
                    </a:lnTo>
                    <a:lnTo>
                      <a:pt x="1146" y="222"/>
                    </a:lnTo>
                    <a:lnTo>
                      <a:pt x="1146" y="216"/>
                    </a:lnTo>
                    <a:lnTo>
                      <a:pt x="1152" y="216"/>
                    </a:lnTo>
                    <a:lnTo>
                      <a:pt x="1158" y="216"/>
                    </a:lnTo>
                    <a:lnTo>
                      <a:pt x="1164" y="216"/>
                    </a:lnTo>
                    <a:lnTo>
                      <a:pt x="1164" y="210"/>
                    </a:lnTo>
                    <a:lnTo>
                      <a:pt x="1170" y="210"/>
                    </a:lnTo>
                    <a:lnTo>
                      <a:pt x="1176" y="210"/>
                    </a:lnTo>
                    <a:lnTo>
                      <a:pt x="1182" y="216"/>
                    </a:lnTo>
                    <a:lnTo>
                      <a:pt x="1182" y="222"/>
                    </a:lnTo>
                    <a:lnTo>
                      <a:pt x="1188" y="222"/>
                    </a:lnTo>
                    <a:lnTo>
                      <a:pt x="1194" y="222"/>
                    </a:lnTo>
                    <a:lnTo>
                      <a:pt x="1194" y="216"/>
                    </a:lnTo>
                    <a:lnTo>
                      <a:pt x="1200" y="216"/>
                    </a:lnTo>
                    <a:lnTo>
                      <a:pt x="1206" y="216"/>
                    </a:lnTo>
                    <a:lnTo>
                      <a:pt x="1212" y="216"/>
                    </a:lnTo>
                    <a:lnTo>
                      <a:pt x="1212" y="210"/>
                    </a:lnTo>
                    <a:lnTo>
                      <a:pt x="1212" y="204"/>
                    </a:lnTo>
                    <a:lnTo>
                      <a:pt x="1218" y="198"/>
                    </a:lnTo>
                    <a:lnTo>
                      <a:pt x="1224" y="198"/>
                    </a:lnTo>
                    <a:lnTo>
                      <a:pt x="1224" y="192"/>
                    </a:lnTo>
                    <a:lnTo>
                      <a:pt x="1230" y="192"/>
                    </a:lnTo>
                    <a:lnTo>
                      <a:pt x="1236" y="192"/>
                    </a:lnTo>
                    <a:lnTo>
                      <a:pt x="1242" y="198"/>
                    </a:lnTo>
                    <a:lnTo>
                      <a:pt x="1242" y="192"/>
                    </a:lnTo>
                    <a:lnTo>
                      <a:pt x="1242" y="186"/>
                    </a:lnTo>
                    <a:lnTo>
                      <a:pt x="1236" y="186"/>
                    </a:lnTo>
                    <a:lnTo>
                      <a:pt x="1236" y="180"/>
                    </a:lnTo>
                    <a:lnTo>
                      <a:pt x="1230" y="180"/>
                    </a:lnTo>
                    <a:lnTo>
                      <a:pt x="1230" y="174"/>
                    </a:lnTo>
                    <a:lnTo>
                      <a:pt x="1236" y="174"/>
                    </a:lnTo>
                    <a:lnTo>
                      <a:pt x="1242" y="174"/>
                    </a:lnTo>
                    <a:lnTo>
                      <a:pt x="1248" y="174"/>
                    </a:lnTo>
                    <a:lnTo>
                      <a:pt x="1254" y="174"/>
                    </a:lnTo>
                    <a:lnTo>
                      <a:pt x="1254" y="168"/>
                    </a:lnTo>
                    <a:lnTo>
                      <a:pt x="1260" y="174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72" y="174"/>
                    </a:lnTo>
                    <a:lnTo>
                      <a:pt x="1272" y="168"/>
                    </a:lnTo>
                    <a:lnTo>
                      <a:pt x="1272" y="162"/>
                    </a:lnTo>
                    <a:lnTo>
                      <a:pt x="1278" y="162"/>
                    </a:lnTo>
                    <a:lnTo>
                      <a:pt x="1284" y="162"/>
                    </a:lnTo>
                    <a:lnTo>
                      <a:pt x="1290" y="162"/>
                    </a:lnTo>
                    <a:lnTo>
                      <a:pt x="1296" y="156"/>
                    </a:lnTo>
                    <a:lnTo>
                      <a:pt x="1302" y="156"/>
                    </a:lnTo>
                    <a:lnTo>
                      <a:pt x="1308" y="156"/>
                    </a:lnTo>
                    <a:lnTo>
                      <a:pt x="1308" y="162"/>
                    </a:lnTo>
                    <a:lnTo>
                      <a:pt x="1314" y="162"/>
                    </a:lnTo>
                    <a:lnTo>
                      <a:pt x="1320" y="162"/>
                    </a:lnTo>
                    <a:lnTo>
                      <a:pt x="1320" y="156"/>
                    </a:lnTo>
                    <a:lnTo>
                      <a:pt x="1326" y="156"/>
                    </a:lnTo>
                    <a:lnTo>
                      <a:pt x="1326" y="150"/>
                    </a:lnTo>
                    <a:lnTo>
                      <a:pt x="1320" y="150"/>
                    </a:lnTo>
                    <a:lnTo>
                      <a:pt x="1320" y="144"/>
                    </a:lnTo>
                    <a:lnTo>
                      <a:pt x="1326" y="144"/>
                    </a:lnTo>
                    <a:lnTo>
                      <a:pt x="1332" y="144"/>
                    </a:lnTo>
                    <a:lnTo>
                      <a:pt x="1338" y="144"/>
                    </a:lnTo>
                    <a:lnTo>
                      <a:pt x="1338" y="138"/>
                    </a:lnTo>
                    <a:lnTo>
                      <a:pt x="1332" y="138"/>
                    </a:lnTo>
                    <a:lnTo>
                      <a:pt x="1326" y="132"/>
                    </a:lnTo>
                    <a:lnTo>
                      <a:pt x="1326" y="126"/>
                    </a:lnTo>
                    <a:lnTo>
                      <a:pt x="1332" y="126"/>
                    </a:lnTo>
                    <a:lnTo>
                      <a:pt x="1338" y="126"/>
                    </a:lnTo>
                    <a:lnTo>
                      <a:pt x="1344" y="126"/>
                    </a:lnTo>
                    <a:lnTo>
                      <a:pt x="1350" y="126"/>
                    </a:lnTo>
                    <a:lnTo>
                      <a:pt x="1350" y="120"/>
                    </a:lnTo>
                    <a:lnTo>
                      <a:pt x="1350" y="114"/>
                    </a:lnTo>
                    <a:lnTo>
                      <a:pt x="1344" y="114"/>
                    </a:lnTo>
                    <a:lnTo>
                      <a:pt x="1338" y="114"/>
                    </a:lnTo>
                    <a:lnTo>
                      <a:pt x="1338" y="108"/>
                    </a:lnTo>
                    <a:lnTo>
                      <a:pt x="1338" y="102"/>
                    </a:lnTo>
                    <a:lnTo>
                      <a:pt x="1344" y="102"/>
                    </a:lnTo>
                    <a:lnTo>
                      <a:pt x="1350" y="102"/>
                    </a:lnTo>
                    <a:lnTo>
                      <a:pt x="1350" y="108"/>
                    </a:lnTo>
                    <a:lnTo>
                      <a:pt x="1356" y="108"/>
                    </a:lnTo>
                    <a:lnTo>
                      <a:pt x="1362" y="102"/>
                    </a:lnTo>
                    <a:lnTo>
                      <a:pt x="1368" y="102"/>
                    </a:lnTo>
                    <a:lnTo>
                      <a:pt x="1374" y="102"/>
                    </a:lnTo>
                    <a:lnTo>
                      <a:pt x="1374" y="108"/>
                    </a:lnTo>
                    <a:lnTo>
                      <a:pt x="1374" y="114"/>
                    </a:lnTo>
                    <a:lnTo>
                      <a:pt x="1380" y="120"/>
                    </a:lnTo>
                    <a:lnTo>
                      <a:pt x="1386" y="120"/>
                    </a:lnTo>
                    <a:lnTo>
                      <a:pt x="1392" y="126"/>
                    </a:lnTo>
                    <a:lnTo>
                      <a:pt x="1398" y="126"/>
                    </a:lnTo>
                    <a:lnTo>
                      <a:pt x="1404" y="132"/>
                    </a:lnTo>
                    <a:lnTo>
                      <a:pt x="1404" y="138"/>
                    </a:lnTo>
                    <a:lnTo>
                      <a:pt x="1404" y="144"/>
                    </a:lnTo>
                    <a:lnTo>
                      <a:pt x="1410" y="144"/>
                    </a:lnTo>
                    <a:lnTo>
                      <a:pt x="1410" y="150"/>
                    </a:lnTo>
                    <a:lnTo>
                      <a:pt x="1416" y="150"/>
                    </a:lnTo>
                    <a:lnTo>
                      <a:pt x="1416" y="156"/>
                    </a:lnTo>
                    <a:lnTo>
                      <a:pt x="1416" y="162"/>
                    </a:lnTo>
                    <a:lnTo>
                      <a:pt x="1422" y="168"/>
                    </a:lnTo>
                    <a:lnTo>
                      <a:pt x="1428" y="168"/>
                    </a:lnTo>
                    <a:lnTo>
                      <a:pt x="1434" y="174"/>
                    </a:lnTo>
                    <a:lnTo>
                      <a:pt x="1440" y="174"/>
                    </a:lnTo>
                    <a:lnTo>
                      <a:pt x="1440" y="180"/>
                    </a:lnTo>
                    <a:lnTo>
                      <a:pt x="1440" y="186"/>
                    </a:lnTo>
                    <a:lnTo>
                      <a:pt x="1446" y="186"/>
                    </a:lnTo>
                    <a:lnTo>
                      <a:pt x="1446" y="192"/>
                    </a:lnTo>
                    <a:lnTo>
                      <a:pt x="1452" y="198"/>
                    </a:lnTo>
                    <a:lnTo>
                      <a:pt x="1458" y="198"/>
                    </a:lnTo>
                    <a:lnTo>
                      <a:pt x="1464" y="204"/>
                    </a:lnTo>
                    <a:lnTo>
                      <a:pt x="1470" y="204"/>
                    </a:lnTo>
                    <a:lnTo>
                      <a:pt x="1476" y="204"/>
                    </a:lnTo>
                    <a:lnTo>
                      <a:pt x="1488" y="204"/>
                    </a:lnTo>
                    <a:lnTo>
                      <a:pt x="1494" y="198"/>
                    </a:lnTo>
                    <a:lnTo>
                      <a:pt x="1500" y="204"/>
                    </a:lnTo>
                    <a:lnTo>
                      <a:pt x="1500" y="210"/>
                    </a:lnTo>
                    <a:lnTo>
                      <a:pt x="1506" y="216"/>
                    </a:lnTo>
                    <a:lnTo>
                      <a:pt x="1512" y="216"/>
                    </a:lnTo>
                    <a:lnTo>
                      <a:pt x="1518" y="222"/>
                    </a:lnTo>
                    <a:lnTo>
                      <a:pt x="1524" y="222"/>
                    </a:lnTo>
                    <a:lnTo>
                      <a:pt x="1530" y="222"/>
                    </a:lnTo>
                    <a:lnTo>
                      <a:pt x="1536" y="222"/>
                    </a:lnTo>
                    <a:lnTo>
                      <a:pt x="1542" y="222"/>
                    </a:lnTo>
                    <a:lnTo>
                      <a:pt x="1548" y="222"/>
                    </a:lnTo>
                    <a:lnTo>
                      <a:pt x="1554" y="222"/>
                    </a:lnTo>
                    <a:lnTo>
                      <a:pt x="1554" y="228"/>
                    </a:lnTo>
                    <a:lnTo>
                      <a:pt x="1560" y="228"/>
                    </a:lnTo>
                    <a:lnTo>
                      <a:pt x="1560" y="222"/>
                    </a:lnTo>
                    <a:lnTo>
                      <a:pt x="1560" y="216"/>
                    </a:lnTo>
                    <a:lnTo>
                      <a:pt x="1560" y="210"/>
                    </a:lnTo>
                    <a:lnTo>
                      <a:pt x="1560" y="204"/>
                    </a:lnTo>
                    <a:lnTo>
                      <a:pt x="1560" y="198"/>
                    </a:lnTo>
                    <a:lnTo>
                      <a:pt x="1566" y="198"/>
                    </a:lnTo>
                    <a:lnTo>
                      <a:pt x="1572" y="192"/>
                    </a:lnTo>
                    <a:lnTo>
                      <a:pt x="1572" y="186"/>
                    </a:lnTo>
                    <a:lnTo>
                      <a:pt x="1572" y="180"/>
                    </a:lnTo>
                    <a:lnTo>
                      <a:pt x="1578" y="174"/>
                    </a:lnTo>
                    <a:lnTo>
                      <a:pt x="1578" y="168"/>
                    </a:lnTo>
                    <a:lnTo>
                      <a:pt x="1578" y="162"/>
                    </a:lnTo>
                    <a:lnTo>
                      <a:pt x="1572" y="156"/>
                    </a:lnTo>
                    <a:lnTo>
                      <a:pt x="1578" y="150"/>
                    </a:lnTo>
                    <a:lnTo>
                      <a:pt x="1584" y="144"/>
                    </a:lnTo>
                    <a:lnTo>
                      <a:pt x="1590" y="144"/>
                    </a:lnTo>
                    <a:lnTo>
                      <a:pt x="1596" y="138"/>
                    </a:lnTo>
                    <a:lnTo>
                      <a:pt x="1602" y="138"/>
                    </a:lnTo>
                    <a:lnTo>
                      <a:pt x="1602" y="132"/>
                    </a:lnTo>
                    <a:lnTo>
                      <a:pt x="1608" y="132"/>
                    </a:lnTo>
                    <a:lnTo>
                      <a:pt x="1608" y="126"/>
                    </a:lnTo>
                    <a:lnTo>
                      <a:pt x="1608" y="120"/>
                    </a:lnTo>
                    <a:lnTo>
                      <a:pt x="1602" y="114"/>
                    </a:lnTo>
                    <a:lnTo>
                      <a:pt x="1608" y="114"/>
                    </a:lnTo>
                    <a:lnTo>
                      <a:pt x="1602" y="108"/>
                    </a:lnTo>
                    <a:lnTo>
                      <a:pt x="1596" y="102"/>
                    </a:lnTo>
                    <a:lnTo>
                      <a:pt x="1590" y="102"/>
                    </a:lnTo>
                    <a:lnTo>
                      <a:pt x="1590" y="96"/>
                    </a:lnTo>
                    <a:lnTo>
                      <a:pt x="1596" y="96"/>
                    </a:lnTo>
                    <a:lnTo>
                      <a:pt x="1602" y="90"/>
                    </a:lnTo>
                    <a:lnTo>
                      <a:pt x="1608" y="90"/>
                    </a:lnTo>
                    <a:lnTo>
                      <a:pt x="1608" y="84"/>
                    </a:lnTo>
                    <a:lnTo>
                      <a:pt x="1614" y="84"/>
                    </a:lnTo>
                    <a:lnTo>
                      <a:pt x="1620" y="84"/>
                    </a:lnTo>
                    <a:lnTo>
                      <a:pt x="1626" y="84"/>
                    </a:lnTo>
                    <a:lnTo>
                      <a:pt x="1626" y="78"/>
                    </a:lnTo>
                    <a:lnTo>
                      <a:pt x="1632" y="72"/>
                    </a:lnTo>
                    <a:lnTo>
                      <a:pt x="1638" y="60"/>
                    </a:lnTo>
                    <a:lnTo>
                      <a:pt x="1644" y="54"/>
                    </a:lnTo>
                    <a:lnTo>
                      <a:pt x="1650" y="48"/>
                    </a:lnTo>
                    <a:lnTo>
                      <a:pt x="1662" y="54"/>
                    </a:lnTo>
                    <a:lnTo>
                      <a:pt x="1668" y="54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86" y="48"/>
                    </a:lnTo>
                    <a:lnTo>
                      <a:pt x="1692" y="42"/>
                    </a:lnTo>
                    <a:lnTo>
                      <a:pt x="1698" y="42"/>
                    </a:lnTo>
                    <a:lnTo>
                      <a:pt x="1704" y="42"/>
                    </a:lnTo>
                    <a:lnTo>
                      <a:pt x="1704" y="48"/>
                    </a:lnTo>
                    <a:lnTo>
                      <a:pt x="1710" y="48"/>
                    </a:lnTo>
                    <a:lnTo>
                      <a:pt x="1716" y="48"/>
                    </a:lnTo>
                    <a:lnTo>
                      <a:pt x="1722" y="48"/>
                    </a:lnTo>
                    <a:lnTo>
                      <a:pt x="1728" y="48"/>
                    </a:lnTo>
                    <a:lnTo>
                      <a:pt x="1734" y="48"/>
                    </a:lnTo>
                    <a:lnTo>
                      <a:pt x="1740" y="48"/>
                    </a:lnTo>
                    <a:lnTo>
                      <a:pt x="1746" y="48"/>
                    </a:lnTo>
                    <a:lnTo>
                      <a:pt x="1746" y="42"/>
                    </a:lnTo>
                    <a:lnTo>
                      <a:pt x="1752" y="42"/>
                    </a:lnTo>
                    <a:lnTo>
                      <a:pt x="1758" y="42"/>
                    </a:lnTo>
                    <a:lnTo>
                      <a:pt x="1764" y="42"/>
                    </a:lnTo>
                    <a:lnTo>
                      <a:pt x="1770" y="36"/>
                    </a:lnTo>
                    <a:lnTo>
                      <a:pt x="1776" y="36"/>
                    </a:lnTo>
                    <a:lnTo>
                      <a:pt x="1782" y="36"/>
                    </a:lnTo>
                    <a:lnTo>
                      <a:pt x="1788" y="30"/>
                    </a:lnTo>
                    <a:lnTo>
                      <a:pt x="1794" y="30"/>
                    </a:lnTo>
                    <a:lnTo>
                      <a:pt x="1800" y="24"/>
                    </a:lnTo>
                    <a:lnTo>
                      <a:pt x="1806" y="24"/>
                    </a:lnTo>
                    <a:lnTo>
                      <a:pt x="1806" y="18"/>
                    </a:lnTo>
                    <a:lnTo>
                      <a:pt x="1812" y="18"/>
                    </a:lnTo>
                    <a:lnTo>
                      <a:pt x="1824" y="12"/>
                    </a:lnTo>
                    <a:lnTo>
                      <a:pt x="1830" y="6"/>
                    </a:lnTo>
                    <a:lnTo>
                      <a:pt x="1836" y="6"/>
                    </a:lnTo>
                    <a:lnTo>
                      <a:pt x="1836" y="12"/>
                    </a:lnTo>
                    <a:lnTo>
                      <a:pt x="1842" y="12"/>
                    </a:lnTo>
                    <a:lnTo>
                      <a:pt x="1842" y="18"/>
                    </a:lnTo>
                    <a:lnTo>
                      <a:pt x="1842" y="24"/>
                    </a:lnTo>
                    <a:lnTo>
                      <a:pt x="1848" y="24"/>
                    </a:lnTo>
                    <a:lnTo>
                      <a:pt x="1848" y="30"/>
                    </a:lnTo>
                    <a:lnTo>
                      <a:pt x="1854" y="30"/>
                    </a:lnTo>
                    <a:lnTo>
                      <a:pt x="1860" y="30"/>
                    </a:lnTo>
                    <a:lnTo>
                      <a:pt x="1860" y="36"/>
                    </a:lnTo>
                    <a:lnTo>
                      <a:pt x="1860" y="42"/>
                    </a:lnTo>
                    <a:lnTo>
                      <a:pt x="1860" y="48"/>
                    </a:lnTo>
                    <a:close/>
                    <a:moveTo>
                      <a:pt x="1962" y="0"/>
                    </a:moveTo>
                    <a:lnTo>
                      <a:pt x="1968" y="6"/>
                    </a:lnTo>
                    <a:lnTo>
                      <a:pt x="1968" y="12"/>
                    </a:lnTo>
                    <a:lnTo>
                      <a:pt x="1974" y="12"/>
                    </a:lnTo>
                    <a:lnTo>
                      <a:pt x="1974" y="18"/>
                    </a:lnTo>
                    <a:lnTo>
                      <a:pt x="1980" y="18"/>
                    </a:lnTo>
                    <a:lnTo>
                      <a:pt x="1986" y="18"/>
                    </a:lnTo>
                    <a:lnTo>
                      <a:pt x="1992" y="24"/>
                    </a:lnTo>
                    <a:lnTo>
                      <a:pt x="1998" y="30"/>
                    </a:lnTo>
                    <a:lnTo>
                      <a:pt x="2004" y="30"/>
                    </a:lnTo>
                    <a:lnTo>
                      <a:pt x="2010" y="30"/>
                    </a:lnTo>
                    <a:lnTo>
                      <a:pt x="2016" y="36"/>
                    </a:lnTo>
                    <a:lnTo>
                      <a:pt x="2016" y="42"/>
                    </a:lnTo>
                    <a:lnTo>
                      <a:pt x="2022" y="42"/>
                    </a:lnTo>
                    <a:lnTo>
                      <a:pt x="2028" y="42"/>
                    </a:lnTo>
                    <a:lnTo>
                      <a:pt x="2034" y="42"/>
                    </a:lnTo>
                    <a:lnTo>
                      <a:pt x="2040" y="42"/>
                    </a:lnTo>
                    <a:lnTo>
                      <a:pt x="2046" y="42"/>
                    </a:lnTo>
                    <a:lnTo>
                      <a:pt x="2052" y="42"/>
                    </a:lnTo>
                    <a:lnTo>
                      <a:pt x="2052" y="36"/>
                    </a:lnTo>
                    <a:lnTo>
                      <a:pt x="2064" y="36"/>
                    </a:lnTo>
                    <a:lnTo>
                      <a:pt x="2064" y="42"/>
                    </a:lnTo>
                    <a:lnTo>
                      <a:pt x="2070" y="42"/>
                    </a:lnTo>
                    <a:lnTo>
                      <a:pt x="2070" y="48"/>
                    </a:lnTo>
                    <a:lnTo>
                      <a:pt x="2070" y="54"/>
                    </a:lnTo>
                    <a:lnTo>
                      <a:pt x="2076" y="54"/>
                    </a:lnTo>
                    <a:lnTo>
                      <a:pt x="2076" y="60"/>
                    </a:lnTo>
                    <a:lnTo>
                      <a:pt x="2076" y="66"/>
                    </a:lnTo>
                    <a:lnTo>
                      <a:pt x="2076" y="72"/>
                    </a:lnTo>
                    <a:lnTo>
                      <a:pt x="2082" y="78"/>
                    </a:lnTo>
                    <a:lnTo>
                      <a:pt x="2088" y="78"/>
                    </a:lnTo>
                    <a:lnTo>
                      <a:pt x="2088" y="84"/>
                    </a:lnTo>
                    <a:lnTo>
                      <a:pt x="2088" y="90"/>
                    </a:lnTo>
                    <a:lnTo>
                      <a:pt x="2094" y="90"/>
                    </a:lnTo>
                    <a:lnTo>
                      <a:pt x="2100" y="90"/>
                    </a:lnTo>
                    <a:lnTo>
                      <a:pt x="2100" y="96"/>
                    </a:lnTo>
                    <a:lnTo>
                      <a:pt x="2100" y="102"/>
                    </a:lnTo>
                    <a:lnTo>
                      <a:pt x="2094" y="102"/>
                    </a:lnTo>
                    <a:lnTo>
                      <a:pt x="2094" y="108"/>
                    </a:lnTo>
                    <a:lnTo>
                      <a:pt x="2094" y="114"/>
                    </a:lnTo>
                    <a:lnTo>
                      <a:pt x="2100" y="114"/>
                    </a:lnTo>
                    <a:lnTo>
                      <a:pt x="2106" y="114"/>
                    </a:lnTo>
                    <a:lnTo>
                      <a:pt x="2106" y="120"/>
                    </a:lnTo>
                    <a:lnTo>
                      <a:pt x="2112" y="120"/>
                    </a:lnTo>
                    <a:lnTo>
                      <a:pt x="2112" y="126"/>
                    </a:lnTo>
                    <a:lnTo>
                      <a:pt x="2106" y="126"/>
                    </a:lnTo>
                    <a:lnTo>
                      <a:pt x="2106" y="132"/>
                    </a:lnTo>
                    <a:lnTo>
                      <a:pt x="2112" y="132"/>
                    </a:lnTo>
                    <a:lnTo>
                      <a:pt x="2118" y="132"/>
                    </a:lnTo>
                    <a:lnTo>
                      <a:pt x="2124" y="132"/>
                    </a:lnTo>
                    <a:lnTo>
                      <a:pt x="2124" y="126"/>
                    </a:lnTo>
                    <a:lnTo>
                      <a:pt x="2130" y="126"/>
                    </a:lnTo>
                    <a:lnTo>
                      <a:pt x="2130" y="132"/>
                    </a:lnTo>
                    <a:lnTo>
                      <a:pt x="2124" y="132"/>
                    </a:lnTo>
                    <a:lnTo>
                      <a:pt x="2118" y="132"/>
                    </a:lnTo>
                    <a:lnTo>
                      <a:pt x="2118" y="138"/>
                    </a:lnTo>
                    <a:lnTo>
                      <a:pt x="2124" y="138"/>
                    </a:lnTo>
                    <a:lnTo>
                      <a:pt x="2124" y="144"/>
                    </a:lnTo>
                    <a:lnTo>
                      <a:pt x="2130" y="144"/>
                    </a:lnTo>
                    <a:lnTo>
                      <a:pt x="2136" y="144"/>
                    </a:lnTo>
                    <a:lnTo>
                      <a:pt x="2136" y="150"/>
                    </a:lnTo>
                    <a:lnTo>
                      <a:pt x="2142" y="150"/>
                    </a:lnTo>
                    <a:lnTo>
                      <a:pt x="2148" y="150"/>
                    </a:lnTo>
                    <a:lnTo>
                      <a:pt x="2148" y="156"/>
                    </a:lnTo>
                    <a:lnTo>
                      <a:pt x="2142" y="162"/>
                    </a:lnTo>
                    <a:lnTo>
                      <a:pt x="2142" y="168"/>
                    </a:lnTo>
                    <a:lnTo>
                      <a:pt x="2136" y="168"/>
                    </a:lnTo>
                    <a:lnTo>
                      <a:pt x="2136" y="174"/>
                    </a:lnTo>
                    <a:lnTo>
                      <a:pt x="2130" y="174"/>
                    </a:lnTo>
                    <a:lnTo>
                      <a:pt x="2124" y="168"/>
                    </a:lnTo>
                    <a:lnTo>
                      <a:pt x="2124" y="174"/>
                    </a:lnTo>
                    <a:lnTo>
                      <a:pt x="2124" y="180"/>
                    </a:lnTo>
                    <a:lnTo>
                      <a:pt x="2118" y="180"/>
                    </a:lnTo>
                    <a:lnTo>
                      <a:pt x="2118" y="186"/>
                    </a:lnTo>
                    <a:lnTo>
                      <a:pt x="2112" y="186"/>
                    </a:lnTo>
                    <a:lnTo>
                      <a:pt x="2112" y="192"/>
                    </a:lnTo>
                    <a:lnTo>
                      <a:pt x="2106" y="198"/>
                    </a:lnTo>
                    <a:lnTo>
                      <a:pt x="2106" y="204"/>
                    </a:lnTo>
                    <a:lnTo>
                      <a:pt x="2100" y="210"/>
                    </a:lnTo>
                    <a:lnTo>
                      <a:pt x="2094" y="210"/>
                    </a:lnTo>
                    <a:lnTo>
                      <a:pt x="2094" y="216"/>
                    </a:lnTo>
                    <a:lnTo>
                      <a:pt x="2094" y="222"/>
                    </a:lnTo>
                    <a:lnTo>
                      <a:pt x="2088" y="216"/>
                    </a:lnTo>
                    <a:lnTo>
                      <a:pt x="2088" y="210"/>
                    </a:lnTo>
                    <a:lnTo>
                      <a:pt x="2082" y="210"/>
                    </a:lnTo>
                    <a:lnTo>
                      <a:pt x="2076" y="210"/>
                    </a:lnTo>
                    <a:lnTo>
                      <a:pt x="2070" y="210"/>
                    </a:lnTo>
                    <a:lnTo>
                      <a:pt x="2064" y="204"/>
                    </a:lnTo>
                    <a:lnTo>
                      <a:pt x="2058" y="204"/>
                    </a:lnTo>
                    <a:lnTo>
                      <a:pt x="2052" y="204"/>
                    </a:lnTo>
                    <a:lnTo>
                      <a:pt x="2052" y="198"/>
                    </a:lnTo>
                    <a:lnTo>
                      <a:pt x="2046" y="192"/>
                    </a:lnTo>
                    <a:lnTo>
                      <a:pt x="2040" y="192"/>
                    </a:lnTo>
                    <a:lnTo>
                      <a:pt x="2034" y="192"/>
                    </a:lnTo>
                    <a:lnTo>
                      <a:pt x="2028" y="192"/>
                    </a:lnTo>
                    <a:lnTo>
                      <a:pt x="2022" y="192"/>
                    </a:lnTo>
                    <a:lnTo>
                      <a:pt x="2016" y="192"/>
                    </a:lnTo>
                    <a:lnTo>
                      <a:pt x="2010" y="192"/>
                    </a:lnTo>
                    <a:lnTo>
                      <a:pt x="2004" y="198"/>
                    </a:lnTo>
                    <a:lnTo>
                      <a:pt x="2004" y="204"/>
                    </a:lnTo>
                    <a:lnTo>
                      <a:pt x="1998" y="204"/>
                    </a:lnTo>
                    <a:lnTo>
                      <a:pt x="1992" y="204"/>
                    </a:lnTo>
                    <a:lnTo>
                      <a:pt x="1992" y="198"/>
                    </a:lnTo>
                    <a:lnTo>
                      <a:pt x="1992" y="192"/>
                    </a:lnTo>
                    <a:lnTo>
                      <a:pt x="1998" y="192"/>
                    </a:lnTo>
                    <a:lnTo>
                      <a:pt x="1998" y="186"/>
                    </a:lnTo>
                    <a:lnTo>
                      <a:pt x="1998" y="180"/>
                    </a:lnTo>
                    <a:lnTo>
                      <a:pt x="1992" y="180"/>
                    </a:lnTo>
                    <a:lnTo>
                      <a:pt x="1992" y="174"/>
                    </a:lnTo>
                    <a:lnTo>
                      <a:pt x="1992" y="168"/>
                    </a:lnTo>
                    <a:lnTo>
                      <a:pt x="1992" y="162"/>
                    </a:lnTo>
                    <a:lnTo>
                      <a:pt x="1986" y="156"/>
                    </a:lnTo>
                    <a:lnTo>
                      <a:pt x="1986" y="150"/>
                    </a:lnTo>
                    <a:lnTo>
                      <a:pt x="1980" y="144"/>
                    </a:lnTo>
                    <a:lnTo>
                      <a:pt x="1980" y="138"/>
                    </a:lnTo>
                    <a:lnTo>
                      <a:pt x="1974" y="138"/>
                    </a:lnTo>
                    <a:lnTo>
                      <a:pt x="1974" y="132"/>
                    </a:lnTo>
                    <a:lnTo>
                      <a:pt x="1968" y="132"/>
                    </a:lnTo>
                    <a:lnTo>
                      <a:pt x="1962" y="126"/>
                    </a:lnTo>
                    <a:lnTo>
                      <a:pt x="1968" y="126"/>
                    </a:lnTo>
                    <a:lnTo>
                      <a:pt x="1968" y="120"/>
                    </a:lnTo>
                    <a:lnTo>
                      <a:pt x="1968" y="114"/>
                    </a:lnTo>
                    <a:lnTo>
                      <a:pt x="1968" y="108"/>
                    </a:lnTo>
                    <a:lnTo>
                      <a:pt x="1968" y="102"/>
                    </a:lnTo>
                    <a:lnTo>
                      <a:pt x="1974" y="102"/>
                    </a:lnTo>
                    <a:lnTo>
                      <a:pt x="1974" y="96"/>
                    </a:lnTo>
                    <a:lnTo>
                      <a:pt x="1974" y="90"/>
                    </a:lnTo>
                    <a:lnTo>
                      <a:pt x="1968" y="84"/>
                    </a:lnTo>
                    <a:lnTo>
                      <a:pt x="1962" y="84"/>
                    </a:lnTo>
                    <a:lnTo>
                      <a:pt x="1962" y="78"/>
                    </a:lnTo>
                    <a:lnTo>
                      <a:pt x="1956" y="78"/>
                    </a:lnTo>
                    <a:lnTo>
                      <a:pt x="1950" y="78"/>
                    </a:lnTo>
                    <a:lnTo>
                      <a:pt x="1944" y="72"/>
                    </a:lnTo>
                    <a:lnTo>
                      <a:pt x="1938" y="66"/>
                    </a:lnTo>
                    <a:lnTo>
                      <a:pt x="1932" y="66"/>
                    </a:lnTo>
                    <a:lnTo>
                      <a:pt x="1938" y="66"/>
                    </a:lnTo>
                    <a:lnTo>
                      <a:pt x="1938" y="60"/>
                    </a:lnTo>
                    <a:lnTo>
                      <a:pt x="1944" y="60"/>
                    </a:lnTo>
                    <a:lnTo>
                      <a:pt x="1944" y="54"/>
                    </a:lnTo>
                    <a:lnTo>
                      <a:pt x="1944" y="48"/>
                    </a:lnTo>
                    <a:lnTo>
                      <a:pt x="1944" y="42"/>
                    </a:lnTo>
                    <a:lnTo>
                      <a:pt x="1950" y="42"/>
                    </a:lnTo>
                    <a:lnTo>
                      <a:pt x="1950" y="36"/>
                    </a:lnTo>
                    <a:lnTo>
                      <a:pt x="1950" y="30"/>
                    </a:lnTo>
                    <a:lnTo>
                      <a:pt x="1956" y="30"/>
                    </a:lnTo>
                    <a:lnTo>
                      <a:pt x="1962" y="30"/>
                    </a:lnTo>
                    <a:lnTo>
                      <a:pt x="1962" y="24"/>
                    </a:lnTo>
                    <a:lnTo>
                      <a:pt x="1962" y="18"/>
                    </a:lnTo>
                    <a:lnTo>
                      <a:pt x="1956" y="18"/>
                    </a:lnTo>
                    <a:lnTo>
                      <a:pt x="1950" y="18"/>
                    </a:lnTo>
                    <a:lnTo>
                      <a:pt x="1950" y="12"/>
                    </a:lnTo>
                    <a:lnTo>
                      <a:pt x="1944" y="12"/>
                    </a:lnTo>
                    <a:lnTo>
                      <a:pt x="1944" y="6"/>
                    </a:lnTo>
                    <a:lnTo>
                      <a:pt x="1950" y="6"/>
                    </a:lnTo>
                    <a:lnTo>
                      <a:pt x="1956" y="0"/>
                    </a:lnTo>
                    <a:lnTo>
                      <a:pt x="196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2" name="Freeform 7"/>
              <p:cNvSpPr>
                <a:spLocks noChangeAspect="1"/>
              </p:cNvSpPr>
              <p:nvPr/>
            </p:nvSpPr>
            <p:spPr bwMode="auto">
              <a:xfrm>
                <a:off x="3244897" y="5658329"/>
                <a:ext cx="187251" cy="154998"/>
              </a:xfrm>
              <a:custGeom>
                <a:avLst/>
                <a:gdLst>
                  <a:gd name="T0" fmla="*/ 2147483647 w 1638"/>
                  <a:gd name="T1" fmla="*/ 2147483647 h 1356"/>
                  <a:gd name="T2" fmla="*/ 2147483647 w 1638"/>
                  <a:gd name="T3" fmla="*/ 2147483647 h 1356"/>
                  <a:gd name="T4" fmla="*/ 2147483647 w 1638"/>
                  <a:gd name="T5" fmla="*/ 2147483647 h 1356"/>
                  <a:gd name="T6" fmla="*/ 2147483647 w 1638"/>
                  <a:gd name="T7" fmla="*/ 2147483647 h 1356"/>
                  <a:gd name="T8" fmla="*/ 2147483647 w 1638"/>
                  <a:gd name="T9" fmla="*/ 2147483647 h 1356"/>
                  <a:gd name="T10" fmla="*/ 2147483647 w 1638"/>
                  <a:gd name="T11" fmla="*/ 2147483647 h 1356"/>
                  <a:gd name="T12" fmla="*/ 2147483647 w 1638"/>
                  <a:gd name="T13" fmla="*/ 2147483647 h 1356"/>
                  <a:gd name="T14" fmla="*/ 2147483647 w 1638"/>
                  <a:gd name="T15" fmla="*/ 2147483647 h 1356"/>
                  <a:gd name="T16" fmla="*/ 2147483647 w 1638"/>
                  <a:gd name="T17" fmla="*/ 2147483647 h 1356"/>
                  <a:gd name="T18" fmla="*/ 2147483647 w 1638"/>
                  <a:gd name="T19" fmla="*/ 2147483647 h 1356"/>
                  <a:gd name="T20" fmla="*/ 2147483647 w 1638"/>
                  <a:gd name="T21" fmla="*/ 2147483647 h 1356"/>
                  <a:gd name="T22" fmla="*/ 2147483647 w 1638"/>
                  <a:gd name="T23" fmla="*/ 2147483647 h 1356"/>
                  <a:gd name="T24" fmla="*/ 2147483647 w 1638"/>
                  <a:gd name="T25" fmla="*/ 2147483647 h 1356"/>
                  <a:gd name="T26" fmla="*/ 2147483647 w 1638"/>
                  <a:gd name="T27" fmla="*/ 2147483647 h 1356"/>
                  <a:gd name="T28" fmla="*/ 2147483647 w 1638"/>
                  <a:gd name="T29" fmla="*/ 2147483647 h 1356"/>
                  <a:gd name="T30" fmla="*/ 2147483647 w 1638"/>
                  <a:gd name="T31" fmla="*/ 2147483647 h 1356"/>
                  <a:gd name="T32" fmla="*/ 2147483647 w 1638"/>
                  <a:gd name="T33" fmla="*/ 2147483647 h 1356"/>
                  <a:gd name="T34" fmla="*/ 2147483647 w 1638"/>
                  <a:gd name="T35" fmla="*/ 2147483647 h 1356"/>
                  <a:gd name="T36" fmla="*/ 2147483647 w 1638"/>
                  <a:gd name="T37" fmla="*/ 2147483647 h 1356"/>
                  <a:gd name="T38" fmla="*/ 2147483647 w 1638"/>
                  <a:gd name="T39" fmla="*/ 2147483647 h 1356"/>
                  <a:gd name="T40" fmla="*/ 2147483647 w 1638"/>
                  <a:gd name="T41" fmla="*/ 2147483647 h 1356"/>
                  <a:gd name="T42" fmla="*/ 2147483647 w 1638"/>
                  <a:gd name="T43" fmla="*/ 2147483647 h 1356"/>
                  <a:gd name="T44" fmla="*/ 2147483647 w 1638"/>
                  <a:gd name="T45" fmla="*/ 2147483647 h 1356"/>
                  <a:gd name="T46" fmla="*/ 2147483647 w 1638"/>
                  <a:gd name="T47" fmla="*/ 2147483647 h 1356"/>
                  <a:gd name="T48" fmla="*/ 2147483647 w 1638"/>
                  <a:gd name="T49" fmla="*/ 2147483647 h 1356"/>
                  <a:gd name="T50" fmla="*/ 2147483647 w 1638"/>
                  <a:gd name="T51" fmla="*/ 2147483647 h 1356"/>
                  <a:gd name="T52" fmla="*/ 2147483647 w 1638"/>
                  <a:gd name="T53" fmla="*/ 2147483647 h 1356"/>
                  <a:gd name="T54" fmla="*/ 2147483647 w 1638"/>
                  <a:gd name="T55" fmla="*/ 2147483647 h 1356"/>
                  <a:gd name="T56" fmla="*/ 2147483647 w 1638"/>
                  <a:gd name="T57" fmla="*/ 2147483647 h 1356"/>
                  <a:gd name="T58" fmla="*/ 2147483647 w 1638"/>
                  <a:gd name="T59" fmla="*/ 2147483647 h 1356"/>
                  <a:gd name="T60" fmla="*/ 2147483647 w 1638"/>
                  <a:gd name="T61" fmla="*/ 2147483647 h 1356"/>
                  <a:gd name="T62" fmla="*/ 2147483647 w 1638"/>
                  <a:gd name="T63" fmla="*/ 2147483647 h 1356"/>
                  <a:gd name="T64" fmla="*/ 2147483647 w 1638"/>
                  <a:gd name="T65" fmla="*/ 2147483647 h 1356"/>
                  <a:gd name="T66" fmla="*/ 2147483647 w 1638"/>
                  <a:gd name="T67" fmla="*/ 2147483647 h 1356"/>
                  <a:gd name="T68" fmla="*/ 2147483647 w 1638"/>
                  <a:gd name="T69" fmla="*/ 2147483647 h 1356"/>
                  <a:gd name="T70" fmla="*/ 2147483647 w 1638"/>
                  <a:gd name="T71" fmla="*/ 2147483647 h 1356"/>
                  <a:gd name="T72" fmla="*/ 2147483647 w 1638"/>
                  <a:gd name="T73" fmla="*/ 2147483647 h 1356"/>
                  <a:gd name="T74" fmla="*/ 2147483647 w 1638"/>
                  <a:gd name="T75" fmla="*/ 2147483647 h 1356"/>
                  <a:gd name="T76" fmla="*/ 2147483647 w 1638"/>
                  <a:gd name="T77" fmla="*/ 2147483647 h 1356"/>
                  <a:gd name="T78" fmla="*/ 2147483647 w 1638"/>
                  <a:gd name="T79" fmla="*/ 2147483647 h 1356"/>
                  <a:gd name="T80" fmla="*/ 2147483647 w 1638"/>
                  <a:gd name="T81" fmla="*/ 2147483647 h 1356"/>
                  <a:gd name="T82" fmla="*/ 2147483647 w 1638"/>
                  <a:gd name="T83" fmla="*/ 2147483647 h 1356"/>
                  <a:gd name="T84" fmla="*/ 2147483647 w 1638"/>
                  <a:gd name="T85" fmla="*/ 2147483647 h 1356"/>
                  <a:gd name="T86" fmla="*/ 2147483647 w 1638"/>
                  <a:gd name="T87" fmla="*/ 2147483647 h 1356"/>
                  <a:gd name="T88" fmla="*/ 2147483647 w 1638"/>
                  <a:gd name="T89" fmla="*/ 2147483647 h 1356"/>
                  <a:gd name="T90" fmla="*/ 2147483647 w 1638"/>
                  <a:gd name="T91" fmla="*/ 2147483647 h 1356"/>
                  <a:gd name="T92" fmla="*/ 2147483647 w 1638"/>
                  <a:gd name="T93" fmla="*/ 2147483647 h 1356"/>
                  <a:gd name="T94" fmla="*/ 2147483647 w 1638"/>
                  <a:gd name="T95" fmla="*/ 2147483647 h 1356"/>
                  <a:gd name="T96" fmla="*/ 2147483647 w 1638"/>
                  <a:gd name="T97" fmla="*/ 2147483647 h 1356"/>
                  <a:gd name="T98" fmla="*/ 2147483647 w 1638"/>
                  <a:gd name="T99" fmla="*/ 2147483647 h 1356"/>
                  <a:gd name="T100" fmla="*/ 2147483647 w 1638"/>
                  <a:gd name="T101" fmla="*/ 2147483647 h 1356"/>
                  <a:gd name="T102" fmla="*/ 2147483647 w 1638"/>
                  <a:gd name="T103" fmla="*/ 2147483647 h 1356"/>
                  <a:gd name="T104" fmla="*/ 2147483647 w 1638"/>
                  <a:gd name="T105" fmla="*/ 2147483647 h 1356"/>
                  <a:gd name="T106" fmla="*/ 2147483647 w 1638"/>
                  <a:gd name="T107" fmla="*/ 2147483647 h 1356"/>
                  <a:gd name="T108" fmla="*/ 2147483647 w 1638"/>
                  <a:gd name="T109" fmla="*/ 2147483647 h 1356"/>
                  <a:gd name="T110" fmla="*/ 2147483647 w 1638"/>
                  <a:gd name="T111" fmla="*/ 2147483647 h 1356"/>
                  <a:gd name="T112" fmla="*/ 2147483647 w 1638"/>
                  <a:gd name="T113" fmla="*/ 2147483647 h 1356"/>
                  <a:gd name="T114" fmla="*/ 2147483647 w 1638"/>
                  <a:gd name="T115" fmla="*/ 2147483647 h 1356"/>
                  <a:gd name="T116" fmla="*/ 2147483647 w 1638"/>
                  <a:gd name="T117" fmla="*/ 2147483647 h 1356"/>
                  <a:gd name="T118" fmla="*/ 2147483647 w 1638"/>
                  <a:gd name="T119" fmla="*/ 2147483647 h 1356"/>
                  <a:gd name="T120" fmla="*/ 2147483647 w 1638"/>
                  <a:gd name="T121" fmla="*/ 2147483647 h 1356"/>
                  <a:gd name="T122" fmla="*/ 2147483647 w 1638"/>
                  <a:gd name="T123" fmla="*/ 2147483647 h 13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638" h="1356">
                    <a:moveTo>
                      <a:pt x="1104" y="24"/>
                    </a:moveTo>
                    <a:lnTo>
                      <a:pt x="1104" y="30"/>
                    </a:lnTo>
                    <a:lnTo>
                      <a:pt x="1110" y="30"/>
                    </a:lnTo>
                    <a:lnTo>
                      <a:pt x="1110" y="36"/>
                    </a:lnTo>
                    <a:lnTo>
                      <a:pt x="1110" y="42"/>
                    </a:lnTo>
                    <a:lnTo>
                      <a:pt x="1116" y="42"/>
                    </a:lnTo>
                    <a:lnTo>
                      <a:pt x="1116" y="48"/>
                    </a:lnTo>
                    <a:lnTo>
                      <a:pt x="1122" y="48"/>
                    </a:lnTo>
                    <a:lnTo>
                      <a:pt x="1122" y="54"/>
                    </a:lnTo>
                    <a:lnTo>
                      <a:pt x="1128" y="54"/>
                    </a:lnTo>
                    <a:lnTo>
                      <a:pt x="1128" y="60"/>
                    </a:lnTo>
                    <a:lnTo>
                      <a:pt x="1134" y="60"/>
                    </a:lnTo>
                    <a:lnTo>
                      <a:pt x="1140" y="60"/>
                    </a:lnTo>
                    <a:lnTo>
                      <a:pt x="1140" y="66"/>
                    </a:lnTo>
                    <a:lnTo>
                      <a:pt x="1146" y="66"/>
                    </a:lnTo>
                    <a:lnTo>
                      <a:pt x="1146" y="78"/>
                    </a:lnTo>
                    <a:lnTo>
                      <a:pt x="1158" y="66"/>
                    </a:lnTo>
                    <a:lnTo>
                      <a:pt x="1158" y="72"/>
                    </a:lnTo>
                    <a:lnTo>
                      <a:pt x="1158" y="78"/>
                    </a:lnTo>
                    <a:lnTo>
                      <a:pt x="1164" y="78"/>
                    </a:lnTo>
                    <a:lnTo>
                      <a:pt x="1170" y="84"/>
                    </a:lnTo>
                    <a:lnTo>
                      <a:pt x="1176" y="78"/>
                    </a:lnTo>
                    <a:lnTo>
                      <a:pt x="1182" y="78"/>
                    </a:lnTo>
                    <a:lnTo>
                      <a:pt x="1188" y="78"/>
                    </a:lnTo>
                    <a:lnTo>
                      <a:pt x="1188" y="84"/>
                    </a:lnTo>
                    <a:lnTo>
                      <a:pt x="1194" y="84"/>
                    </a:lnTo>
                    <a:lnTo>
                      <a:pt x="1200" y="84"/>
                    </a:lnTo>
                    <a:lnTo>
                      <a:pt x="1200" y="90"/>
                    </a:lnTo>
                    <a:lnTo>
                      <a:pt x="1206" y="90"/>
                    </a:lnTo>
                    <a:lnTo>
                      <a:pt x="1212" y="90"/>
                    </a:lnTo>
                    <a:lnTo>
                      <a:pt x="1218" y="90"/>
                    </a:lnTo>
                    <a:lnTo>
                      <a:pt x="1224" y="90"/>
                    </a:lnTo>
                    <a:lnTo>
                      <a:pt x="1230" y="96"/>
                    </a:lnTo>
                    <a:lnTo>
                      <a:pt x="1230" y="102"/>
                    </a:lnTo>
                    <a:lnTo>
                      <a:pt x="1230" y="108"/>
                    </a:lnTo>
                    <a:lnTo>
                      <a:pt x="1236" y="108"/>
                    </a:lnTo>
                    <a:lnTo>
                      <a:pt x="1236" y="114"/>
                    </a:lnTo>
                    <a:lnTo>
                      <a:pt x="1236" y="108"/>
                    </a:lnTo>
                    <a:lnTo>
                      <a:pt x="1242" y="108"/>
                    </a:lnTo>
                    <a:lnTo>
                      <a:pt x="1242" y="102"/>
                    </a:lnTo>
                    <a:lnTo>
                      <a:pt x="1248" y="102"/>
                    </a:lnTo>
                    <a:lnTo>
                      <a:pt x="1254" y="102"/>
                    </a:lnTo>
                    <a:lnTo>
                      <a:pt x="1254" y="108"/>
                    </a:lnTo>
                    <a:lnTo>
                      <a:pt x="1260" y="108"/>
                    </a:lnTo>
                    <a:lnTo>
                      <a:pt x="1260" y="114"/>
                    </a:lnTo>
                    <a:lnTo>
                      <a:pt x="1266" y="120"/>
                    </a:lnTo>
                    <a:lnTo>
                      <a:pt x="1272" y="120"/>
                    </a:lnTo>
                    <a:lnTo>
                      <a:pt x="1272" y="126"/>
                    </a:lnTo>
                    <a:lnTo>
                      <a:pt x="1272" y="132"/>
                    </a:lnTo>
                    <a:lnTo>
                      <a:pt x="1266" y="132"/>
                    </a:lnTo>
                    <a:lnTo>
                      <a:pt x="1266" y="138"/>
                    </a:lnTo>
                    <a:lnTo>
                      <a:pt x="1272" y="138"/>
                    </a:lnTo>
                    <a:lnTo>
                      <a:pt x="1272" y="132"/>
                    </a:lnTo>
                    <a:lnTo>
                      <a:pt x="1278" y="132"/>
                    </a:lnTo>
                    <a:lnTo>
                      <a:pt x="1278" y="126"/>
                    </a:lnTo>
                    <a:lnTo>
                      <a:pt x="1284" y="126"/>
                    </a:lnTo>
                    <a:lnTo>
                      <a:pt x="1284" y="120"/>
                    </a:lnTo>
                    <a:lnTo>
                      <a:pt x="1290" y="120"/>
                    </a:lnTo>
                    <a:lnTo>
                      <a:pt x="1296" y="120"/>
                    </a:lnTo>
                    <a:lnTo>
                      <a:pt x="1302" y="120"/>
                    </a:lnTo>
                    <a:lnTo>
                      <a:pt x="1302" y="114"/>
                    </a:lnTo>
                    <a:lnTo>
                      <a:pt x="1296" y="114"/>
                    </a:lnTo>
                    <a:lnTo>
                      <a:pt x="1290" y="114"/>
                    </a:lnTo>
                    <a:lnTo>
                      <a:pt x="1290" y="108"/>
                    </a:lnTo>
                    <a:lnTo>
                      <a:pt x="1296" y="108"/>
                    </a:lnTo>
                    <a:lnTo>
                      <a:pt x="1296" y="102"/>
                    </a:lnTo>
                    <a:lnTo>
                      <a:pt x="1302" y="102"/>
                    </a:lnTo>
                    <a:lnTo>
                      <a:pt x="1308" y="102"/>
                    </a:lnTo>
                    <a:lnTo>
                      <a:pt x="1308" y="108"/>
                    </a:lnTo>
                    <a:lnTo>
                      <a:pt x="1314" y="108"/>
                    </a:lnTo>
                    <a:lnTo>
                      <a:pt x="1320" y="108"/>
                    </a:lnTo>
                    <a:lnTo>
                      <a:pt x="1320" y="114"/>
                    </a:lnTo>
                    <a:lnTo>
                      <a:pt x="1326" y="114"/>
                    </a:lnTo>
                    <a:lnTo>
                      <a:pt x="1326" y="120"/>
                    </a:lnTo>
                    <a:lnTo>
                      <a:pt x="1332" y="120"/>
                    </a:lnTo>
                    <a:lnTo>
                      <a:pt x="1338" y="120"/>
                    </a:lnTo>
                    <a:lnTo>
                      <a:pt x="1338" y="126"/>
                    </a:lnTo>
                    <a:lnTo>
                      <a:pt x="1344" y="126"/>
                    </a:lnTo>
                    <a:lnTo>
                      <a:pt x="1350" y="126"/>
                    </a:lnTo>
                    <a:lnTo>
                      <a:pt x="1350" y="132"/>
                    </a:lnTo>
                    <a:lnTo>
                      <a:pt x="1356" y="132"/>
                    </a:lnTo>
                    <a:lnTo>
                      <a:pt x="1362" y="132"/>
                    </a:lnTo>
                    <a:lnTo>
                      <a:pt x="1368" y="132"/>
                    </a:lnTo>
                    <a:lnTo>
                      <a:pt x="1368" y="138"/>
                    </a:lnTo>
                    <a:lnTo>
                      <a:pt x="1374" y="138"/>
                    </a:lnTo>
                    <a:lnTo>
                      <a:pt x="1374" y="132"/>
                    </a:lnTo>
                    <a:lnTo>
                      <a:pt x="1380" y="126"/>
                    </a:lnTo>
                    <a:lnTo>
                      <a:pt x="1386" y="126"/>
                    </a:lnTo>
                    <a:lnTo>
                      <a:pt x="1392" y="126"/>
                    </a:lnTo>
                    <a:lnTo>
                      <a:pt x="1392" y="120"/>
                    </a:lnTo>
                    <a:lnTo>
                      <a:pt x="1398" y="120"/>
                    </a:lnTo>
                    <a:lnTo>
                      <a:pt x="1404" y="120"/>
                    </a:lnTo>
                    <a:lnTo>
                      <a:pt x="1410" y="120"/>
                    </a:lnTo>
                    <a:lnTo>
                      <a:pt x="1410" y="126"/>
                    </a:lnTo>
                    <a:lnTo>
                      <a:pt x="1416" y="132"/>
                    </a:lnTo>
                    <a:lnTo>
                      <a:pt x="1422" y="132"/>
                    </a:lnTo>
                    <a:lnTo>
                      <a:pt x="1428" y="138"/>
                    </a:lnTo>
                    <a:lnTo>
                      <a:pt x="1428" y="144"/>
                    </a:lnTo>
                    <a:lnTo>
                      <a:pt x="1428" y="150"/>
                    </a:lnTo>
                    <a:lnTo>
                      <a:pt x="1434" y="150"/>
                    </a:lnTo>
                    <a:lnTo>
                      <a:pt x="1434" y="156"/>
                    </a:lnTo>
                    <a:lnTo>
                      <a:pt x="1434" y="162"/>
                    </a:lnTo>
                    <a:lnTo>
                      <a:pt x="1434" y="168"/>
                    </a:lnTo>
                    <a:lnTo>
                      <a:pt x="1440" y="168"/>
                    </a:lnTo>
                    <a:lnTo>
                      <a:pt x="1440" y="174"/>
                    </a:lnTo>
                    <a:lnTo>
                      <a:pt x="1446" y="174"/>
                    </a:lnTo>
                    <a:lnTo>
                      <a:pt x="1446" y="168"/>
                    </a:lnTo>
                    <a:lnTo>
                      <a:pt x="1452" y="168"/>
                    </a:lnTo>
                    <a:lnTo>
                      <a:pt x="1458" y="168"/>
                    </a:lnTo>
                    <a:lnTo>
                      <a:pt x="1464" y="168"/>
                    </a:lnTo>
                    <a:lnTo>
                      <a:pt x="1470" y="168"/>
                    </a:lnTo>
                    <a:lnTo>
                      <a:pt x="1470" y="174"/>
                    </a:lnTo>
                    <a:lnTo>
                      <a:pt x="1476" y="174"/>
                    </a:lnTo>
                    <a:lnTo>
                      <a:pt x="1476" y="180"/>
                    </a:lnTo>
                    <a:lnTo>
                      <a:pt x="1482" y="180"/>
                    </a:lnTo>
                    <a:lnTo>
                      <a:pt x="1482" y="186"/>
                    </a:lnTo>
                    <a:lnTo>
                      <a:pt x="1488" y="186"/>
                    </a:lnTo>
                    <a:lnTo>
                      <a:pt x="1494" y="186"/>
                    </a:lnTo>
                    <a:lnTo>
                      <a:pt x="1494" y="192"/>
                    </a:lnTo>
                    <a:lnTo>
                      <a:pt x="1500" y="192"/>
                    </a:lnTo>
                    <a:lnTo>
                      <a:pt x="1506" y="192"/>
                    </a:lnTo>
                    <a:lnTo>
                      <a:pt x="1506" y="198"/>
                    </a:lnTo>
                    <a:lnTo>
                      <a:pt x="1506" y="204"/>
                    </a:lnTo>
                    <a:lnTo>
                      <a:pt x="1512" y="204"/>
                    </a:lnTo>
                    <a:lnTo>
                      <a:pt x="1518" y="204"/>
                    </a:lnTo>
                    <a:lnTo>
                      <a:pt x="1524" y="204"/>
                    </a:lnTo>
                    <a:lnTo>
                      <a:pt x="1530" y="204"/>
                    </a:lnTo>
                    <a:lnTo>
                      <a:pt x="1530" y="210"/>
                    </a:lnTo>
                    <a:lnTo>
                      <a:pt x="1536" y="210"/>
                    </a:lnTo>
                    <a:lnTo>
                      <a:pt x="1542" y="210"/>
                    </a:lnTo>
                    <a:lnTo>
                      <a:pt x="1542" y="216"/>
                    </a:lnTo>
                    <a:lnTo>
                      <a:pt x="1542" y="222"/>
                    </a:lnTo>
                    <a:lnTo>
                      <a:pt x="1548" y="222"/>
                    </a:lnTo>
                    <a:lnTo>
                      <a:pt x="1548" y="228"/>
                    </a:lnTo>
                    <a:lnTo>
                      <a:pt x="1548" y="234"/>
                    </a:lnTo>
                    <a:lnTo>
                      <a:pt x="1554" y="234"/>
                    </a:lnTo>
                    <a:lnTo>
                      <a:pt x="1554" y="240"/>
                    </a:lnTo>
                    <a:lnTo>
                      <a:pt x="1548" y="240"/>
                    </a:lnTo>
                    <a:lnTo>
                      <a:pt x="1554" y="246"/>
                    </a:lnTo>
                    <a:lnTo>
                      <a:pt x="1560" y="252"/>
                    </a:lnTo>
                    <a:lnTo>
                      <a:pt x="1560" y="258"/>
                    </a:lnTo>
                    <a:lnTo>
                      <a:pt x="1566" y="258"/>
                    </a:lnTo>
                    <a:lnTo>
                      <a:pt x="1566" y="264"/>
                    </a:lnTo>
                    <a:lnTo>
                      <a:pt x="1566" y="270"/>
                    </a:lnTo>
                    <a:lnTo>
                      <a:pt x="1572" y="270"/>
                    </a:lnTo>
                    <a:lnTo>
                      <a:pt x="1572" y="276"/>
                    </a:lnTo>
                    <a:lnTo>
                      <a:pt x="1578" y="276"/>
                    </a:lnTo>
                    <a:lnTo>
                      <a:pt x="1578" y="282"/>
                    </a:lnTo>
                    <a:lnTo>
                      <a:pt x="1584" y="282"/>
                    </a:lnTo>
                    <a:lnTo>
                      <a:pt x="1584" y="288"/>
                    </a:lnTo>
                    <a:lnTo>
                      <a:pt x="1584" y="294"/>
                    </a:lnTo>
                    <a:lnTo>
                      <a:pt x="1584" y="300"/>
                    </a:lnTo>
                    <a:lnTo>
                      <a:pt x="1590" y="300"/>
                    </a:lnTo>
                    <a:lnTo>
                      <a:pt x="1596" y="300"/>
                    </a:lnTo>
                    <a:lnTo>
                      <a:pt x="1602" y="300"/>
                    </a:lnTo>
                    <a:lnTo>
                      <a:pt x="1602" y="294"/>
                    </a:lnTo>
                    <a:lnTo>
                      <a:pt x="1608" y="294"/>
                    </a:lnTo>
                    <a:lnTo>
                      <a:pt x="1614" y="294"/>
                    </a:lnTo>
                    <a:lnTo>
                      <a:pt x="1614" y="288"/>
                    </a:lnTo>
                    <a:lnTo>
                      <a:pt x="1614" y="282"/>
                    </a:lnTo>
                    <a:lnTo>
                      <a:pt x="1620" y="282"/>
                    </a:lnTo>
                    <a:lnTo>
                      <a:pt x="1626" y="282"/>
                    </a:lnTo>
                    <a:lnTo>
                      <a:pt x="1632" y="282"/>
                    </a:lnTo>
                    <a:lnTo>
                      <a:pt x="1638" y="282"/>
                    </a:lnTo>
                    <a:lnTo>
                      <a:pt x="1632" y="282"/>
                    </a:lnTo>
                    <a:lnTo>
                      <a:pt x="1626" y="282"/>
                    </a:lnTo>
                    <a:lnTo>
                      <a:pt x="1626" y="288"/>
                    </a:lnTo>
                    <a:lnTo>
                      <a:pt x="1620" y="288"/>
                    </a:lnTo>
                    <a:lnTo>
                      <a:pt x="1620" y="294"/>
                    </a:lnTo>
                    <a:lnTo>
                      <a:pt x="1620" y="300"/>
                    </a:lnTo>
                    <a:lnTo>
                      <a:pt x="1620" y="306"/>
                    </a:lnTo>
                    <a:lnTo>
                      <a:pt x="1626" y="306"/>
                    </a:lnTo>
                    <a:lnTo>
                      <a:pt x="1626" y="312"/>
                    </a:lnTo>
                    <a:lnTo>
                      <a:pt x="1632" y="312"/>
                    </a:lnTo>
                    <a:lnTo>
                      <a:pt x="1632" y="318"/>
                    </a:lnTo>
                    <a:lnTo>
                      <a:pt x="1638" y="318"/>
                    </a:lnTo>
                    <a:lnTo>
                      <a:pt x="1638" y="324"/>
                    </a:lnTo>
                    <a:lnTo>
                      <a:pt x="1638" y="330"/>
                    </a:lnTo>
                    <a:lnTo>
                      <a:pt x="1632" y="330"/>
                    </a:lnTo>
                    <a:lnTo>
                      <a:pt x="1632" y="336"/>
                    </a:lnTo>
                    <a:lnTo>
                      <a:pt x="1626" y="336"/>
                    </a:lnTo>
                    <a:lnTo>
                      <a:pt x="1620" y="342"/>
                    </a:lnTo>
                    <a:lnTo>
                      <a:pt x="1614" y="342"/>
                    </a:lnTo>
                    <a:lnTo>
                      <a:pt x="1614" y="348"/>
                    </a:lnTo>
                    <a:lnTo>
                      <a:pt x="1608" y="348"/>
                    </a:lnTo>
                    <a:lnTo>
                      <a:pt x="1608" y="354"/>
                    </a:lnTo>
                    <a:lnTo>
                      <a:pt x="1608" y="360"/>
                    </a:lnTo>
                    <a:lnTo>
                      <a:pt x="1608" y="366"/>
                    </a:lnTo>
                    <a:lnTo>
                      <a:pt x="1614" y="366"/>
                    </a:lnTo>
                    <a:lnTo>
                      <a:pt x="1614" y="372"/>
                    </a:lnTo>
                    <a:lnTo>
                      <a:pt x="1614" y="378"/>
                    </a:lnTo>
                    <a:lnTo>
                      <a:pt x="1614" y="384"/>
                    </a:lnTo>
                    <a:lnTo>
                      <a:pt x="1608" y="390"/>
                    </a:lnTo>
                    <a:lnTo>
                      <a:pt x="1614" y="396"/>
                    </a:lnTo>
                    <a:lnTo>
                      <a:pt x="1614" y="402"/>
                    </a:lnTo>
                    <a:lnTo>
                      <a:pt x="1614" y="408"/>
                    </a:lnTo>
                    <a:lnTo>
                      <a:pt x="1614" y="414"/>
                    </a:lnTo>
                    <a:lnTo>
                      <a:pt x="1608" y="414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602" y="426"/>
                    </a:lnTo>
                    <a:lnTo>
                      <a:pt x="1602" y="432"/>
                    </a:lnTo>
                    <a:lnTo>
                      <a:pt x="1602" y="438"/>
                    </a:lnTo>
                    <a:lnTo>
                      <a:pt x="1596" y="438"/>
                    </a:lnTo>
                    <a:lnTo>
                      <a:pt x="1596" y="444"/>
                    </a:lnTo>
                    <a:lnTo>
                      <a:pt x="1596" y="450"/>
                    </a:lnTo>
                    <a:lnTo>
                      <a:pt x="1596" y="456"/>
                    </a:lnTo>
                    <a:lnTo>
                      <a:pt x="1596" y="462"/>
                    </a:lnTo>
                    <a:lnTo>
                      <a:pt x="1590" y="462"/>
                    </a:lnTo>
                    <a:lnTo>
                      <a:pt x="1590" y="468"/>
                    </a:lnTo>
                    <a:lnTo>
                      <a:pt x="1584" y="468"/>
                    </a:lnTo>
                    <a:lnTo>
                      <a:pt x="1584" y="474"/>
                    </a:lnTo>
                    <a:lnTo>
                      <a:pt x="1584" y="480"/>
                    </a:lnTo>
                    <a:lnTo>
                      <a:pt x="1584" y="486"/>
                    </a:lnTo>
                    <a:lnTo>
                      <a:pt x="1584" y="492"/>
                    </a:lnTo>
                    <a:lnTo>
                      <a:pt x="1590" y="492"/>
                    </a:lnTo>
                    <a:lnTo>
                      <a:pt x="1590" y="498"/>
                    </a:lnTo>
                    <a:lnTo>
                      <a:pt x="1596" y="498"/>
                    </a:lnTo>
                    <a:lnTo>
                      <a:pt x="1596" y="504"/>
                    </a:lnTo>
                    <a:lnTo>
                      <a:pt x="1596" y="510"/>
                    </a:lnTo>
                    <a:lnTo>
                      <a:pt x="1596" y="516"/>
                    </a:lnTo>
                    <a:lnTo>
                      <a:pt x="1596" y="522"/>
                    </a:lnTo>
                    <a:lnTo>
                      <a:pt x="1590" y="522"/>
                    </a:lnTo>
                    <a:lnTo>
                      <a:pt x="1590" y="528"/>
                    </a:lnTo>
                    <a:lnTo>
                      <a:pt x="1584" y="528"/>
                    </a:lnTo>
                    <a:lnTo>
                      <a:pt x="1584" y="534"/>
                    </a:lnTo>
                    <a:lnTo>
                      <a:pt x="1578" y="534"/>
                    </a:lnTo>
                    <a:lnTo>
                      <a:pt x="1578" y="540"/>
                    </a:lnTo>
                    <a:lnTo>
                      <a:pt x="1578" y="546"/>
                    </a:lnTo>
                    <a:lnTo>
                      <a:pt x="1572" y="546"/>
                    </a:lnTo>
                    <a:lnTo>
                      <a:pt x="1572" y="552"/>
                    </a:lnTo>
                    <a:lnTo>
                      <a:pt x="1566" y="552"/>
                    </a:lnTo>
                    <a:lnTo>
                      <a:pt x="1560" y="552"/>
                    </a:lnTo>
                    <a:lnTo>
                      <a:pt x="1554" y="552"/>
                    </a:lnTo>
                    <a:lnTo>
                      <a:pt x="1548" y="552"/>
                    </a:lnTo>
                    <a:lnTo>
                      <a:pt x="1542" y="552"/>
                    </a:lnTo>
                    <a:lnTo>
                      <a:pt x="1542" y="558"/>
                    </a:lnTo>
                    <a:lnTo>
                      <a:pt x="1536" y="558"/>
                    </a:lnTo>
                    <a:lnTo>
                      <a:pt x="1536" y="564"/>
                    </a:lnTo>
                    <a:lnTo>
                      <a:pt x="1536" y="570"/>
                    </a:lnTo>
                    <a:lnTo>
                      <a:pt x="1530" y="570"/>
                    </a:lnTo>
                    <a:lnTo>
                      <a:pt x="1524" y="570"/>
                    </a:lnTo>
                    <a:lnTo>
                      <a:pt x="1524" y="576"/>
                    </a:lnTo>
                    <a:lnTo>
                      <a:pt x="1524" y="582"/>
                    </a:lnTo>
                    <a:lnTo>
                      <a:pt x="1518" y="582"/>
                    </a:lnTo>
                    <a:lnTo>
                      <a:pt x="1518" y="588"/>
                    </a:lnTo>
                    <a:lnTo>
                      <a:pt x="1512" y="588"/>
                    </a:lnTo>
                    <a:lnTo>
                      <a:pt x="1506" y="588"/>
                    </a:lnTo>
                    <a:lnTo>
                      <a:pt x="1500" y="588"/>
                    </a:lnTo>
                    <a:lnTo>
                      <a:pt x="1500" y="594"/>
                    </a:lnTo>
                    <a:lnTo>
                      <a:pt x="1494" y="594"/>
                    </a:lnTo>
                    <a:lnTo>
                      <a:pt x="1494" y="600"/>
                    </a:lnTo>
                    <a:lnTo>
                      <a:pt x="1488" y="600"/>
                    </a:lnTo>
                    <a:lnTo>
                      <a:pt x="1488" y="606"/>
                    </a:lnTo>
                    <a:lnTo>
                      <a:pt x="1482" y="606"/>
                    </a:lnTo>
                    <a:lnTo>
                      <a:pt x="1482" y="612"/>
                    </a:lnTo>
                    <a:lnTo>
                      <a:pt x="1476" y="612"/>
                    </a:lnTo>
                    <a:lnTo>
                      <a:pt x="1470" y="612"/>
                    </a:lnTo>
                    <a:lnTo>
                      <a:pt x="1464" y="612"/>
                    </a:lnTo>
                    <a:lnTo>
                      <a:pt x="1458" y="612"/>
                    </a:lnTo>
                    <a:lnTo>
                      <a:pt x="1458" y="618"/>
                    </a:lnTo>
                    <a:lnTo>
                      <a:pt x="1452" y="618"/>
                    </a:lnTo>
                    <a:lnTo>
                      <a:pt x="1452" y="624"/>
                    </a:lnTo>
                    <a:lnTo>
                      <a:pt x="1452" y="630"/>
                    </a:lnTo>
                    <a:lnTo>
                      <a:pt x="1452" y="636"/>
                    </a:lnTo>
                    <a:lnTo>
                      <a:pt x="1452" y="642"/>
                    </a:lnTo>
                    <a:lnTo>
                      <a:pt x="1446" y="648"/>
                    </a:lnTo>
                    <a:lnTo>
                      <a:pt x="1440" y="642"/>
                    </a:lnTo>
                    <a:lnTo>
                      <a:pt x="1434" y="648"/>
                    </a:lnTo>
                    <a:lnTo>
                      <a:pt x="1428" y="648"/>
                    </a:lnTo>
                    <a:lnTo>
                      <a:pt x="1422" y="648"/>
                    </a:lnTo>
                    <a:lnTo>
                      <a:pt x="1416" y="648"/>
                    </a:lnTo>
                    <a:lnTo>
                      <a:pt x="1410" y="648"/>
                    </a:lnTo>
                    <a:lnTo>
                      <a:pt x="1404" y="648"/>
                    </a:lnTo>
                    <a:lnTo>
                      <a:pt x="1398" y="648"/>
                    </a:lnTo>
                    <a:lnTo>
                      <a:pt x="1398" y="654"/>
                    </a:lnTo>
                    <a:lnTo>
                      <a:pt x="1392" y="654"/>
                    </a:lnTo>
                    <a:lnTo>
                      <a:pt x="1386" y="654"/>
                    </a:lnTo>
                    <a:lnTo>
                      <a:pt x="1380" y="654"/>
                    </a:lnTo>
                    <a:lnTo>
                      <a:pt x="1380" y="660"/>
                    </a:lnTo>
                    <a:lnTo>
                      <a:pt x="1374" y="666"/>
                    </a:lnTo>
                    <a:lnTo>
                      <a:pt x="1368" y="666"/>
                    </a:lnTo>
                    <a:lnTo>
                      <a:pt x="1368" y="672"/>
                    </a:lnTo>
                    <a:lnTo>
                      <a:pt x="1368" y="678"/>
                    </a:lnTo>
                    <a:lnTo>
                      <a:pt x="1368" y="684"/>
                    </a:lnTo>
                    <a:lnTo>
                      <a:pt x="1362" y="690"/>
                    </a:lnTo>
                    <a:lnTo>
                      <a:pt x="1356" y="690"/>
                    </a:lnTo>
                    <a:lnTo>
                      <a:pt x="1356" y="696"/>
                    </a:lnTo>
                    <a:lnTo>
                      <a:pt x="1356" y="702"/>
                    </a:lnTo>
                    <a:lnTo>
                      <a:pt x="1356" y="708"/>
                    </a:lnTo>
                    <a:lnTo>
                      <a:pt x="1350" y="714"/>
                    </a:lnTo>
                    <a:lnTo>
                      <a:pt x="1350" y="720"/>
                    </a:lnTo>
                    <a:lnTo>
                      <a:pt x="1344" y="714"/>
                    </a:lnTo>
                    <a:lnTo>
                      <a:pt x="1338" y="714"/>
                    </a:lnTo>
                    <a:lnTo>
                      <a:pt x="1332" y="708"/>
                    </a:lnTo>
                    <a:lnTo>
                      <a:pt x="1332" y="702"/>
                    </a:lnTo>
                    <a:lnTo>
                      <a:pt x="1332" y="696"/>
                    </a:lnTo>
                    <a:lnTo>
                      <a:pt x="1326" y="696"/>
                    </a:lnTo>
                    <a:lnTo>
                      <a:pt x="1320" y="690"/>
                    </a:lnTo>
                    <a:lnTo>
                      <a:pt x="1314" y="690"/>
                    </a:lnTo>
                    <a:lnTo>
                      <a:pt x="1308" y="690"/>
                    </a:lnTo>
                    <a:lnTo>
                      <a:pt x="1302" y="684"/>
                    </a:lnTo>
                    <a:lnTo>
                      <a:pt x="1302" y="672"/>
                    </a:lnTo>
                    <a:lnTo>
                      <a:pt x="1302" y="666"/>
                    </a:lnTo>
                    <a:lnTo>
                      <a:pt x="1302" y="660"/>
                    </a:lnTo>
                    <a:lnTo>
                      <a:pt x="1296" y="660"/>
                    </a:lnTo>
                    <a:lnTo>
                      <a:pt x="1296" y="654"/>
                    </a:lnTo>
                    <a:lnTo>
                      <a:pt x="1290" y="654"/>
                    </a:lnTo>
                    <a:lnTo>
                      <a:pt x="1284" y="654"/>
                    </a:lnTo>
                    <a:lnTo>
                      <a:pt x="1278" y="654"/>
                    </a:lnTo>
                    <a:lnTo>
                      <a:pt x="1278" y="660"/>
                    </a:lnTo>
                    <a:lnTo>
                      <a:pt x="1272" y="660"/>
                    </a:lnTo>
                    <a:lnTo>
                      <a:pt x="1266" y="660"/>
                    </a:lnTo>
                    <a:lnTo>
                      <a:pt x="1260" y="660"/>
                    </a:lnTo>
                    <a:lnTo>
                      <a:pt x="1254" y="660"/>
                    </a:lnTo>
                    <a:lnTo>
                      <a:pt x="1248" y="660"/>
                    </a:lnTo>
                    <a:lnTo>
                      <a:pt x="1242" y="660"/>
                    </a:lnTo>
                    <a:lnTo>
                      <a:pt x="1236" y="660"/>
                    </a:lnTo>
                    <a:lnTo>
                      <a:pt x="1230" y="660"/>
                    </a:lnTo>
                    <a:lnTo>
                      <a:pt x="1224" y="666"/>
                    </a:lnTo>
                    <a:lnTo>
                      <a:pt x="1218" y="666"/>
                    </a:lnTo>
                    <a:lnTo>
                      <a:pt x="1212" y="666"/>
                    </a:lnTo>
                    <a:lnTo>
                      <a:pt x="1212" y="672"/>
                    </a:lnTo>
                    <a:lnTo>
                      <a:pt x="1206" y="678"/>
                    </a:lnTo>
                    <a:lnTo>
                      <a:pt x="1200" y="684"/>
                    </a:lnTo>
                    <a:lnTo>
                      <a:pt x="1200" y="690"/>
                    </a:lnTo>
                    <a:lnTo>
                      <a:pt x="1206" y="690"/>
                    </a:lnTo>
                    <a:lnTo>
                      <a:pt x="1200" y="690"/>
                    </a:lnTo>
                    <a:lnTo>
                      <a:pt x="1194" y="690"/>
                    </a:lnTo>
                    <a:lnTo>
                      <a:pt x="1188" y="690"/>
                    </a:lnTo>
                    <a:lnTo>
                      <a:pt x="1182" y="690"/>
                    </a:lnTo>
                    <a:lnTo>
                      <a:pt x="1182" y="696"/>
                    </a:lnTo>
                    <a:lnTo>
                      <a:pt x="1176" y="696"/>
                    </a:lnTo>
                    <a:lnTo>
                      <a:pt x="1170" y="690"/>
                    </a:lnTo>
                    <a:lnTo>
                      <a:pt x="1164" y="690"/>
                    </a:lnTo>
                    <a:lnTo>
                      <a:pt x="1158" y="690"/>
                    </a:lnTo>
                    <a:lnTo>
                      <a:pt x="1152" y="696"/>
                    </a:lnTo>
                    <a:lnTo>
                      <a:pt x="1152" y="690"/>
                    </a:lnTo>
                    <a:lnTo>
                      <a:pt x="1146" y="690"/>
                    </a:lnTo>
                    <a:lnTo>
                      <a:pt x="1140" y="690"/>
                    </a:lnTo>
                    <a:lnTo>
                      <a:pt x="1140" y="696"/>
                    </a:lnTo>
                    <a:lnTo>
                      <a:pt x="1134" y="696"/>
                    </a:lnTo>
                    <a:lnTo>
                      <a:pt x="1134" y="702"/>
                    </a:lnTo>
                    <a:lnTo>
                      <a:pt x="1128" y="702"/>
                    </a:lnTo>
                    <a:lnTo>
                      <a:pt x="1128" y="708"/>
                    </a:lnTo>
                    <a:lnTo>
                      <a:pt x="1128" y="714"/>
                    </a:lnTo>
                    <a:lnTo>
                      <a:pt x="1122" y="714"/>
                    </a:lnTo>
                    <a:lnTo>
                      <a:pt x="1122" y="720"/>
                    </a:lnTo>
                    <a:lnTo>
                      <a:pt x="1116" y="720"/>
                    </a:lnTo>
                    <a:lnTo>
                      <a:pt x="1116" y="726"/>
                    </a:lnTo>
                    <a:lnTo>
                      <a:pt x="1110" y="726"/>
                    </a:lnTo>
                    <a:lnTo>
                      <a:pt x="1110" y="732"/>
                    </a:lnTo>
                    <a:lnTo>
                      <a:pt x="1110" y="738"/>
                    </a:lnTo>
                    <a:lnTo>
                      <a:pt x="1098" y="744"/>
                    </a:lnTo>
                    <a:lnTo>
                      <a:pt x="1104" y="750"/>
                    </a:lnTo>
                    <a:lnTo>
                      <a:pt x="1098" y="750"/>
                    </a:lnTo>
                    <a:lnTo>
                      <a:pt x="1092" y="750"/>
                    </a:lnTo>
                    <a:lnTo>
                      <a:pt x="1086" y="750"/>
                    </a:lnTo>
                    <a:lnTo>
                      <a:pt x="1080" y="750"/>
                    </a:lnTo>
                    <a:lnTo>
                      <a:pt x="1080" y="744"/>
                    </a:lnTo>
                    <a:lnTo>
                      <a:pt x="1074" y="744"/>
                    </a:lnTo>
                    <a:lnTo>
                      <a:pt x="1068" y="744"/>
                    </a:lnTo>
                    <a:lnTo>
                      <a:pt x="1068" y="750"/>
                    </a:lnTo>
                    <a:lnTo>
                      <a:pt x="1062" y="750"/>
                    </a:lnTo>
                    <a:lnTo>
                      <a:pt x="1062" y="756"/>
                    </a:lnTo>
                    <a:lnTo>
                      <a:pt x="1062" y="762"/>
                    </a:lnTo>
                    <a:lnTo>
                      <a:pt x="1056" y="762"/>
                    </a:lnTo>
                    <a:lnTo>
                      <a:pt x="1050" y="762"/>
                    </a:lnTo>
                    <a:lnTo>
                      <a:pt x="1050" y="756"/>
                    </a:lnTo>
                    <a:lnTo>
                      <a:pt x="1044" y="756"/>
                    </a:lnTo>
                    <a:lnTo>
                      <a:pt x="1038" y="756"/>
                    </a:lnTo>
                    <a:lnTo>
                      <a:pt x="1038" y="762"/>
                    </a:lnTo>
                    <a:lnTo>
                      <a:pt x="1032" y="762"/>
                    </a:lnTo>
                    <a:lnTo>
                      <a:pt x="1026" y="756"/>
                    </a:lnTo>
                    <a:lnTo>
                      <a:pt x="1020" y="756"/>
                    </a:lnTo>
                    <a:lnTo>
                      <a:pt x="1020" y="762"/>
                    </a:lnTo>
                    <a:lnTo>
                      <a:pt x="1020" y="768"/>
                    </a:lnTo>
                    <a:lnTo>
                      <a:pt x="1014" y="768"/>
                    </a:lnTo>
                    <a:lnTo>
                      <a:pt x="1014" y="774"/>
                    </a:lnTo>
                    <a:lnTo>
                      <a:pt x="1008" y="774"/>
                    </a:lnTo>
                    <a:lnTo>
                      <a:pt x="1008" y="780"/>
                    </a:lnTo>
                    <a:lnTo>
                      <a:pt x="1008" y="786"/>
                    </a:lnTo>
                    <a:lnTo>
                      <a:pt x="1008" y="792"/>
                    </a:lnTo>
                    <a:lnTo>
                      <a:pt x="1002" y="792"/>
                    </a:lnTo>
                    <a:lnTo>
                      <a:pt x="996" y="792"/>
                    </a:lnTo>
                    <a:lnTo>
                      <a:pt x="1002" y="798"/>
                    </a:lnTo>
                    <a:lnTo>
                      <a:pt x="996" y="798"/>
                    </a:lnTo>
                    <a:lnTo>
                      <a:pt x="996" y="804"/>
                    </a:lnTo>
                    <a:lnTo>
                      <a:pt x="990" y="804"/>
                    </a:lnTo>
                    <a:lnTo>
                      <a:pt x="984" y="804"/>
                    </a:lnTo>
                    <a:lnTo>
                      <a:pt x="984" y="810"/>
                    </a:lnTo>
                    <a:lnTo>
                      <a:pt x="990" y="810"/>
                    </a:lnTo>
                    <a:lnTo>
                      <a:pt x="996" y="810"/>
                    </a:lnTo>
                    <a:lnTo>
                      <a:pt x="996" y="816"/>
                    </a:lnTo>
                    <a:lnTo>
                      <a:pt x="990" y="816"/>
                    </a:lnTo>
                    <a:lnTo>
                      <a:pt x="984" y="816"/>
                    </a:lnTo>
                    <a:lnTo>
                      <a:pt x="990" y="816"/>
                    </a:lnTo>
                    <a:lnTo>
                      <a:pt x="990" y="822"/>
                    </a:lnTo>
                    <a:lnTo>
                      <a:pt x="990" y="828"/>
                    </a:lnTo>
                    <a:lnTo>
                      <a:pt x="984" y="828"/>
                    </a:lnTo>
                    <a:lnTo>
                      <a:pt x="978" y="834"/>
                    </a:lnTo>
                    <a:lnTo>
                      <a:pt x="972" y="834"/>
                    </a:lnTo>
                    <a:lnTo>
                      <a:pt x="978" y="840"/>
                    </a:lnTo>
                    <a:lnTo>
                      <a:pt x="972" y="846"/>
                    </a:lnTo>
                    <a:lnTo>
                      <a:pt x="966" y="846"/>
                    </a:lnTo>
                    <a:lnTo>
                      <a:pt x="966" y="852"/>
                    </a:lnTo>
                    <a:lnTo>
                      <a:pt x="954" y="852"/>
                    </a:lnTo>
                    <a:lnTo>
                      <a:pt x="954" y="858"/>
                    </a:lnTo>
                    <a:lnTo>
                      <a:pt x="948" y="864"/>
                    </a:lnTo>
                    <a:lnTo>
                      <a:pt x="948" y="870"/>
                    </a:lnTo>
                    <a:lnTo>
                      <a:pt x="954" y="870"/>
                    </a:lnTo>
                    <a:lnTo>
                      <a:pt x="954" y="876"/>
                    </a:lnTo>
                    <a:lnTo>
                      <a:pt x="948" y="882"/>
                    </a:lnTo>
                    <a:lnTo>
                      <a:pt x="942" y="882"/>
                    </a:lnTo>
                    <a:lnTo>
                      <a:pt x="936" y="888"/>
                    </a:lnTo>
                    <a:lnTo>
                      <a:pt x="930" y="888"/>
                    </a:lnTo>
                    <a:lnTo>
                      <a:pt x="924" y="888"/>
                    </a:lnTo>
                    <a:lnTo>
                      <a:pt x="930" y="888"/>
                    </a:lnTo>
                    <a:lnTo>
                      <a:pt x="930" y="894"/>
                    </a:lnTo>
                    <a:lnTo>
                      <a:pt x="924" y="900"/>
                    </a:lnTo>
                    <a:lnTo>
                      <a:pt x="924" y="906"/>
                    </a:lnTo>
                    <a:lnTo>
                      <a:pt x="924" y="912"/>
                    </a:lnTo>
                    <a:lnTo>
                      <a:pt x="918" y="912"/>
                    </a:lnTo>
                    <a:lnTo>
                      <a:pt x="912" y="912"/>
                    </a:lnTo>
                    <a:lnTo>
                      <a:pt x="918" y="918"/>
                    </a:lnTo>
                    <a:lnTo>
                      <a:pt x="918" y="924"/>
                    </a:lnTo>
                    <a:lnTo>
                      <a:pt x="912" y="930"/>
                    </a:lnTo>
                    <a:lnTo>
                      <a:pt x="906" y="936"/>
                    </a:lnTo>
                    <a:lnTo>
                      <a:pt x="900" y="942"/>
                    </a:lnTo>
                    <a:lnTo>
                      <a:pt x="900" y="948"/>
                    </a:lnTo>
                    <a:lnTo>
                      <a:pt x="894" y="954"/>
                    </a:lnTo>
                    <a:lnTo>
                      <a:pt x="894" y="948"/>
                    </a:lnTo>
                    <a:lnTo>
                      <a:pt x="888" y="948"/>
                    </a:lnTo>
                    <a:lnTo>
                      <a:pt x="888" y="954"/>
                    </a:lnTo>
                    <a:lnTo>
                      <a:pt x="882" y="954"/>
                    </a:lnTo>
                    <a:lnTo>
                      <a:pt x="882" y="960"/>
                    </a:lnTo>
                    <a:lnTo>
                      <a:pt x="882" y="966"/>
                    </a:lnTo>
                    <a:lnTo>
                      <a:pt x="876" y="966"/>
                    </a:lnTo>
                    <a:lnTo>
                      <a:pt x="870" y="966"/>
                    </a:lnTo>
                    <a:lnTo>
                      <a:pt x="870" y="972"/>
                    </a:lnTo>
                    <a:lnTo>
                      <a:pt x="864" y="972"/>
                    </a:lnTo>
                    <a:lnTo>
                      <a:pt x="858" y="972"/>
                    </a:lnTo>
                    <a:lnTo>
                      <a:pt x="852" y="972"/>
                    </a:lnTo>
                    <a:lnTo>
                      <a:pt x="852" y="978"/>
                    </a:lnTo>
                    <a:lnTo>
                      <a:pt x="846" y="978"/>
                    </a:lnTo>
                    <a:lnTo>
                      <a:pt x="840" y="978"/>
                    </a:lnTo>
                    <a:lnTo>
                      <a:pt x="834" y="978"/>
                    </a:lnTo>
                    <a:lnTo>
                      <a:pt x="828" y="978"/>
                    </a:lnTo>
                    <a:lnTo>
                      <a:pt x="822" y="984"/>
                    </a:lnTo>
                    <a:lnTo>
                      <a:pt x="822" y="990"/>
                    </a:lnTo>
                    <a:lnTo>
                      <a:pt x="816" y="990"/>
                    </a:lnTo>
                    <a:lnTo>
                      <a:pt x="810" y="990"/>
                    </a:lnTo>
                    <a:lnTo>
                      <a:pt x="810" y="996"/>
                    </a:lnTo>
                    <a:lnTo>
                      <a:pt x="810" y="1002"/>
                    </a:lnTo>
                    <a:lnTo>
                      <a:pt x="804" y="1002"/>
                    </a:lnTo>
                    <a:lnTo>
                      <a:pt x="804" y="996"/>
                    </a:lnTo>
                    <a:lnTo>
                      <a:pt x="798" y="996"/>
                    </a:lnTo>
                    <a:lnTo>
                      <a:pt x="798" y="1002"/>
                    </a:lnTo>
                    <a:lnTo>
                      <a:pt x="798" y="1008"/>
                    </a:lnTo>
                    <a:lnTo>
                      <a:pt x="804" y="1014"/>
                    </a:lnTo>
                    <a:lnTo>
                      <a:pt x="804" y="1020"/>
                    </a:lnTo>
                    <a:lnTo>
                      <a:pt x="810" y="1020"/>
                    </a:lnTo>
                    <a:lnTo>
                      <a:pt x="810" y="1026"/>
                    </a:lnTo>
                    <a:lnTo>
                      <a:pt x="816" y="1026"/>
                    </a:lnTo>
                    <a:lnTo>
                      <a:pt x="816" y="1032"/>
                    </a:lnTo>
                    <a:lnTo>
                      <a:pt x="822" y="1038"/>
                    </a:lnTo>
                    <a:lnTo>
                      <a:pt x="822" y="1044"/>
                    </a:lnTo>
                    <a:lnTo>
                      <a:pt x="828" y="1056"/>
                    </a:lnTo>
                    <a:lnTo>
                      <a:pt x="828" y="1062"/>
                    </a:lnTo>
                    <a:lnTo>
                      <a:pt x="834" y="1068"/>
                    </a:lnTo>
                    <a:lnTo>
                      <a:pt x="840" y="1080"/>
                    </a:lnTo>
                    <a:lnTo>
                      <a:pt x="840" y="1086"/>
                    </a:lnTo>
                    <a:lnTo>
                      <a:pt x="840" y="1092"/>
                    </a:lnTo>
                    <a:lnTo>
                      <a:pt x="846" y="1104"/>
                    </a:lnTo>
                    <a:lnTo>
                      <a:pt x="846" y="1110"/>
                    </a:lnTo>
                    <a:lnTo>
                      <a:pt x="852" y="1116"/>
                    </a:lnTo>
                    <a:lnTo>
                      <a:pt x="858" y="1128"/>
                    </a:lnTo>
                    <a:lnTo>
                      <a:pt x="858" y="1134"/>
                    </a:lnTo>
                    <a:lnTo>
                      <a:pt x="876" y="1146"/>
                    </a:lnTo>
                    <a:lnTo>
                      <a:pt x="876" y="1152"/>
                    </a:lnTo>
                    <a:lnTo>
                      <a:pt x="882" y="1164"/>
                    </a:lnTo>
                    <a:lnTo>
                      <a:pt x="882" y="1170"/>
                    </a:lnTo>
                    <a:lnTo>
                      <a:pt x="882" y="1176"/>
                    </a:lnTo>
                    <a:lnTo>
                      <a:pt x="882" y="1182"/>
                    </a:lnTo>
                    <a:lnTo>
                      <a:pt x="894" y="1176"/>
                    </a:lnTo>
                    <a:lnTo>
                      <a:pt x="906" y="1176"/>
                    </a:lnTo>
                    <a:lnTo>
                      <a:pt x="906" y="1182"/>
                    </a:lnTo>
                    <a:lnTo>
                      <a:pt x="906" y="1188"/>
                    </a:lnTo>
                    <a:lnTo>
                      <a:pt x="900" y="1188"/>
                    </a:lnTo>
                    <a:lnTo>
                      <a:pt x="900" y="1194"/>
                    </a:lnTo>
                    <a:lnTo>
                      <a:pt x="894" y="1194"/>
                    </a:lnTo>
                    <a:lnTo>
                      <a:pt x="894" y="1200"/>
                    </a:lnTo>
                    <a:lnTo>
                      <a:pt x="894" y="1212"/>
                    </a:lnTo>
                    <a:lnTo>
                      <a:pt x="894" y="1218"/>
                    </a:lnTo>
                    <a:lnTo>
                      <a:pt x="900" y="1224"/>
                    </a:lnTo>
                    <a:lnTo>
                      <a:pt x="900" y="1230"/>
                    </a:lnTo>
                    <a:lnTo>
                      <a:pt x="906" y="1230"/>
                    </a:lnTo>
                    <a:lnTo>
                      <a:pt x="906" y="1236"/>
                    </a:lnTo>
                    <a:lnTo>
                      <a:pt x="900" y="1236"/>
                    </a:lnTo>
                    <a:lnTo>
                      <a:pt x="894" y="1236"/>
                    </a:lnTo>
                    <a:lnTo>
                      <a:pt x="888" y="1236"/>
                    </a:lnTo>
                    <a:lnTo>
                      <a:pt x="888" y="1242"/>
                    </a:lnTo>
                    <a:lnTo>
                      <a:pt x="888" y="1248"/>
                    </a:lnTo>
                    <a:lnTo>
                      <a:pt x="894" y="1248"/>
                    </a:lnTo>
                    <a:lnTo>
                      <a:pt x="900" y="1248"/>
                    </a:lnTo>
                    <a:lnTo>
                      <a:pt x="900" y="1254"/>
                    </a:lnTo>
                    <a:lnTo>
                      <a:pt x="900" y="1260"/>
                    </a:lnTo>
                    <a:lnTo>
                      <a:pt x="894" y="1260"/>
                    </a:lnTo>
                    <a:lnTo>
                      <a:pt x="888" y="1260"/>
                    </a:lnTo>
                    <a:lnTo>
                      <a:pt x="882" y="1260"/>
                    </a:lnTo>
                    <a:lnTo>
                      <a:pt x="876" y="1260"/>
                    </a:lnTo>
                    <a:lnTo>
                      <a:pt x="876" y="1266"/>
                    </a:lnTo>
                    <a:lnTo>
                      <a:pt x="882" y="1272"/>
                    </a:lnTo>
                    <a:lnTo>
                      <a:pt x="888" y="1272"/>
                    </a:lnTo>
                    <a:lnTo>
                      <a:pt x="888" y="1278"/>
                    </a:lnTo>
                    <a:lnTo>
                      <a:pt x="882" y="1278"/>
                    </a:lnTo>
                    <a:lnTo>
                      <a:pt x="876" y="1278"/>
                    </a:lnTo>
                    <a:lnTo>
                      <a:pt x="870" y="1278"/>
                    </a:lnTo>
                    <a:lnTo>
                      <a:pt x="870" y="1284"/>
                    </a:lnTo>
                    <a:lnTo>
                      <a:pt x="876" y="1284"/>
                    </a:lnTo>
                    <a:lnTo>
                      <a:pt x="876" y="1290"/>
                    </a:lnTo>
                    <a:lnTo>
                      <a:pt x="870" y="1290"/>
                    </a:lnTo>
                    <a:lnTo>
                      <a:pt x="870" y="1296"/>
                    </a:lnTo>
                    <a:lnTo>
                      <a:pt x="864" y="1296"/>
                    </a:lnTo>
                    <a:lnTo>
                      <a:pt x="858" y="1296"/>
                    </a:lnTo>
                    <a:lnTo>
                      <a:pt x="858" y="1290"/>
                    </a:lnTo>
                    <a:lnTo>
                      <a:pt x="852" y="1290"/>
                    </a:lnTo>
                    <a:lnTo>
                      <a:pt x="846" y="1290"/>
                    </a:lnTo>
                    <a:lnTo>
                      <a:pt x="840" y="1296"/>
                    </a:lnTo>
                    <a:lnTo>
                      <a:pt x="834" y="1296"/>
                    </a:lnTo>
                    <a:lnTo>
                      <a:pt x="828" y="1296"/>
                    </a:lnTo>
                    <a:lnTo>
                      <a:pt x="822" y="1296"/>
                    </a:lnTo>
                    <a:lnTo>
                      <a:pt x="822" y="1302"/>
                    </a:lnTo>
                    <a:lnTo>
                      <a:pt x="822" y="1308"/>
                    </a:lnTo>
                    <a:lnTo>
                      <a:pt x="816" y="1308"/>
                    </a:lnTo>
                    <a:lnTo>
                      <a:pt x="816" y="1314"/>
                    </a:lnTo>
                    <a:lnTo>
                      <a:pt x="810" y="1308"/>
                    </a:lnTo>
                    <a:lnTo>
                      <a:pt x="804" y="1302"/>
                    </a:lnTo>
                    <a:lnTo>
                      <a:pt x="804" y="1308"/>
                    </a:lnTo>
                    <a:lnTo>
                      <a:pt x="798" y="1308"/>
                    </a:lnTo>
                    <a:lnTo>
                      <a:pt x="792" y="1308"/>
                    </a:lnTo>
                    <a:lnTo>
                      <a:pt x="786" y="1308"/>
                    </a:lnTo>
                    <a:lnTo>
                      <a:pt x="780" y="1308"/>
                    </a:lnTo>
                    <a:lnTo>
                      <a:pt x="780" y="1314"/>
                    </a:lnTo>
                    <a:lnTo>
                      <a:pt x="786" y="1314"/>
                    </a:lnTo>
                    <a:lnTo>
                      <a:pt x="786" y="1320"/>
                    </a:lnTo>
                    <a:lnTo>
                      <a:pt x="792" y="1320"/>
                    </a:lnTo>
                    <a:lnTo>
                      <a:pt x="792" y="1326"/>
                    </a:lnTo>
                    <a:lnTo>
                      <a:pt x="792" y="1332"/>
                    </a:lnTo>
                    <a:lnTo>
                      <a:pt x="786" y="1326"/>
                    </a:lnTo>
                    <a:lnTo>
                      <a:pt x="780" y="1326"/>
                    </a:lnTo>
                    <a:lnTo>
                      <a:pt x="774" y="1326"/>
                    </a:lnTo>
                    <a:lnTo>
                      <a:pt x="774" y="1332"/>
                    </a:lnTo>
                    <a:lnTo>
                      <a:pt x="768" y="1332"/>
                    </a:lnTo>
                    <a:lnTo>
                      <a:pt x="762" y="1338"/>
                    </a:lnTo>
                    <a:lnTo>
                      <a:pt x="762" y="1344"/>
                    </a:lnTo>
                    <a:lnTo>
                      <a:pt x="762" y="1350"/>
                    </a:lnTo>
                    <a:lnTo>
                      <a:pt x="756" y="1350"/>
                    </a:lnTo>
                    <a:lnTo>
                      <a:pt x="750" y="1350"/>
                    </a:lnTo>
                    <a:lnTo>
                      <a:pt x="744" y="1350"/>
                    </a:lnTo>
                    <a:lnTo>
                      <a:pt x="744" y="1356"/>
                    </a:lnTo>
                    <a:lnTo>
                      <a:pt x="738" y="1356"/>
                    </a:lnTo>
                    <a:lnTo>
                      <a:pt x="732" y="1356"/>
                    </a:lnTo>
                    <a:lnTo>
                      <a:pt x="732" y="1350"/>
                    </a:lnTo>
                    <a:lnTo>
                      <a:pt x="726" y="1344"/>
                    </a:lnTo>
                    <a:lnTo>
                      <a:pt x="720" y="1344"/>
                    </a:lnTo>
                    <a:lnTo>
                      <a:pt x="714" y="1344"/>
                    </a:lnTo>
                    <a:lnTo>
                      <a:pt x="714" y="1350"/>
                    </a:lnTo>
                    <a:lnTo>
                      <a:pt x="708" y="1350"/>
                    </a:lnTo>
                    <a:lnTo>
                      <a:pt x="702" y="1350"/>
                    </a:lnTo>
                    <a:lnTo>
                      <a:pt x="696" y="1350"/>
                    </a:lnTo>
                    <a:lnTo>
                      <a:pt x="696" y="1356"/>
                    </a:lnTo>
                    <a:lnTo>
                      <a:pt x="690" y="1356"/>
                    </a:lnTo>
                    <a:lnTo>
                      <a:pt x="690" y="1350"/>
                    </a:lnTo>
                    <a:lnTo>
                      <a:pt x="684" y="1350"/>
                    </a:lnTo>
                    <a:lnTo>
                      <a:pt x="684" y="1356"/>
                    </a:lnTo>
                    <a:lnTo>
                      <a:pt x="678" y="1356"/>
                    </a:lnTo>
                    <a:lnTo>
                      <a:pt x="672" y="1356"/>
                    </a:lnTo>
                    <a:lnTo>
                      <a:pt x="672" y="1350"/>
                    </a:lnTo>
                    <a:lnTo>
                      <a:pt x="678" y="1350"/>
                    </a:lnTo>
                    <a:lnTo>
                      <a:pt x="672" y="1350"/>
                    </a:lnTo>
                    <a:lnTo>
                      <a:pt x="666" y="1350"/>
                    </a:lnTo>
                    <a:lnTo>
                      <a:pt x="660" y="1350"/>
                    </a:lnTo>
                    <a:lnTo>
                      <a:pt x="654" y="1350"/>
                    </a:lnTo>
                    <a:lnTo>
                      <a:pt x="648" y="1350"/>
                    </a:lnTo>
                    <a:lnTo>
                      <a:pt x="648" y="1344"/>
                    </a:lnTo>
                    <a:lnTo>
                      <a:pt x="642" y="1344"/>
                    </a:lnTo>
                    <a:lnTo>
                      <a:pt x="636" y="1344"/>
                    </a:lnTo>
                    <a:lnTo>
                      <a:pt x="636" y="1338"/>
                    </a:lnTo>
                    <a:lnTo>
                      <a:pt x="630" y="1338"/>
                    </a:lnTo>
                    <a:lnTo>
                      <a:pt x="630" y="1332"/>
                    </a:lnTo>
                    <a:lnTo>
                      <a:pt x="630" y="1326"/>
                    </a:lnTo>
                    <a:lnTo>
                      <a:pt x="630" y="1320"/>
                    </a:lnTo>
                    <a:lnTo>
                      <a:pt x="624" y="1320"/>
                    </a:lnTo>
                    <a:lnTo>
                      <a:pt x="618" y="1320"/>
                    </a:lnTo>
                    <a:lnTo>
                      <a:pt x="618" y="1314"/>
                    </a:lnTo>
                    <a:lnTo>
                      <a:pt x="612" y="1314"/>
                    </a:lnTo>
                    <a:lnTo>
                      <a:pt x="612" y="1320"/>
                    </a:lnTo>
                    <a:lnTo>
                      <a:pt x="606" y="1320"/>
                    </a:lnTo>
                    <a:lnTo>
                      <a:pt x="606" y="1314"/>
                    </a:lnTo>
                    <a:lnTo>
                      <a:pt x="600" y="1314"/>
                    </a:lnTo>
                    <a:lnTo>
                      <a:pt x="600" y="1320"/>
                    </a:lnTo>
                    <a:lnTo>
                      <a:pt x="594" y="1320"/>
                    </a:lnTo>
                    <a:lnTo>
                      <a:pt x="588" y="1320"/>
                    </a:lnTo>
                    <a:lnTo>
                      <a:pt x="582" y="1320"/>
                    </a:lnTo>
                    <a:lnTo>
                      <a:pt x="576" y="1320"/>
                    </a:lnTo>
                    <a:lnTo>
                      <a:pt x="570" y="1320"/>
                    </a:lnTo>
                    <a:lnTo>
                      <a:pt x="570" y="1314"/>
                    </a:lnTo>
                    <a:lnTo>
                      <a:pt x="564" y="1308"/>
                    </a:lnTo>
                    <a:lnTo>
                      <a:pt x="558" y="1308"/>
                    </a:lnTo>
                    <a:lnTo>
                      <a:pt x="558" y="1302"/>
                    </a:lnTo>
                    <a:lnTo>
                      <a:pt x="552" y="1302"/>
                    </a:lnTo>
                    <a:lnTo>
                      <a:pt x="546" y="1302"/>
                    </a:lnTo>
                    <a:lnTo>
                      <a:pt x="546" y="1296"/>
                    </a:lnTo>
                    <a:lnTo>
                      <a:pt x="546" y="1290"/>
                    </a:lnTo>
                    <a:lnTo>
                      <a:pt x="540" y="1290"/>
                    </a:lnTo>
                    <a:lnTo>
                      <a:pt x="534" y="1290"/>
                    </a:lnTo>
                    <a:lnTo>
                      <a:pt x="528" y="1290"/>
                    </a:lnTo>
                    <a:lnTo>
                      <a:pt x="528" y="1296"/>
                    </a:lnTo>
                    <a:lnTo>
                      <a:pt x="534" y="1296"/>
                    </a:lnTo>
                    <a:lnTo>
                      <a:pt x="534" y="1302"/>
                    </a:lnTo>
                    <a:lnTo>
                      <a:pt x="528" y="1302"/>
                    </a:lnTo>
                    <a:lnTo>
                      <a:pt x="522" y="1308"/>
                    </a:lnTo>
                    <a:lnTo>
                      <a:pt x="522" y="1302"/>
                    </a:lnTo>
                    <a:lnTo>
                      <a:pt x="516" y="1302"/>
                    </a:lnTo>
                    <a:lnTo>
                      <a:pt x="516" y="1296"/>
                    </a:lnTo>
                    <a:lnTo>
                      <a:pt x="510" y="1296"/>
                    </a:lnTo>
                    <a:lnTo>
                      <a:pt x="504" y="1296"/>
                    </a:lnTo>
                    <a:lnTo>
                      <a:pt x="504" y="1302"/>
                    </a:lnTo>
                    <a:lnTo>
                      <a:pt x="498" y="1302"/>
                    </a:lnTo>
                    <a:lnTo>
                      <a:pt x="492" y="1302"/>
                    </a:lnTo>
                    <a:lnTo>
                      <a:pt x="486" y="1302"/>
                    </a:lnTo>
                    <a:lnTo>
                      <a:pt x="486" y="1308"/>
                    </a:lnTo>
                    <a:lnTo>
                      <a:pt x="480" y="1308"/>
                    </a:lnTo>
                    <a:lnTo>
                      <a:pt x="480" y="1314"/>
                    </a:lnTo>
                    <a:lnTo>
                      <a:pt x="474" y="1314"/>
                    </a:lnTo>
                    <a:lnTo>
                      <a:pt x="468" y="1314"/>
                    </a:lnTo>
                    <a:lnTo>
                      <a:pt x="468" y="1308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50" y="1308"/>
                    </a:lnTo>
                    <a:lnTo>
                      <a:pt x="450" y="1314"/>
                    </a:lnTo>
                    <a:lnTo>
                      <a:pt x="450" y="1320"/>
                    </a:lnTo>
                    <a:lnTo>
                      <a:pt x="456" y="1320"/>
                    </a:lnTo>
                    <a:lnTo>
                      <a:pt x="456" y="1326"/>
                    </a:lnTo>
                    <a:lnTo>
                      <a:pt x="450" y="1326"/>
                    </a:lnTo>
                    <a:lnTo>
                      <a:pt x="450" y="1332"/>
                    </a:lnTo>
                    <a:lnTo>
                      <a:pt x="444" y="1332"/>
                    </a:lnTo>
                    <a:lnTo>
                      <a:pt x="444" y="1338"/>
                    </a:lnTo>
                    <a:lnTo>
                      <a:pt x="438" y="1338"/>
                    </a:lnTo>
                    <a:lnTo>
                      <a:pt x="432" y="1344"/>
                    </a:lnTo>
                    <a:lnTo>
                      <a:pt x="426" y="1344"/>
                    </a:lnTo>
                    <a:lnTo>
                      <a:pt x="426" y="1350"/>
                    </a:lnTo>
                    <a:lnTo>
                      <a:pt x="420" y="1350"/>
                    </a:lnTo>
                    <a:lnTo>
                      <a:pt x="414" y="1350"/>
                    </a:lnTo>
                    <a:lnTo>
                      <a:pt x="414" y="1356"/>
                    </a:lnTo>
                    <a:lnTo>
                      <a:pt x="408" y="1356"/>
                    </a:lnTo>
                    <a:lnTo>
                      <a:pt x="408" y="1350"/>
                    </a:lnTo>
                    <a:lnTo>
                      <a:pt x="402" y="1350"/>
                    </a:lnTo>
                    <a:lnTo>
                      <a:pt x="396" y="1350"/>
                    </a:lnTo>
                    <a:lnTo>
                      <a:pt x="390" y="1344"/>
                    </a:lnTo>
                    <a:lnTo>
                      <a:pt x="384" y="1344"/>
                    </a:lnTo>
                    <a:lnTo>
                      <a:pt x="378" y="1344"/>
                    </a:lnTo>
                    <a:lnTo>
                      <a:pt x="378" y="1338"/>
                    </a:lnTo>
                    <a:lnTo>
                      <a:pt x="378" y="1332"/>
                    </a:lnTo>
                    <a:lnTo>
                      <a:pt x="378" y="1326"/>
                    </a:lnTo>
                    <a:lnTo>
                      <a:pt x="372" y="1326"/>
                    </a:lnTo>
                    <a:lnTo>
                      <a:pt x="366" y="1326"/>
                    </a:lnTo>
                    <a:lnTo>
                      <a:pt x="360" y="1326"/>
                    </a:lnTo>
                    <a:lnTo>
                      <a:pt x="354" y="1326"/>
                    </a:lnTo>
                    <a:lnTo>
                      <a:pt x="348" y="1326"/>
                    </a:lnTo>
                    <a:lnTo>
                      <a:pt x="348" y="1332"/>
                    </a:lnTo>
                    <a:lnTo>
                      <a:pt x="342" y="1332"/>
                    </a:lnTo>
                    <a:lnTo>
                      <a:pt x="336" y="1332"/>
                    </a:lnTo>
                    <a:lnTo>
                      <a:pt x="330" y="1332"/>
                    </a:lnTo>
                    <a:lnTo>
                      <a:pt x="330" y="1326"/>
                    </a:lnTo>
                    <a:lnTo>
                      <a:pt x="324" y="1326"/>
                    </a:lnTo>
                    <a:lnTo>
                      <a:pt x="324" y="1320"/>
                    </a:lnTo>
                    <a:lnTo>
                      <a:pt x="318" y="1320"/>
                    </a:lnTo>
                    <a:lnTo>
                      <a:pt x="318" y="1314"/>
                    </a:lnTo>
                    <a:lnTo>
                      <a:pt x="312" y="1314"/>
                    </a:lnTo>
                    <a:lnTo>
                      <a:pt x="312" y="1308"/>
                    </a:lnTo>
                    <a:lnTo>
                      <a:pt x="306" y="1308"/>
                    </a:lnTo>
                    <a:lnTo>
                      <a:pt x="300" y="1308"/>
                    </a:lnTo>
                    <a:lnTo>
                      <a:pt x="294" y="1308"/>
                    </a:lnTo>
                    <a:lnTo>
                      <a:pt x="288" y="1308"/>
                    </a:lnTo>
                    <a:lnTo>
                      <a:pt x="282" y="1308"/>
                    </a:lnTo>
                    <a:lnTo>
                      <a:pt x="282" y="1302"/>
                    </a:lnTo>
                    <a:lnTo>
                      <a:pt x="276" y="1302"/>
                    </a:lnTo>
                    <a:lnTo>
                      <a:pt x="276" y="1296"/>
                    </a:lnTo>
                    <a:lnTo>
                      <a:pt x="276" y="1290"/>
                    </a:lnTo>
                    <a:lnTo>
                      <a:pt x="270" y="1290"/>
                    </a:lnTo>
                    <a:lnTo>
                      <a:pt x="264" y="1284"/>
                    </a:lnTo>
                    <a:lnTo>
                      <a:pt x="258" y="1284"/>
                    </a:lnTo>
                    <a:lnTo>
                      <a:pt x="258" y="1278"/>
                    </a:lnTo>
                    <a:lnTo>
                      <a:pt x="252" y="1278"/>
                    </a:lnTo>
                    <a:lnTo>
                      <a:pt x="246" y="1278"/>
                    </a:lnTo>
                    <a:lnTo>
                      <a:pt x="246" y="1272"/>
                    </a:lnTo>
                    <a:lnTo>
                      <a:pt x="240" y="1266"/>
                    </a:lnTo>
                    <a:lnTo>
                      <a:pt x="240" y="1260"/>
                    </a:lnTo>
                    <a:lnTo>
                      <a:pt x="240" y="1254"/>
                    </a:lnTo>
                    <a:lnTo>
                      <a:pt x="234" y="1254"/>
                    </a:lnTo>
                    <a:lnTo>
                      <a:pt x="228" y="1254"/>
                    </a:lnTo>
                    <a:lnTo>
                      <a:pt x="228" y="1248"/>
                    </a:lnTo>
                    <a:lnTo>
                      <a:pt x="222" y="1248"/>
                    </a:lnTo>
                    <a:lnTo>
                      <a:pt x="222" y="1242"/>
                    </a:lnTo>
                    <a:lnTo>
                      <a:pt x="216" y="1242"/>
                    </a:lnTo>
                    <a:lnTo>
                      <a:pt x="216" y="1236"/>
                    </a:lnTo>
                    <a:lnTo>
                      <a:pt x="210" y="1236"/>
                    </a:lnTo>
                    <a:lnTo>
                      <a:pt x="210" y="1230"/>
                    </a:lnTo>
                    <a:lnTo>
                      <a:pt x="204" y="1224"/>
                    </a:lnTo>
                    <a:lnTo>
                      <a:pt x="204" y="1218"/>
                    </a:lnTo>
                    <a:lnTo>
                      <a:pt x="198" y="1218"/>
                    </a:lnTo>
                    <a:lnTo>
                      <a:pt x="198" y="1212"/>
                    </a:lnTo>
                    <a:lnTo>
                      <a:pt x="192" y="1212"/>
                    </a:lnTo>
                    <a:lnTo>
                      <a:pt x="186" y="1206"/>
                    </a:lnTo>
                    <a:lnTo>
                      <a:pt x="186" y="1200"/>
                    </a:lnTo>
                    <a:lnTo>
                      <a:pt x="180" y="1200"/>
                    </a:lnTo>
                    <a:lnTo>
                      <a:pt x="180" y="1194"/>
                    </a:lnTo>
                    <a:lnTo>
                      <a:pt x="180" y="1188"/>
                    </a:lnTo>
                    <a:lnTo>
                      <a:pt x="174" y="1188"/>
                    </a:lnTo>
                    <a:lnTo>
                      <a:pt x="174" y="1182"/>
                    </a:lnTo>
                    <a:lnTo>
                      <a:pt x="168" y="1182"/>
                    </a:lnTo>
                    <a:lnTo>
                      <a:pt x="162" y="1182"/>
                    </a:lnTo>
                    <a:lnTo>
                      <a:pt x="162" y="1176"/>
                    </a:lnTo>
                    <a:lnTo>
                      <a:pt x="162" y="1170"/>
                    </a:lnTo>
                    <a:lnTo>
                      <a:pt x="156" y="1170"/>
                    </a:lnTo>
                    <a:lnTo>
                      <a:pt x="156" y="1164"/>
                    </a:lnTo>
                    <a:lnTo>
                      <a:pt x="156" y="1158"/>
                    </a:lnTo>
                    <a:lnTo>
                      <a:pt x="150" y="1158"/>
                    </a:lnTo>
                    <a:lnTo>
                      <a:pt x="150" y="1152"/>
                    </a:lnTo>
                    <a:lnTo>
                      <a:pt x="150" y="1146"/>
                    </a:lnTo>
                    <a:lnTo>
                      <a:pt x="144" y="1146"/>
                    </a:lnTo>
                    <a:lnTo>
                      <a:pt x="144" y="1140"/>
                    </a:lnTo>
                    <a:lnTo>
                      <a:pt x="144" y="1134"/>
                    </a:lnTo>
                    <a:lnTo>
                      <a:pt x="138" y="1134"/>
                    </a:lnTo>
                    <a:lnTo>
                      <a:pt x="138" y="1128"/>
                    </a:lnTo>
                    <a:lnTo>
                      <a:pt x="138" y="1122"/>
                    </a:lnTo>
                    <a:lnTo>
                      <a:pt x="132" y="1116"/>
                    </a:lnTo>
                    <a:lnTo>
                      <a:pt x="126" y="1116"/>
                    </a:lnTo>
                    <a:lnTo>
                      <a:pt x="120" y="1116"/>
                    </a:lnTo>
                    <a:lnTo>
                      <a:pt x="114" y="1116"/>
                    </a:lnTo>
                    <a:lnTo>
                      <a:pt x="108" y="1116"/>
                    </a:lnTo>
                    <a:lnTo>
                      <a:pt x="108" y="1110"/>
                    </a:lnTo>
                    <a:lnTo>
                      <a:pt x="102" y="1110"/>
                    </a:lnTo>
                    <a:lnTo>
                      <a:pt x="102" y="1104"/>
                    </a:lnTo>
                    <a:lnTo>
                      <a:pt x="96" y="1104"/>
                    </a:lnTo>
                    <a:lnTo>
                      <a:pt x="96" y="1098"/>
                    </a:lnTo>
                    <a:lnTo>
                      <a:pt x="96" y="1092"/>
                    </a:lnTo>
                    <a:lnTo>
                      <a:pt x="96" y="1086"/>
                    </a:lnTo>
                    <a:lnTo>
                      <a:pt x="90" y="1086"/>
                    </a:lnTo>
                    <a:lnTo>
                      <a:pt x="84" y="1086"/>
                    </a:lnTo>
                    <a:lnTo>
                      <a:pt x="78" y="1086"/>
                    </a:lnTo>
                    <a:lnTo>
                      <a:pt x="78" y="1080"/>
                    </a:lnTo>
                    <a:lnTo>
                      <a:pt x="72" y="1080"/>
                    </a:lnTo>
                    <a:lnTo>
                      <a:pt x="72" y="1074"/>
                    </a:lnTo>
                    <a:lnTo>
                      <a:pt x="66" y="1074"/>
                    </a:lnTo>
                    <a:lnTo>
                      <a:pt x="66" y="1068"/>
                    </a:lnTo>
                    <a:lnTo>
                      <a:pt x="60" y="1062"/>
                    </a:lnTo>
                    <a:lnTo>
                      <a:pt x="54" y="1062"/>
                    </a:lnTo>
                    <a:lnTo>
                      <a:pt x="48" y="1062"/>
                    </a:lnTo>
                    <a:lnTo>
                      <a:pt x="48" y="1056"/>
                    </a:lnTo>
                    <a:lnTo>
                      <a:pt x="42" y="1056"/>
                    </a:lnTo>
                    <a:lnTo>
                      <a:pt x="42" y="1050"/>
                    </a:lnTo>
                    <a:lnTo>
                      <a:pt x="36" y="1050"/>
                    </a:lnTo>
                    <a:lnTo>
                      <a:pt x="30" y="1050"/>
                    </a:lnTo>
                    <a:lnTo>
                      <a:pt x="24" y="1050"/>
                    </a:lnTo>
                    <a:lnTo>
                      <a:pt x="24" y="1044"/>
                    </a:lnTo>
                    <a:lnTo>
                      <a:pt x="18" y="1044"/>
                    </a:lnTo>
                    <a:lnTo>
                      <a:pt x="18" y="1038"/>
                    </a:lnTo>
                    <a:lnTo>
                      <a:pt x="18" y="1032"/>
                    </a:lnTo>
                    <a:lnTo>
                      <a:pt x="12" y="1032"/>
                    </a:lnTo>
                    <a:lnTo>
                      <a:pt x="12" y="1026"/>
                    </a:lnTo>
                    <a:lnTo>
                      <a:pt x="6" y="1026"/>
                    </a:lnTo>
                    <a:lnTo>
                      <a:pt x="6" y="1020"/>
                    </a:lnTo>
                    <a:lnTo>
                      <a:pt x="6" y="1014"/>
                    </a:lnTo>
                    <a:lnTo>
                      <a:pt x="6" y="1008"/>
                    </a:lnTo>
                    <a:lnTo>
                      <a:pt x="0" y="1002"/>
                    </a:lnTo>
                    <a:lnTo>
                      <a:pt x="6" y="996"/>
                    </a:lnTo>
                    <a:lnTo>
                      <a:pt x="6" y="990"/>
                    </a:lnTo>
                    <a:lnTo>
                      <a:pt x="12" y="990"/>
                    </a:lnTo>
                    <a:lnTo>
                      <a:pt x="12" y="984"/>
                    </a:lnTo>
                    <a:lnTo>
                      <a:pt x="12" y="978"/>
                    </a:lnTo>
                    <a:lnTo>
                      <a:pt x="18" y="972"/>
                    </a:lnTo>
                    <a:lnTo>
                      <a:pt x="18" y="966"/>
                    </a:lnTo>
                    <a:lnTo>
                      <a:pt x="24" y="960"/>
                    </a:lnTo>
                    <a:lnTo>
                      <a:pt x="24" y="954"/>
                    </a:lnTo>
                    <a:lnTo>
                      <a:pt x="24" y="948"/>
                    </a:lnTo>
                    <a:lnTo>
                      <a:pt x="30" y="948"/>
                    </a:lnTo>
                    <a:lnTo>
                      <a:pt x="30" y="942"/>
                    </a:lnTo>
                    <a:lnTo>
                      <a:pt x="30" y="936"/>
                    </a:lnTo>
                    <a:lnTo>
                      <a:pt x="36" y="930"/>
                    </a:lnTo>
                    <a:lnTo>
                      <a:pt x="36" y="924"/>
                    </a:lnTo>
                    <a:lnTo>
                      <a:pt x="42" y="924"/>
                    </a:lnTo>
                    <a:lnTo>
                      <a:pt x="42" y="918"/>
                    </a:lnTo>
                    <a:lnTo>
                      <a:pt x="42" y="912"/>
                    </a:lnTo>
                    <a:lnTo>
                      <a:pt x="48" y="906"/>
                    </a:lnTo>
                    <a:lnTo>
                      <a:pt x="48" y="900"/>
                    </a:lnTo>
                    <a:lnTo>
                      <a:pt x="54" y="894"/>
                    </a:lnTo>
                    <a:lnTo>
                      <a:pt x="54" y="888"/>
                    </a:lnTo>
                    <a:lnTo>
                      <a:pt x="54" y="882"/>
                    </a:lnTo>
                    <a:lnTo>
                      <a:pt x="60" y="882"/>
                    </a:lnTo>
                    <a:lnTo>
                      <a:pt x="60" y="876"/>
                    </a:lnTo>
                    <a:lnTo>
                      <a:pt x="66" y="870"/>
                    </a:lnTo>
                    <a:lnTo>
                      <a:pt x="66" y="864"/>
                    </a:lnTo>
                    <a:lnTo>
                      <a:pt x="66" y="858"/>
                    </a:lnTo>
                    <a:lnTo>
                      <a:pt x="72" y="858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8" y="840"/>
                    </a:lnTo>
                    <a:lnTo>
                      <a:pt x="84" y="834"/>
                    </a:lnTo>
                    <a:lnTo>
                      <a:pt x="84" y="828"/>
                    </a:lnTo>
                    <a:lnTo>
                      <a:pt x="84" y="822"/>
                    </a:lnTo>
                    <a:lnTo>
                      <a:pt x="90" y="816"/>
                    </a:lnTo>
                    <a:lnTo>
                      <a:pt x="90" y="810"/>
                    </a:lnTo>
                    <a:lnTo>
                      <a:pt x="96" y="804"/>
                    </a:lnTo>
                    <a:lnTo>
                      <a:pt x="96" y="798"/>
                    </a:lnTo>
                    <a:lnTo>
                      <a:pt x="102" y="792"/>
                    </a:lnTo>
                    <a:lnTo>
                      <a:pt x="102" y="786"/>
                    </a:lnTo>
                    <a:lnTo>
                      <a:pt x="108" y="780"/>
                    </a:lnTo>
                    <a:lnTo>
                      <a:pt x="108" y="774"/>
                    </a:lnTo>
                    <a:lnTo>
                      <a:pt x="108" y="768"/>
                    </a:lnTo>
                    <a:lnTo>
                      <a:pt x="114" y="762"/>
                    </a:lnTo>
                    <a:lnTo>
                      <a:pt x="114" y="756"/>
                    </a:lnTo>
                    <a:lnTo>
                      <a:pt x="120" y="750"/>
                    </a:lnTo>
                    <a:lnTo>
                      <a:pt x="120" y="744"/>
                    </a:lnTo>
                    <a:lnTo>
                      <a:pt x="126" y="744"/>
                    </a:lnTo>
                    <a:lnTo>
                      <a:pt x="126" y="738"/>
                    </a:lnTo>
                    <a:lnTo>
                      <a:pt x="126" y="732"/>
                    </a:lnTo>
                    <a:lnTo>
                      <a:pt x="132" y="726"/>
                    </a:lnTo>
                    <a:lnTo>
                      <a:pt x="132" y="720"/>
                    </a:lnTo>
                    <a:lnTo>
                      <a:pt x="138" y="714"/>
                    </a:lnTo>
                    <a:lnTo>
                      <a:pt x="138" y="708"/>
                    </a:lnTo>
                    <a:lnTo>
                      <a:pt x="138" y="702"/>
                    </a:lnTo>
                    <a:lnTo>
                      <a:pt x="144" y="702"/>
                    </a:lnTo>
                    <a:lnTo>
                      <a:pt x="144" y="696"/>
                    </a:lnTo>
                    <a:lnTo>
                      <a:pt x="144" y="690"/>
                    </a:lnTo>
                    <a:lnTo>
                      <a:pt x="150" y="684"/>
                    </a:lnTo>
                    <a:lnTo>
                      <a:pt x="150" y="678"/>
                    </a:lnTo>
                    <a:lnTo>
                      <a:pt x="156" y="678"/>
                    </a:lnTo>
                    <a:lnTo>
                      <a:pt x="156" y="672"/>
                    </a:lnTo>
                    <a:lnTo>
                      <a:pt x="156" y="666"/>
                    </a:lnTo>
                    <a:lnTo>
                      <a:pt x="162" y="660"/>
                    </a:lnTo>
                    <a:lnTo>
                      <a:pt x="162" y="654"/>
                    </a:lnTo>
                    <a:lnTo>
                      <a:pt x="156" y="654"/>
                    </a:lnTo>
                    <a:lnTo>
                      <a:pt x="150" y="654"/>
                    </a:lnTo>
                    <a:lnTo>
                      <a:pt x="144" y="648"/>
                    </a:lnTo>
                    <a:lnTo>
                      <a:pt x="150" y="642"/>
                    </a:lnTo>
                    <a:lnTo>
                      <a:pt x="150" y="636"/>
                    </a:lnTo>
                    <a:lnTo>
                      <a:pt x="150" y="630"/>
                    </a:lnTo>
                    <a:lnTo>
                      <a:pt x="150" y="624"/>
                    </a:lnTo>
                    <a:lnTo>
                      <a:pt x="150" y="618"/>
                    </a:lnTo>
                    <a:lnTo>
                      <a:pt x="156" y="612"/>
                    </a:lnTo>
                    <a:lnTo>
                      <a:pt x="150" y="606"/>
                    </a:lnTo>
                    <a:lnTo>
                      <a:pt x="156" y="600"/>
                    </a:lnTo>
                    <a:lnTo>
                      <a:pt x="162" y="594"/>
                    </a:lnTo>
                    <a:lnTo>
                      <a:pt x="162" y="588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68" y="576"/>
                    </a:lnTo>
                    <a:lnTo>
                      <a:pt x="168" y="570"/>
                    </a:lnTo>
                    <a:lnTo>
                      <a:pt x="168" y="564"/>
                    </a:lnTo>
                    <a:lnTo>
                      <a:pt x="174" y="558"/>
                    </a:lnTo>
                    <a:lnTo>
                      <a:pt x="174" y="552"/>
                    </a:lnTo>
                    <a:lnTo>
                      <a:pt x="174" y="546"/>
                    </a:lnTo>
                    <a:lnTo>
                      <a:pt x="168" y="546"/>
                    </a:lnTo>
                    <a:lnTo>
                      <a:pt x="168" y="540"/>
                    </a:lnTo>
                    <a:lnTo>
                      <a:pt x="162" y="540"/>
                    </a:lnTo>
                    <a:lnTo>
                      <a:pt x="162" y="534"/>
                    </a:lnTo>
                    <a:lnTo>
                      <a:pt x="174" y="534"/>
                    </a:lnTo>
                    <a:lnTo>
                      <a:pt x="174" y="522"/>
                    </a:lnTo>
                    <a:lnTo>
                      <a:pt x="186" y="522"/>
                    </a:lnTo>
                    <a:lnTo>
                      <a:pt x="186" y="516"/>
                    </a:lnTo>
                    <a:lnTo>
                      <a:pt x="192" y="510"/>
                    </a:lnTo>
                    <a:lnTo>
                      <a:pt x="192" y="504"/>
                    </a:lnTo>
                    <a:lnTo>
                      <a:pt x="192" y="498"/>
                    </a:lnTo>
                    <a:lnTo>
                      <a:pt x="192" y="492"/>
                    </a:lnTo>
                    <a:lnTo>
                      <a:pt x="198" y="492"/>
                    </a:lnTo>
                    <a:lnTo>
                      <a:pt x="198" y="486"/>
                    </a:lnTo>
                    <a:lnTo>
                      <a:pt x="198" y="480"/>
                    </a:lnTo>
                    <a:lnTo>
                      <a:pt x="192" y="468"/>
                    </a:lnTo>
                    <a:lnTo>
                      <a:pt x="198" y="468"/>
                    </a:lnTo>
                    <a:lnTo>
                      <a:pt x="198" y="462"/>
                    </a:lnTo>
                    <a:lnTo>
                      <a:pt x="204" y="462"/>
                    </a:lnTo>
                    <a:lnTo>
                      <a:pt x="210" y="462"/>
                    </a:lnTo>
                    <a:lnTo>
                      <a:pt x="216" y="462"/>
                    </a:lnTo>
                    <a:lnTo>
                      <a:pt x="216" y="456"/>
                    </a:lnTo>
                    <a:lnTo>
                      <a:pt x="222" y="450"/>
                    </a:lnTo>
                    <a:lnTo>
                      <a:pt x="222" y="444"/>
                    </a:lnTo>
                    <a:lnTo>
                      <a:pt x="228" y="444"/>
                    </a:lnTo>
                    <a:lnTo>
                      <a:pt x="228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34" y="426"/>
                    </a:lnTo>
                    <a:lnTo>
                      <a:pt x="234" y="420"/>
                    </a:lnTo>
                    <a:lnTo>
                      <a:pt x="234" y="414"/>
                    </a:lnTo>
                    <a:lnTo>
                      <a:pt x="240" y="414"/>
                    </a:lnTo>
                    <a:lnTo>
                      <a:pt x="246" y="414"/>
                    </a:lnTo>
                    <a:lnTo>
                      <a:pt x="252" y="414"/>
                    </a:lnTo>
                    <a:lnTo>
                      <a:pt x="252" y="408"/>
                    </a:lnTo>
                    <a:lnTo>
                      <a:pt x="258" y="408"/>
                    </a:lnTo>
                    <a:lnTo>
                      <a:pt x="258" y="402"/>
                    </a:lnTo>
                    <a:lnTo>
                      <a:pt x="264" y="402"/>
                    </a:lnTo>
                    <a:lnTo>
                      <a:pt x="264" y="396"/>
                    </a:lnTo>
                    <a:lnTo>
                      <a:pt x="270" y="396"/>
                    </a:lnTo>
                    <a:lnTo>
                      <a:pt x="270" y="390"/>
                    </a:lnTo>
                    <a:lnTo>
                      <a:pt x="270" y="384"/>
                    </a:lnTo>
                    <a:lnTo>
                      <a:pt x="270" y="378"/>
                    </a:lnTo>
                    <a:lnTo>
                      <a:pt x="276" y="378"/>
                    </a:lnTo>
                    <a:lnTo>
                      <a:pt x="276" y="372"/>
                    </a:lnTo>
                    <a:lnTo>
                      <a:pt x="282" y="372"/>
                    </a:lnTo>
                    <a:lnTo>
                      <a:pt x="282" y="366"/>
                    </a:lnTo>
                    <a:lnTo>
                      <a:pt x="288" y="366"/>
                    </a:lnTo>
                    <a:lnTo>
                      <a:pt x="294" y="366"/>
                    </a:lnTo>
                    <a:lnTo>
                      <a:pt x="300" y="366"/>
                    </a:lnTo>
                    <a:lnTo>
                      <a:pt x="300" y="360"/>
                    </a:lnTo>
                    <a:lnTo>
                      <a:pt x="306" y="360"/>
                    </a:lnTo>
                    <a:lnTo>
                      <a:pt x="306" y="354"/>
                    </a:lnTo>
                    <a:lnTo>
                      <a:pt x="312" y="354"/>
                    </a:lnTo>
                    <a:lnTo>
                      <a:pt x="312" y="348"/>
                    </a:lnTo>
                    <a:lnTo>
                      <a:pt x="318" y="348"/>
                    </a:lnTo>
                    <a:lnTo>
                      <a:pt x="324" y="342"/>
                    </a:lnTo>
                    <a:lnTo>
                      <a:pt x="330" y="342"/>
                    </a:lnTo>
                    <a:lnTo>
                      <a:pt x="336" y="342"/>
                    </a:lnTo>
                    <a:lnTo>
                      <a:pt x="342" y="342"/>
                    </a:lnTo>
                    <a:lnTo>
                      <a:pt x="342" y="336"/>
                    </a:lnTo>
                    <a:lnTo>
                      <a:pt x="348" y="336"/>
                    </a:lnTo>
                    <a:lnTo>
                      <a:pt x="354" y="336"/>
                    </a:lnTo>
                    <a:lnTo>
                      <a:pt x="360" y="336"/>
                    </a:lnTo>
                    <a:lnTo>
                      <a:pt x="366" y="330"/>
                    </a:lnTo>
                    <a:lnTo>
                      <a:pt x="372" y="324"/>
                    </a:lnTo>
                    <a:lnTo>
                      <a:pt x="378" y="324"/>
                    </a:lnTo>
                    <a:lnTo>
                      <a:pt x="378" y="330"/>
                    </a:lnTo>
                    <a:lnTo>
                      <a:pt x="384" y="330"/>
                    </a:lnTo>
                    <a:lnTo>
                      <a:pt x="390" y="330"/>
                    </a:lnTo>
                    <a:lnTo>
                      <a:pt x="396" y="330"/>
                    </a:lnTo>
                    <a:lnTo>
                      <a:pt x="396" y="324"/>
                    </a:lnTo>
                    <a:lnTo>
                      <a:pt x="402" y="318"/>
                    </a:lnTo>
                    <a:lnTo>
                      <a:pt x="408" y="318"/>
                    </a:lnTo>
                    <a:lnTo>
                      <a:pt x="408" y="312"/>
                    </a:lnTo>
                    <a:lnTo>
                      <a:pt x="414" y="312"/>
                    </a:lnTo>
                    <a:lnTo>
                      <a:pt x="420" y="312"/>
                    </a:lnTo>
                    <a:lnTo>
                      <a:pt x="420" y="306"/>
                    </a:lnTo>
                    <a:lnTo>
                      <a:pt x="426" y="306"/>
                    </a:lnTo>
                    <a:lnTo>
                      <a:pt x="432" y="300"/>
                    </a:lnTo>
                    <a:lnTo>
                      <a:pt x="438" y="300"/>
                    </a:lnTo>
                    <a:lnTo>
                      <a:pt x="444" y="300"/>
                    </a:lnTo>
                    <a:lnTo>
                      <a:pt x="450" y="300"/>
                    </a:lnTo>
                    <a:lnTo>
                      <a:pt x="450" y="306"/>
                    </a:lnTo>
                    <a:lnTo>
                      <a:pt x="450" y="312"/>
                    </a:lnTo>
                    <a:lnTo>
                      <a:pt x="456" y="312"/>
                    </a:lnTo>
                    <a:lnTo>
                      <a:pt x="462" y="312"/>
                    </a:lnTo>
                    <a:lnTo>
                      <a:pt x="468" y="312"/>
                    </a:lnTo>
                    <a:lnTo>
                      <a:pt x="474" y="312"/>
                    </a:lnTo>
                    <a:lnTo>
                      <a:pt x="480" y="312"/>
                    </a:lnTo>
                    <a:lnTo>
                      <a:pt x="486" y="318"/>
                    </a:lnTo>
                    <a:lnTo>
                      <a:pt x="492" y="318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10" y="348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22" y="342"/>
                    </a:lnTo>
                    <a:lnTo>
                      <a:pt x="522" y="336"/>
                    </a:lnTo>
                    <a:lnTo>
                      <a:pt x="516" y="336"/>
                    </a:lnTo>
                    <a:lnTo>
                      <a:pt x="516" y="330"/>
                    </a:lnTo>
                    <a:lnTo>
                      <a:pt x="516" y="324"/>
                    </a:lnTo>
                    <a:lnTo>
                      <a:pt x="516" y="318"/>
                    </a:lnTo>
                    <a:lnTo>
                      <a:pt x="522" y="318"/>
                    </a:lnTo>
                    <a:lnTo>
                      <a:pt x="522" y="312"/>
                    </a:lnTo>
                    <a:lnTo>
                      <a:pt x="522" y="306"/>
                    </a:lnTo>
                    <a:lnTo>
                      <a:pt x="528" y="306"/>
                    </a:lnTo>
                    <a:lnTo>
                      <a:pt x="528" y="300"/>
                    </a:lnTo>
                    <a:lnTo>
                      <a:pt x="534" y="300"/>
                    </a:lnTo>
                    <a:lnTo>
                      <a:pt x="534" y="294"/>
                    </a:lnTo>
                    <a:lnTo>
                      <a:pt x="540" y="294"/>
                    </a:lnTo>
                    <a:lnTo>
                      <a:pt x="540" y="288"/>
                    </a:lnTo>
                    <a:lnTo>
                      <a:pt x="546" y="288"/>
                    </a:lnTo>
                    <a:lnTo>
                      <a:pt x="552" y="282"/>
                    </a:lnTo>
                    <a:lnTo>
                      <a:pt x="552" y="276"/>
                    </a:lnTo>
                    <a:lnTo>
                      <a:pt x="558" y="276"/>
                    </a:lnTo>
                    <a:lnTo>
                      <a:pt x="564" y="276"/>
                    </a:lnTo>
                    <a:lnTo>
                      <a:pt x="570" y="270"/>
                    </a:lnTo>
                    <a:lnTo>
                      <a:pt x="570" y="264"/>
                    </a:lnTo>
                    <a:lnTo>
                      <a:pt x="564" y="264"/>
                    </a:lnTo>
                    <a:lnTo>
                      <a:pt x="570" y="258"/>
                    </a:lnTo>
                    <a:lnTo>
                      <a:pt x="570" y="252"/>
                    </a:lnTo>
                    <a:lnTo>
                      <a:pt x="576" y="252"/>
                    </a:lnTo>
                    <a:lnTo>
                      <a:pt x="576" y="246"/>
                    </a:lnTo>
                    <a:lnTo>
                      <a:pt x="582" y="246"/>
                    </a:lnTo>
                    <a:lnTo>
                      <a:pt x="582" y="240"/>
                    </a:lnTo>
                    <a:lnTo>
                      <a:pt x="588" y="240"/>
                    </a:lnTo>
                    <a:lnTo>
                      <a:pt x="594" y="240"/>
                    </a:lnTo>
                    <a:lnTo>
                      <a:pt x="594" y="246"/>
                    </a:lnTo>
                    <a:lnTo>
                      <a:pt x="600" y="246"/>
                    </a:lnTo>
                    <a:lnTo>
                      <a:pt x="600" y="240"/>
                    </a:lnTo>
                    <a:lnTo>
                      <a:pt x="600" y="234"/>
                    </a:lnTo>
                    <a:lnTo>
                      <a:pt x="606" y="234"/>
                    </a:lnTo>
                    <a:lnTo>
                      <a:pt x="612" y="234"/>
                    </a:lnTo>
                    <a:lnTo>
                      <a:pt x="618" y="234"/>
                    </a:lnTo>
                    <a:lnTo>
                      <a:pt x="618" y="240"/>
                    </a:lnTo>
                    <a:lnTo>
                      <a:pt x="624" y="240"/>
                    </a:lnTo>
                    <a:lnTo>
                      <a:pt x="630" y="240"/>
                    </a:lnTo>
                    <a:lnTo>
                      <a:pt x="630" y="234"/>
                    </a:lnTo>
                    <a:lnTo>
                      <a:pt x="636" y="234"/>
                    </a:lnTo>
                    <a:lnTo>
                      <a:pt x="642" y="234"/>
                    </a:lnTo>
                    <a:lnTo>
                      <a:pt x="642" y="240"/>
                    </a:lnTo>
                    <a:lnTo>
                      <a:pt x="648" y="240"/>
                    </a:lnTo>
                    <a:lnTo>
                      <a:pt x="654" y="240"/>
                    </a:lnTo>
                    <a:lnTo>
                      <a:pt x="654" y="234"/>
                    </a:lnTo>
                    <a:lnTo>
                      <a:pt x="648" y="234"/>
                    </a:lnTo>
                    <a:lnTo>
                      <a:pt x="642" y="234"/>
                    </a:lnTo>
                    <a:lnTo>
                      <a:pt x="642" y="228"/>
                    </a:lnTo>
                    <a:lnTo>
                      <a:pt x="636" y="228"/>
                    </a:lnTo>
                    <a:lnTo>
                      <a:pt x="636" y="222"/>
                    </a:lnTo>
                    <a:lnTo>
                      <a:pt x="636" y="216"/>
                    </a:lnTo>
                    <a:lnTo>
                      <a:pt x="642" y="210"/>
                    </a:lnTo>
                    <a:lnTo>
                      <a:pt x="648" y="210"/>
                    </a:lnTo>
                    <a:lnTo>
                      <a:pt x="648" y="204"/>
                    </a:lnTo>
                    <a:lnTo>
                      <a:pt x="648" y="198"/>
                    </a:lnTo>
                    <a:lnTo>
                      <a:pt x="648" y="192"/>
                    </a:lnTo>
                    <a:lnTo>
                      <a:pt x="642" y="186"/>
                    </a:lnTo>
                    <a:lnTo>
                      <a:pt x="642" y="180"/>
                    </a:lnTo>
                    <a:lnTo>
                      <a:pt x="636" y="180"/>
                    </a:lnTo>
                    <a:lnTo>
                      <a:pt x="636" y="174"/>
                    </a:lnTo>
                    <a:lnTo>
                      <a:pt x="630" y="174"/>
                    </a:lnTo>
                    <a:lnTo>
                      <a:pt x="630" y="168"/>
                    </a:lnTo>
                    <a:lnTo>
                      <a:pt x="624" y="168"/>
                    </a:lnTo>
                    <a:lnTo>
                      <a:pt x="624" y="162"/>
                    </a:lnTo>
                    <a:lnTo>
                      <a:pt x="624" y="156"/>
                    </a:lnTo>
                    <a:lnTo>
                      <a:pt x="630" y="156"/>
                    </a:lnTo>
                    <a:lnTo>
                      <a:pt x="636" y="156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50"/>
                    </a:lnTo>
                    <a:lnTo>
                      <a:pt x="654" y="150"/>
                    </a:lnTo>
                    <a:lnTo>
                      <a:pt x="654" y="144"/>
                    </a:lnTo>
                    <a:lnTo>
                      <a:pt x="654" y="138"/>
                    </a:lnTo>
                    <a:lnTo>
                      <a:pt x="660" y="138"/>
                    </a:lnTo>
                    <a:lnTo>
                      <a:pt x="666" y="138"/>
                    </a:lnTo>
                    <a:lnTo>
                      <a:pt x="672" y="138"/>
                    </a:lnTo>
                    <a:lnTo>
                      <a:pt x="678" y="138"/>
                    </a:lnTo>
                    <a:lnTo>
                      <a:pt x="678" y="132"/>
                    </a:lnTo>
                    <a:lnTo>
                      <a:pt x="678" y="126"/>
                    </a:lnTo>
                    <a:lnTo>
                      <a:pt x="678" y="120"/>
                    </a:lnTo>
                    <a:lnTo>
                      <a:pt x="684" y="114"/>
                    </a:lnTo>
                    <a:lnTo>
                      <a:pt x="684" y="108"/>
                    </a:lnTo>
                    <a:lnTo>
                      <a:pt x="690" y="108"/>
                    </a:lnTo>
                    <a:lnTo>
                      <a:pt x="696" y="108"/>
                    </a:lnTo>
                    <a:lnTo>
                      <a:pt x="696" y="102"/>
                    </a:lnTo>
                    <a:lnTo>
                      <a:pt x="702" y="102"/>
                    </a:lnTo>
                    <a:lnTo>
                      <a:pt x="702" y="108"/>
                    </a:lnTo>
                    <a:lnTo>
                      <a:pt x="708" y="108"/>
                    </a:lnTo>
                    <a:lnTo>
                      <a:pt x="708" y="114"/>
                    </a:lnTo>
                    <a:lnTo>
                      <a:pt x="708" y="108"/>
                    </a:lnTo>
                    <a:lnTo>
                      <a:pt x="714" y="108"/>
                    </a:lnTo>
                    <a:lnTo>
                      <a:pt x="714" y="102"/>
                    </a:lnTo>
                    <a:lnTo>
                      <a:pt x="714" y="96"/>
                    </a:lnTo>
                    <a:lnTo>
                      <a:pt x="720" y="96"/>
                    </a:lnTo>
                    <a:lnTo>
                      <a:pt x="720" y="90"/>
                    </a:lnTo>
                    <a:lnTo>
                      <a:pt x="726" y="90"/>
                    </a:lnTo>
                    <a:lnTo>
                      <a:pt x="732" y="90"/>
                    </a:lnTo>
                    <a:lnTo>
                      <a:pt x="732" y="84"/>
                    </a:lnTo>
                    <a:lnTo>
                      <a:pt x="738" y="84"/>
                    </a:lnTo>
                    <a:lnTo>
                      <a:pt x="744" y="84"/>
                    </a:lnTo>
                    <a:lnTo>
                      <a:pt x="750" y="84"/>
                    </a:lnTo>
                    <a:lnTo>
                      <a:pt x="756" y="84"/>
                    </a:lnTo>
                    <a:lnTo>
                      <a:pt x="756" y="78"/>
                    </a:lnTo>
                    <a:lnTo>
                      <a:pt x="762" y="78"/>
                    </a:lnTo>
                    <a:lnTo>
                      <a:pt x="768" y="78"/>
                    </a:lnTo>
                    <a:lnTo>
                      <a:pt x="768" y="84"/>
                    </a:lnTo>
                    <a:lnTo>
                      <a:pt x="774" y="84"/>
                    </a:lnTo>
                    <a:lnTo>
                      <a:pt x="774" y="90"/>
                    </a:lnTo>
                    <a:lnTo>
                      <a:pt x="780" y="90"/>
                    </a:lnTo>
                    <a:lnTo>
                      <a:pt x="780" y="84"/>
                    </a:lnTo>
                    <a:lnTo>
                      <a:pt x="780" y="78"/>
                    </a:lnTo>
                    <a:lnTo>
                      <a:pt x="780" y="72"/>
                    </a:lnTo>
                    <a:lnTo>
                      <a:pt x="780" y="66"/>
                    </a:lnTo>
                    <a:lnTo>
                      <a:pt x="780" y="60"/>
                    </a:lnTo>
                    <a:lnTo>
                      <a:pt x="786" y="60"/>
                    </a:lnTo>
                    <a:lnTo>
                      <a:pt x="786" y="66"/>
                    </a:lnTo>
                    <a:lnTo>
                      <a:pt x="792" y="72"/>
                    </a:lnTo>
                    <a:lnTo>
                      <a:pt x="798" y="78"/>
                    </a:lnTo>
                    <a:lnTo>
                      <a:pt x="804" y="78"/>
                    </a:lnTo>
                    <a:lnTo>
                      <a:pt x="810" y="78"/>
                    </a:lnTo>
                    <a:lnTo>
                      <a:pt x="810" y="84"/>
                    </a:lnTo>
                    <a:lnTo>
                      <a:pt x="816" y="84"/>
                    </a:lnTo>
                    <a:lnTo>
                      <a:pt x="822" y="84"/>
                    </a:lnTo>
                    <a:lnTo>
                      <a:pt x="828" y="84"/>
                    </a:lnTo>
                    <a:lnTo>
                      <a:pt x="828" y="78"/>
                    </a:lnTo>
                    <a:lnTo>
                      <a:pt x="834" y="78"/>
                    </a:lnTo>
                    <a:lnTo>
                      <a:pt x="840" y="84"/>
                    </a:lnTo>
                    <a:lnTo>
                      <a:pt x="846" y="84"/>
                    </a:lnTo>
                    <a:lnTo>
                      <a:pt x="852" y="84"/>
                    </a:lnTo>
                    <a:lnTo>
                      <a:pt x="852" y="78"/>
                    </a:lnTo>
                    <a:lnTo>
                      <a:pt x="858" y="78"/>
                    </a:lnTo>
                    <a:lnTo>
                      <a:pt x="858" y="84"/>
                    </a:lnTo>
                    <a:lnTo>
                      <a:pt x="858" y="90"/>
                    </a:lnTo>
                    <a:lnTo>
                      <a:pt x="858" y="96"/>
                    </a:lnTo>
                    <a:lnTo>
                      <a:pt x="864" y="96"/>
                    </a:lnTo>
                    <a:lnTo>
                      <a:pt x="864" y="90"/>
                    </a:lnTo>
                    <a:lnTo>
                      <a:pt x="870" y="90"/>
                    </a:lnTo>
                    <a:lnTo>
                      <a:pt x="870" y="84"/>
                    </a:lnTo>
                    <a:lnTo>
                      <a:pt x="876" y="78"/>
                    </a:lnTo>
                    <a:lnTo>
                      <a:pt x="882" y="72"/>
                    </a:lnTo>
                    <a:lnTo>
                      <a:pt x="882" y="66"/>
                    </a:lnTo>
                    <a:lnTo>
                      <a:pt x="888" y="66"/>
                    </a:lnTo>
                    <a:lnTo>
                      <a:pt x="888" y="60"/>
                    </a:lnTo>
                    <a:lnTo>
                      <a:pt x="894" y="60"/>
                    </a:lnTo>
                    <a:lnTo>
                      <a:pt x="894" y="54"/>
                    </a:lnTo>
                    <a:lnTo>
                      <a:pt x="900" y="54"/>
                    </a:lnTo>
                    <a:lnTo>
                      <a:pt x="906" y="54"/>
                    </a:lnTo>
                    <a:lnTo>
                      <a:pt x="906" y="60"/>
                    </a:lnTo>
                    <a:lnTo>
                      <a:pt x="906" y="66"/>
                    </a:lnTo>
                    <a:lnTo>
                      <a:pt x="912" y="66"/>
                    </a:lnTo>
                    <a:lnTo>
                      <a:pt x="912" y="72"/>
                    </a:lnTo>
                    <a:lnTo>
                      <a:pt x="918" y="72"/>
                    </a:lnTo>
                    <a:lnTo>
                      <a:pt x="918" y="78"/>
                    </a:lnTo>
                    <a:lnTo>
                      <a:pt x="924" y="78"/>
                    </a:lnTo>
                    <a:lnTo>
                      <a:pt x="930" y="78"/>
                    </a:lnTo>
                    <a:lnTo>
                      <a:pt x="936" y="78"/>
                    </a:lnTo>
                    <a:lnTo>
                      <a:pt x="936" y="72"/>
                    </a:lnTo>
                    <a:lnTo>
                      <a:pt x="942" y="72"/>
                    </a:lnTo>
                    <a:lnTo>
                      <a:pt x="948" y="72"/>
                    </a:lnTo>
                    <a:lnTo>
                      <a:pt x="948" y="66"/>
                    </a:lnTo>
                    <a:lnTo>
                      <a:pt x="948" y="60"/>
                    </a:lnTo>
                    <a:lnTo>
                      <a:pt x="954" y="60"/>
                    </a:lnTo>
                    <a:lnTo>
                      <a:pt x="954" y="54"/>
                    </a:lnTo>
                    <a:lnTo>
                      <a:pt x="960" y="54"/>
                    </a:lnTo>
                    <a:lnTo>
                      <a:pt x="960" y="48"/>
                    </a:lnTo>
                    <a:lnTo>
                      <a:pt x="960" y="42"/>
                    </a:lnTo>
                    <a:lnTo>
                      <a:pt x="960" y="36"/>
                    </a:lnTo>
                    <a:lnTo>
                      <a:pt x="960" y="30"/>
                    </a:lnTo>
                    <a:lnTo>
                      <a:pt x="966" y="30"/>
                    </a:lnTo>
                    <a:lnTo>
                      <a:pt x="972" y="30"/>
                    </a:lnTo>
                    <a:lnTo>
                      <a:pt x="978" y="30"/>
                    </a:lnTo>
                    <a:lnTo>
                      <a:pt x="978" y="24"/>
                    </a:lnTo>
                    <a:lnTo>
                      <a:pt x="978" y="18"/>
                    </a:lnTo>
                    <a:lnTo>
                      <a:pt x="984" y="18"/>
                    </a:lnTo>
                    <a:lnTo>
                      <a:pt x="990" y="18"/>
                    </a:lnTo>
                    <a:lnTo>
                      <a:pt x="996" y="18"/>
                    </a:lnTo>
                    <a:lnTo>
                      <a:pt x="996" y="24"/>
                    </a:lnTo>
                    <a:lnTo>
                      <a:pt x="996" y="30"/>
                    </a:lnTo>
                    <a:lnTo>
                      <a:pt x="1002" y="30"/>
                    </a:lnTo>
                    <a:lnTo>
                      <a:pt x="1008" y="30"/>
                    </a:lnTo>
                    <a:lnTo>
                      <a:pt x="1014" y="30"/>
                    </a:lnTo>
                    <a:lnTo>
                      <a:pt x="1014" y="24"/>
                    </a:lnTo>
                    <a:lnTo>
                      <a:pt x="1020" y="24"/>
                    </a:lnTo>
                    <a:lnTo>
                      <a:pt x="1020" y="30"/>
                    </a:lnTo>
                    <a:lnTo>
                      <a:pt x="1026" y="30"/>
                    </a:lnTo>
                    <a:lnTo>
                      <a:pt x="1032" y="30"/>
                    </a:lnTo>
                    <a:lnTo>
                      <a:pt x="1032" y="36"/>
                    </a:lnTo>
                    <a:lnTo>
                      <a:pt x="1038" y="36"/>
                    </a:lnTo>
                    <a:lnTo>
                      <a:pt x="1038" y="30"/>
                    </a:lnTo>
                    <a:lnTo>
                      <a:pt x="1038" y="24"/>
                    </a:lnTo>
                    <a:lnTo>
                      <a:pt x="1044" y="24"/>
                    </a:lnTo>
                    <a:lnTo>
                      <a:pt x="1050" y="24"/>
                    </a:lnTo>
                    <a:lnTo>
                      <a:pt x="1056" y="24"/>
                    </a:lnTo>
                    <a:lnTo>
                      <a:pt x="1062" y="24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74" y="18"/>
                    </a:lnTo>
                    <a:lnTo>
                      <a:pt x="1074" y="12"/>
                    </a:lnTo>
                    <a:lnTo>
                      <a:pt x="1080" y="12"/>
                    </a:lnTo>
                    <a:lnTo>
                      <a:pt x="1080" y="6"/>
                    </a:lnTo>
                    <a:lnTo>
                      <a:pt x="1086" y="6"/>
                    </a:lnTo>
                    <a:lnTo>
                      <a:pt x="1086" y="0"/>
                    </a:lnTo>
                    <a:lnTo>
                      <a:pt x="1092" y="0"/>
                    </a:lnTo>
                    <a:lnTo>
                      <a:pt x="1098" y="0"/>
                    </a:lnTo>
                    <a:lnTo>
                      <a:pt x="1104" y="0"/>
                    </a:lnTo>
                    <a:lnTo>
                      <a:pt x="1104" y="6"/>
                    </a:lnTo>
                    <a:lnTo>
                      <a:pt x="1104" y="12"/>
                    </a:lnTo>
                    <a:lnTo>
                      <a:pt x="1104" y="18"/>
                    </a:lnTo>
                    <a:lnTo>
                      <a:pt x="1104" y="2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3" name="Freeform 8"/>
              <p:cNvSpPr>
                <a:spLocks noChangeAspect="1"/>
              </p:cNvSpPr>
              <p:nvPr/>
            </p:nvSpPr>
            <p:spPr bwMode="auto">
              <a:xfrm>
                <a:off x="3184538" y="5578086"/>
                <a:ext cx="198911" cy="134423"/>
              </a:xfrm>
              <a:custGeom>
                <a:avLst/>
                <a:gdLst>
                  <a:gd name="T0" fmla="*/ 2147483647 w 1740"/>
                  <a:gd name="T1" fmla="*/ 2147483647 h 1176"/>
                  <a:gd name="T2" fmla="*/ 2147483647 w 1740"/>
                  <a:gd name="T3" fmla="*/ 2147483647 h 1176"/>
                  <a:gd name="T4" fmla="*/ 2147483647 w 1740"/>
                  <a:gd name="T5" fmla="*/ 2147483647 h 1176"/>
                  <a:gd name="T6" fmla="*/ 2147483647 w 1740"/>
                  <a:gd name="T7" fmla="*/ 2147483647 h 1176"/>
                  <a:gd name="T8" fmla="*/ 2147483647 w 1740"/>
                  <a:gd name="T9" fmla="*/ 2147483647 h 1176"/>
                  <a:gd name="T10" fmla="*/ 2147483647 w 1740"/>
                  <a:gd name="T11" fmla="*/ 2147483647 h 1176"/>
                  <a:gd name="T12" fmla="*/ 2147483647 w 1740"/>
                  <a:gd name="T13" fmla="*/ 2147483647 h 1176"/>
                  <a:gd name="T14" fmla="*/ 2147483647 w 1740"/>
                  <a:gd name="T15" fmla="*/ 2147483647 h 1176"/>
                  <a:gd name="T16" fmla="*/ 2147483647 w 1740"/>
                  <a:gd name="T17" fmla="*/ 2147483647 h 1176"/>
                  <a:gd name="T18" fmla="*/ 2147483647 w 1740"/>
                  <a:gd name="T19" fmla="*/ 2147483647 h 1176"/>
                  <a:gd name="T20" fmla="*/ 2147483647 w 1740"/>
                  <a:gd name="T21" fmla="*/ 2147483647 h 1176"/>
                  <a:gd name="T22" fmla="*/ 2147483647 w 1740"/>
                  <a:gd name="T23" fmla="*/ 2147483647 h 1176"/>
                  <a:gd name="T24" fmla="*/ 2147483647 w 1740"/>
                  <a:gd name="T25" fmla="*/ 2147483647 h 1176"/>
                  <a:gd name="T26" fmla="*/ 2147483647 w 1740"/>
                  <a:gd name="T27" fmla="*/ 2147483647 h 1176"/>
                  <a:gd name="T28" fmla="*/ 2147483647 w 1740"/>
                  <a:gd name="T29" fmla="*/ 2147483647 h 1176"/>
                  <a:gd name="T30" fmla="*/ 2147483647 w 1740"/>
                  <a:gd name="T31" fmla="*/ 2147483647 h 1176"/>
                  <a:gd name="T32" fmla="*/ 2147483647 w 1740"/>
                  <a:gd name="T33" fmla="*/ 2147483647 h 1176"/>
                  <a:gd name="T34" fmla="*/ 2147483647 w 1740"/>
                  <a:gd name="T35" fmla="*/ 2147483647 h 1176"/>
                  <a:gd name="T36" fmla="*/ 2147483647 w 1740"/>
                  <a:gd name="T37" fmla="*/ 2147483647 h 1176"/>
                  <a:gd name="T38" fmla="*/ 2147483647 w 1740"/>
                  <a:gd name="T39" fmla="*/ 2147483647 h 1176"/>
                  <a:gd name="T40" fmla="*/ 2147483647 w 1740"/>
                  <a:gd name="T41" fmla="*/ 2147483647 h 1176"/>
                  <a:gd name="T42" fmla="*/ 2147483647 w 1740"/>
                  <a:gd name="T43" fmla="*/ 2147483647 h 1176"/>
                  <a:gd name="T44" fmla="*/ 2147483647 w 1740"/>
                  <a:gd name="T45" fmla="*/ 2147483647 h 1176"/>
                  <a:gd name="T46" fmla="*/ 2147483647 w 1740"/>
                  <a:gd name="T47" fmla="*/ 2147483647 h 1176"/>
                  <a:gd name="T48" fmla="*/ 2147483647 w 1740"/>
                  <a:gd name="T49" fmla="*/ 2147483647 h 1176"/>
                  <a:gd name="T50" fmla="*/ 2147483647 w 1740"/>
                  <a:gd name="T51" fmla="*/ 2147483647 h 1176"/>
                  <a:gd name="T52" fmla="*/ 2147483647 w 1740"/>
                  <a:gd name="T53" fmla="*/ 2147483647 h 1176"/>
                  <a:gd name="T54" fmla="*/ 2147483647 w 1740"/>
                  <a:gd name="T55" fmla="*/ 2147483647 h 1176"/>
                  <a:gd name="T56" fmla="*/ 2147483647 w 1740"/>
                  <a:gd name="T57" fmla="*/ 2147483647 h 1176"/>
                  <a:gd name="T58" fmla="*/ 2147483647 w 1740"/>
                  <a:gd name="T59" fmla="*/ 2147483647 h 1176"/>
                  <a:gd name="T60" fmla="*/ 2147483647 w 1740"/>
                  <a:gd name="T61" fmla="*/ 2147483647 h 1176"/>
                  <a:gd name="T62" fmla="*/ 2147483647 w 1740"/>
                  <a:gd name="T63" fmla="*/ 2147483647 h 1176"/>
                  <a:gd name="T64" fmla="*/ 2147483647 w 1740"/>
                  <a:gd name="T65" fmla="*/ 2147483647 h 1176"/>
                  <a:gd name="T66" fmla="*/ 2147483647 w 1740"/>
                  <a:gd name="T67" fmla="*/ 2147483647 h 1176"/>
                  <a:gd name="T68" fmla="*/ 2147483647 w 1740"/>
                  <a:gd name="T69" fmla="*/ 2147483647 h 1176"/>
                  <a:gd name="T70" fmla="*/ 2147483647 w 1740"/>
                  <a:gd name="T71" fmla="*/ 2147483647 h 1176"/>
                  <a:gd name="T72" fmla="*/ 2147483647 w 1740"/>
                  <a:gd name="T73" fmla="*/ 2147483647 h 1176"/>
                  <a:gd name="T74" fmla="*/ 2147483647 w 1740"/>
                  <a:gd name="T75" fmla="*/ 2147483647 h 1176"/>
                  <a:gd name="T76" fmla="*/ 2147483647 w 1740"/>
                  <a:gd name="T77" fmla="*/ 2147483647 h 1176"/>
                  <a:gd name="T78" fmla="*/ 2147483647 w 1740"/>
                  <a:gd name="T79" fmla="*/ 2147483647 h 1176"/>
                  <a:gd name="T80" fmla="*/ 2147483647 w 1740"/>
                  <a:gd name="T81" fmla="*/ 2147483647 h 1176"/>
                  <a:gd name="T82" fmla="*/ 2147483647 w 1740"/>
                  <a:gd name="T83" fmla="*/ 2147483647 h 1176"/>
                  <a:gd name="T84" fmla="*/ 2147483647 w 1740"/>
                  <a:gd name="T85" fmla="*/ 2147483647 h 1176"/>
                  <a:gd name="T86" fmla="*/ 0 w 1740"/>
                  <a:gd name="T87" fmla="*/ 2147483647 h 1176"/>
                  <a:gd name="T88" fmla="*/ 2147483647 w 1740"/>
                  <a:gd name="T89" fmla="*/ 2147483647 h 1176"/>
                  <a:gd name="T90" fmla="*/ 2147483647 w 1740"/>
                  <a:gd name="T91" fmla="*/ 2147483647 h 1176"/>
                  <a:gd name="T92" fmla="*/ 2147483647 w 1740"/>
                  <a:gd name="T93" fmla="*/ 2147483647 h 1176"/>
                  <a:gd name="T94" fmla="*/ 2147483647 w 1740"/>
                  <a:gd name="T95" fmla="*/ 2147483647 h 1176"/>
                  <a:gd name="T96" fmla="*/ 2147483647 w 1740"/>
                  <a:gd name="T97" fmla="*/ 2147483647 h 1176"/>
                  <a:gd name="T98" fmla="*/ 2147483647 w 1740"/>
                  <a:gd name="T99" fmla="*/ 2147483647 h 1176"/>
                  <a:gd name="T100" fmla="*/ 2147483647 w 1740"/>
                  <a:gd name="T101" fmla="*/ 2147483647 h 1176"/>
                  <a:gd name="T102" fmla="*/ 2147483647 w 1740"/>
                  <a:gd name="T103" fmla="*/ 2147483647 h 1176"/>
                  <a:gd name="T104" fmla="*/ 2147483647 w 1740"/>
                  <a:gd name="T105" fmla="*/ 2147483647 h 1176"/>
                  <a:gd name="T106" fmla="*/ 2147483647 w 1740"/>
                  <a:gd name="T107" fmla="*/ 2147483647 h 1176"/>
                  <a:gd name="T108" fmla="*/ 2147483647 w 1740"/>
                  <a:gd name="T109" fmla="*/ 2147483647 h 1176"/>
                  <a:gd name="T110" fmla="*/ 2147483647 w 1740"/>
                  <a:gd name="T111" fmla="*/ 2147483647 h 1176"/>
                  <a:gd name="T112" fmla="*/ 2147483647 w 1740"/>
                  <a:gd name="T113" fmla="*/ 2147483647 h 1176"/>
                  <a:gd name="T114" fmla="*/ 2147483647 w 1740"/>
                  <a:gd name="T115" fmla="*/ 2147483647 h 1176"/>
                  <a:gd name="T116" fmla="*/ 2147483647 w 1740"/>
                  <a:gd name="T117" fmla="*/ 2147483647 h 1176"/>
                  <a:gd name="T118" fmla="*/ 2147483647 w 1740"/>
                  <a:gd name="T119" fmla="*/ 2147483647 h 1176"/>
                  <a:gd name="T120" fmla="*/ 2147483647 w 1740"/>
                  <a:gd name="T121" fmla="*/ 2147483647 h 1176"/>
                  <a:gd name="T122" fmla="*/ 2147483647 w 1740"/>
                  <a:gd name="T123" fmla="*/ 2147483647 h 1176"/>
                  <a:gd name="T124" fmla="*/ 2147483647 w 1740"/>
                  <a:gd name="T125" fmla="*/ 2147483647 h 117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740" h="1176">
                    <a:moveTo>
                      <a:pt x="1158" y="0"/>
                    </a:moveTo>
                    <a:lnTo>
                      <a:pt x="1158" y="36"/>
                    </a:lnTo>
                    <a:lnTo>
                      <a:pt x="1170" y="60"/>
                    </a:lnTo>
                    <a:lnTo>
                      <a:pt x="1176" y="60"/>
                    </a:lnTo>
                    <a:lnTo>
                      <a:pt x="1206" y="66"/>
                    </a:lnTo>
                    <a:lnTo>
                      <a:pt x="1212" y="66"/>
                    </a:lnTo>
                    <a:lnTo>
                      <a:pt x="1218" y="66"/>
                    </a:lnTo>
                    <a:lnTo>
                      <a:pt x="1224" y="66"/>
                    </a:lnTo>
                    <a:lnTo>
                      <a:pt x="1230" y="66"/>
                    </a:lnTo>
                    <a:lnTo>
                      <a:pt x="1248" y="78"/>
                    </a:lnTo>
                    <a:lnTo>
                      <a:pt x="1254" y="84"/>
                    </a:lnTo>
                    <a:lnTo>
                      <a:pt x="1254" y="78"/>
                    </a:lnTo>
                    <a:lnTo>
                      <a:pt x="1266" y="84"/>
                    </a:lnTo>
                    <a:lnTo>
                      <a:pt x="1272" y="84"/>
                    </a:lnTo>
                    <a:lnTo>
                      <a:pt x="1278" y="78"/>
                    </a:lnTo>
                    <a:lnTo>
                      <a:pt x="1278" y="72"/>
                    </a:lnTo>
                    <a:lnTo>
                      <a:pt x="1308" y="66"/>
                    </a:lnTo>
                    <a:lnTo>
                      <a:pt x="1326" y="60"/>
                    </a:lnTo>
                    <a:lnTo>
                      <a:pt x="1332" y="54"/>
                    </a:lnTo>
                    <a:lnTo>
                      <a:pt x="1332" y="48"/>
                    </a:lnTo>
                    <a:lnTo>
                      <a:pt x="1338" y="54"/>
                    </a:lnTo>
                    <a:lnTo>
                      <a:pt x="1344" y="36"/>
                    </a:lnTo>
                    <a:lnTo>
                      <a:pt x="1350" y="36"/>
                    </a:lnTo>
                    <a:lnTo>
                      <a:pt x="1356" y="36"/>
                    </a:lnTo>
                    <a:lnTo>
                      <a:pt x="1356" y="54"/>
                    </a:lnTo>
                    <a:lnTo>
                      <a:pt x="1356" y="72"/>
                    </a:lnTo>
                    <a:lnTo>
                      <a:pt x="1362" y="78"/>
                    </a:lnTo>
                    <a:lnTo>
                      <a:pt x="1362" y="90"/>
                    </a:lnTo>
                    <a:lnTo>
                      <a:pt x="1368" y="96"/>
                    </a:lnTo>
                    <a:lnTo>
                      <a:pt x="1380" y="96"/>
                    </a:lnTo>
                    <a:lnTo>
                      <a:pt x="1386" y="102"/>
                    </a:lnTo>
                    <a:lnTo>
                      <a:pt x="1386" y="108"/>
                    </a:lnTo>
                    <a:lnTo>
                      <a:pt x="1392" y="114"/>
                    </a:lnTo>
                    <a:lnTo>
                      <a:pt x="1392" y="120"/>
                    </a:lnTo>
                    <a:lnTo>
                      <a:pt x="1392" y="126"/>
                    </a:lnTo>
                    <a:lnTo>
                      <a:pt x="1434" y="132"/>
                    </a:lnTo>
                    <a:lnTo>
                      <a:pt x="1440" y="132"/>
                    </a:lnTo>
                    <a:lnTo>
                      <a:pt x="1446" y="150"/>
                    </a:lnTo>
                    <a:lnTo>
                      <a:pt x="1452" y="156"/>
                    </a:lnTo>
                    <a:lnTo>
                      <a:pt x="1458" y="156"/>
                    </a:lnTo>
                    <a:lnTo>
                      <a:pt x="1470" y="150"/>
                    </a:lnTo>
                    <a:lnTo>
                      <a:pt x="1476" y="150"/>
                    </a:lnTo>
                    <a:lnTo>
                      <a:pt x="1494" y="150"/>
                    </a:lnTo>
                    <a:lnTo>
                      <a:pt x="1494" y="156"/>
                    </a:lnTo>
                    <a:lnTo>
                      <a:pt x="1494" y="162"/>
                    </a:lnTo>
                    <a:lnTo>
                      <a:pt x="1500" y="162"/>
                    </a:lnTo>
                    <a:lnTo>
                      <a:pt x="1500" y="168"/>
                    </a:lnTo>
                    <a:lnTo>
                      <a:pt x="1506" y="168"/>
                    </a:lnTo>
                    <a:lnTo>
                      <a:pt x="1518" y="156"/>
                    </a:lnTo>
                    <a:lnTo>
                      <a:pt x="1512" y="156"/>
                    </a:lnTo>
                    <a:lnTo>
                      <a:pt x="1518" y="150"/>
                    </a:lnTo>
                    <a:lnTo>
                      <a:pt x="1524" y="150"/>
                    </a:lnTo>
                    <a:lnTo>
                      <a:pt x="1524" y="144"/>
                    </a:lnTo>
                    <a:lnTo>
                      <a:pt x="1524" y="138"/>
                    </a:lnTo>
                    <a:lnTo>
                      <a:pt x="1524" y="132"/>
                    </a:lnTo>
                    <a:lnTo>
                      <a:pt x="1524" y="126"/>
                    </a:lnTo>
                    <a:lnTo>
                      <a:pt x="1530" y="120"/>
                    </a:lnTo>
                    <a:lnTo>
                      <a:pt x="1542" y="126"/>
                    </a:lnTo>
                    <a:lnTo>
                      <a:pt x="1548" y="120"/>
                    </a:lnTo>
                    <a:lnTo>
                      <a:pt x="1554" y="126"/>
                    </a:lnTo>
                    <a:lnTo>
                      <a:pt x="1560" y="132"/>
                    </a:lnTo>
                    <a:lnTo>
                      <a:pt x="1566" y="126"/>
                    </a:lnTo>
                    <a:lnTo>
                      <a:pt x="1572" y="126"/>
                    </a:lnTo>
                    <a:lnTo>
                      <a:pt x="1584" y="126"/>
                    </a:lnTo>
                    <a:lnTo>
                      <a:pt x="1590" y="126"/>
                    </a:lnTo>
                    <a:lnTo>
                      <a:pt x="1596" y="132"/>
                    </a:lnTo>
                    <a:lnTo>
                      <a:pt x="1596" y="108"/>
                    </a:lnTo>
                    <a:lnTo>
                      <a:pt x="1602" y="114"/>
                    </a:lnTo>
                    <a:lnTo>
                      <a:pt x="1608" y="114"/>
                    </a:lnTo>
                    <a:lnTo>
                      <a:pt x="1614" y="114"/>
                    </a:lnTo>
                    <a:lnTo>
                      <a:pt x="1620" y="114"/>
                    </a:lnTo>
                    <a:lnTo>
                      <a:pt x="1620" y="126"/>
                    </a:lnTo>
                    <a:lnTo>
                      <a:pt x="1614" y="126"/>
                    </a:lnTo>
                    <a:lnTo>
                      <a:pt x="1614" y="132"/>
                    </a:lnTo>
                    <a:lnTo>
                      <a:pt x="1620" y="138"/>
                    </a:lnTo>
                    <a:lnTo>
                      <a:pt x="1626" y="138"/>
                    </a:lnTo>
                    <a:lnTo>
                      <a:pt x="1626" y="132"/>
                    </a:lnTo>
                    <a:lnTo>
                      <a:pt x="1632" y="126"/>
                    </a:lnTo>
                    <a:lnTo>
                      <a:pt x="1638" y="126"/>
                    </a:lnTo>
                    <a:lnTo>
                      <a:pt x="1644" y="132"/>
                    </a:lnTo>
                    <a:lnTo>
                      <a:pt x="1650" y="132"/>
                    </a:lnTo>
                    <a:lnTo>
                      <a:pt x="1674" y="138"/>
                    </a:lnTo>
                    <a:lnTo>
                      <a:pt x="1680" y="138"/>
                    </a:lnTo>
                    <a:lnTo>
                      <a:pt x="1692" y="144"/>
                    </a:lnTo>
                    <a:lnTo>
                      <a:pt x="1704" y="150"/>
                    </a:lnTo>
                    <a:lnTo>
                      <a:pt x="1710" y="150"/>
                    </a:lnTo>
                    <a:lnTo>
                      <a:pt x="1716" y="156"/>
                    </a:lnTo>
                    <a:lnTo>
                      <a:pt x="1722" y="156"/>
                    </a:lnTo>
                    <a:lnTo>
                      <a:pt x="1722" y="162"/>
                    </a:lnTo>
                    <a:lnTo>
                      <a:pt x="1716" y="174"/>
                    </a:lnTo>
                    <a:lnTo>
                      <a:pt x="1716" y="180"/>
                    </a:lnTo>
                    <a:lnTo>
                      <a:pt x="1710" y="180"/>
                    </a:lnTo>
                    <a:lnTo>
                      <a:pt x="1698" y="180"/>
                    </a:lnTo>
                    <a:lnTo>
                      <a:pt x="1692" y="174"/>
                    </a:lnTo>
                    <a:lnTo>
                      <a:pt x="1686" y="168"/>
                    </a:lnTo>
                    <a:lnTo>
                      <a:pt x="1674" y="174"/>
                    </a:lnTo>
                    <a:lnTo>
                      <a:pt x="1668" y="180"/>
                    </a:lnTo>
                    <a:lnTo>
                      <a:pt x="1668" y="186"/>
                    </a:lnTo>
                    <a:lnTo>
                      <a:pt x="1686" y="192"/>
                    </a:lnTo>
                    <a:lnTo>
                      <a:pt x="1686" y="204"/>
                    </a:lnTo>
                    <a:lnTo>
                      <a:pt x="1686" y="210"/>
                    </a:lnTo>
                    <a:lnTo>
                      <a:pt x="1692" y="210"/>
                    </a:lnTo>
                    <a:lnTo>
                      <a:pt x="1710" y="204"/>
                    </a:lnTo>
                    <a:lnTo>
                      <a:pt x="1716" y="204"/>
                    </a:lnTo>
                    <a:lnTo>
                      <a:pt x="1722" y="216"/>
                    </a:lnTo>
                    <a:lnTo>
                      <a:pt x="1728" y="222"/>
                    </a:lnTo>
                    <a:lnTo>
                      <a:pt x="1728" y="228"/>
                    </a:lnTo>
                    <a:lnTo>
                      <a:pt x="1728" y="234"/>
                    </a:lnTo>
                    <a:lnTo>
                      <a:pt x="1734" y="234"/>
                    </a:lnTo>
                    <a:lnTo>
                      <a:pt x="1740" y="246"/>
                    </a:lnTo>
                    <a:lnTo>
                      <a:pt x="1740" y="276"/>
                    </a:lnTo>
                    <a:lnTo>
                      <a:pt x="1734" y="276"/>
                    </a:lnTo>
                    <a:lnTo>
                      <a:pt x="1722" y="282"/>
                    </a:lnTo>
                    <a:lnTo>
                      <a:pt x="1710" y="282"/>
                    </a:lnTo>
                    <a:lnTo>
                      <a:pt x="1704" y="282"/>
                    </a:lnTo>
                    <a:lnTo>
                      <a:pt x="1698" y="282"/>
                    </a:lnTo>
                    <a:lnTo>
                      <a:pt x="1692" y="282"/>
                    </a:lnTo>
                    <a:lnTo>
                      <a:pt x="1692" y="288"/>
                    </a:lnTo>
                    <a:lnTo>
                      <a:pt x="1686" y="288"/>
                    </a:lnTo>
                    <a:lnTo>
                      <a:pt x="1680" y="288"/>
                    </a:lnTo>
                    <a:lnTo>
                      <a:pt x="1680" y="276"/>
                    </a:lnTo>
                    <a:lnTo>
                      <a:pt x="1686" y="276"/>
                    </a:lnTo>
                    <a:lnTo>
                      <a:pt x="1686" y="270"/>
                    </a:lnTo>
                    <a:lnTo>
                      <a:pt x="1680" y="270"/>
                    </a:lnTo>
                    <a:lnTo>
                      <a:pt x="1668" y="276"/>
                    </a:lnTo>
                    <a:lnTo>
                      <a:pt x="1662" y="276"/>
                    </a:lnTo>
                    <a:lnTo>
                      <a:pt x="1662" y="282"/>
                    </a:lnTo>
                    <a:lnTo>
                      <a:pt x="1668" y="282"/>
                    </a:lnTo>
                    <a:lnTo>
                      <a:pt x="1668" y="288"/>
                    </a:lnTo>
                    <a:lnTo>
                      <a:pt x="1668" y="294"/>
                    </a:lnTo>
                    <a:lnTo>
                      <a:pt x="1668" y="306"/>
                    </a:lnTo>
                    <a:lnTo>
                      <a:pt x="1674" y="312"/>
                    </a:lnTo>
                    <a:lnTo>
                      <a:pt x="1674" y="318"/>
                    </a:lnTo>
                    <a:lnTo>
                      <a:pt x="1674" y="324"/>
                    </a:lnTo>
                    <a:lnTo>
                      <a:pt x="1662" y="330"/>
                    </a:lnTo>
                    <a:lnTo>
                      <a:pt x="1656" y="336"/>
                    </a:lnTo>
                    <a:lnTo>
                      <a:pt x="1656" y="342"/>
                    </a:lnTo>
                    <a:lnTo>
                      <a:pt x="1650" y="348"/>
                    </a:lnTo>
                    <a:lnTo>
                      <a:pt x="1644" y="348"/>
                    </a:lnTo>
                    <a:lnTo>
                      <a:pt x="1632" y="348"/>
                    </a:lnTo>
                    <a:lnTo>
                      <a:pt x="1620" y="354"/>
                    </a:lnTo>
                    <a:lnTo>
                      <a:pt x="1626" y="360"/>
                    </a:lnTo>
                    <a:lnTo>
                      <a:pt x="1632" y="372"/>
                    </a:lnTo>
                    <a:lnTo>
                      <a:pt x="1632" y="384"/>
                    </a:lnTo>
                    <a:lnTo>
                      <a:pt x="1626" y="390"/>
                    </a:lnTo>
                    <a:lnTo>
                      <a:pt x="1632" y="408"/>
                    </a:lnTo>
                    <a:lnTo>
                      <a:pt x="1620" y="414"/>
                    </a:lnTo>
                    <a:lnTo>
                      <a:pt x="1620" y="420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590" y="426"/>
                    </a:lnTo>
                    <a:lnTo>
                      <a:pt x="1584" y="426"/>
                    </a:lnTo>
                    <a:lnTo>
                      <a:pt x="1554" y="432"/>
                    </a:lnTo>
                    <a:lnTo>
                      <a:pt x="1554" y="420"/>
                    </a:lnTo>
                    <a:lnTo>
                      <a:pt x="1542" y="432"/>
                    </a:lnTo>
                    <a:lnTo>
                      <a:pt x="1530" y="414"/>
                    </a:lnTo>
                    <a:lnTo>
                      <a:pt x="1524" y="402"/>
                    </a:lnTo>
                    <a:lnTo>
                      <a:pt x="1500" y="420"/>
                    </a:lnTo>
                    <a:lnTo>
                      <a:pt x="1494" y="420"/>
                    </a:lnTo>
                    <a:lnTo>
                      <a:pt x="1476" y="426"/>
                    </a:lnTo>
                    <a:lnTo>
                      <a:pt x="1476" y="450"/>
                    </a:lnTo>
                    <a:lnTo>
                      <a:pt x="1470" y="468"/>
                    </a:lnTo>
                    <a:lnTo>
                      <a:pt x="1464" y="504"/>
                    </a:lnTo>
                    <a:lnTo>
                      <a:pt x="1458" y="504"/>
                    </a:lnTo>
                    <a:lnTo>
                      <a:pt x="1458" y="510"/>
                    </a:lnTo>
                    <a:lnTo>
                      <a:pt x="1440" y="516"/>
                    </a:lnTo>
                    <a:lnTo>
                      <a:pt x="1440" y="528"/>
                    </a:lnTo>
                    <a:lnTo>
                      <a:pt x="1416" y="528"/>
                    </a:lnTo>
                    <a:lnTo>
                      <a:pt x="1428" y="570"/>
                    </a:lnTo>
                    <a:lnTo>
                      <a:pt x="1404" y="588"/>
                    </a:lnTo>
                    <a:lnTo>
                      <a:pt x="1386" y="606"/>
                    </a:lnTo>
                    <a:lnTo>
                      <a:pt x="1392" y="618"/>
                    </a:lnTo>
                    <a:lnTo>
                      <a:pt x="1398" y="630"/>
                    </a:lnTo>
                    <a:lnTo>
                      <a:pt x="1398" y="636"/>
                    </a:lnTo>
                    <a:lnTo>
                      <a:pt x="1398" y="648"/>
                    </a:lnTo>
                    <a:lnTo>
                      <a:pt x="1440" y="630"/>
                    </a:lnTo>
                    <a:lnTo>
                      <a:pt x="1434" y="624"/>
                    </a:lnTo>
                    <a:lnTo>
                      <a:pt x="1476" y="612"/>
                    </a:lnTo>
                    <a:lnTo>
                      <a:pt x="1482" y="612"/>
                    </a:lnTo>
                    <a:lnTo>
                      <a:pt x="1482" y="618"/>
                    </a:lnTo>
                    <a:lnTo>
                      <a:pt x="1488" y="624"/>
                    </a:lnTo>
                    <a:lnTo>
                      <a:pt x="1488" y="630"/>
                    </a:lnTo>
                    <a:lnTo>
                      <a:pt x="1518" y="630"/>
                    </a:lnTo>
                    <a:lnTo>
                      <a:pt x="1512" y="642"/>
                    </a:lnTo>
                    <a:lnTo>
                      <a:pt x="1506" y="642"/>
                    </a:lnTo>
                    <a:lnTo>
                      <a:pt x="1506" y="648"/>
                    </a:lnTo>
                    <a:lnTo>
                      <a:pt x="1500" y="672"/>
                    </a:lnTo>
                    <a:lnTo>
                      <a:pt x="1494" y="672"/>
                    </a:lnTo>
                    <a:lnTo>
                      <a:pt x="1506" y="684"/>
                    </a:lnTo>
                    <a:lnTo>
                      <a:pt x="1494" y="732"/>
                    </a:lnTo>
                    <a:lnTo>
                      <a:pt x="1488" y="732"/>
                    </a:lnTo>
                    <a:lnTo>
                      <a:pt x="1488" y="738"/>
                    </a:lnTo>
                    <a:lnTo>
                      <a:pt x="1488" y="744"/>
                    </a:lnTo>
                    <a:lnTo>
                      <a:pt x="1488" y="750"/>
                    </a:lnTo>
                    <a:lnTo>
                      <a:pt x="1488" y="756"/>
                    </a:lnTo>
                    <a:lnTo>
                      <a:pt x="1482" y="756"/>
                    </a:lnTo>
                    <a:lnTo>
                      <a:pt x="1482" y="762"/>
                    </a:lnTo>
                    <a:lnTo>
                      <a:pt x="1476" y="762"/>
                    </a:lnTo>
                    <a:lnTo>
                      <a:pt x="1476" y="768"/>
                    </a:lnTo>
                    <a:lnTo>
                      <a:pt x="1476" y="774"/>
                    </a:lnTo>
                    <a:lnTo>
                      <a:pt x="1470" y="774"/>
                    </a:lnTo>
                    <a:lnTo>
                      <a:pt x="1464" y="774"/>
                    </a:lnTo>
                    <a:lnTo>
                      <a:pt x="1464" y="780"/>
                    </a:lnTo>
                    <a:lnTo>
                      <a:pt x="1458" y="780"/>
                    </a:lnTo>
                    <a:lnTo>
                      <a:pt x="1452" y="780"/>
                    </a:lnTo>
                    <a:lnTo>
                      <a:pt x="1446" y="780"/>
                    </a:lnTo>
                    <a:lnTo>
                      <a:pt x="1446" y="774"/>
                    </a:lnTo>
                    <a:lnTo>
                      <a:pt x="1440" y="774"/>
                    </a:lnTo>
                    <a:lnTo>
                      <a:pt x="1440" y="768"/>
                    </a:lnTo>
                    <a:lnTo>
                      <a:pt x="1434" y="768"/>
                    </a:lnTo>
                    <a:lnTo>
                      <a:pt x="1434" y="762"/>
                    </a:lnTo>
                    <a:lnTo>
                      <a:pt x="1434" y="756"/>
                    </a:lnTo>
                    <a:lnTo>
                      <a:pt x="1428" y="756"/>
                    </a:lnTo>
                    <a:lnTo>
                      <a:pt x="1422" y="756"/>
                    </a:lnTo>
                    <a:lnTo>
                      <a:pt x="1422" y="762"/>
                    </a:lnTo>
                    <a:lnTo>
                      <a:pt x="1416" y="762"/>
                    </a:lnTo>
                    <a:lnTo>
                      <a:pt x="1416" y="768"/>
                    </a:lnTo>
                    <a:lnTo>
                      <a:pt x="1410" y="768"/>
                    </a:lnTo>
                    <a:lnTo>
                      <a:pt x="1410" y="774"/>
                    </a:lnTo>
                    <a:lnTo>
                      <a:pt x="1404" y="780"/>
                    </a:lnTo>
                    <a:lnTo>
                      <a:pt x="1398" y="786"/>
                    </a:lnTo>
                    <a:lnTo>
                      <a:pt x="1398" y="792"/>
                    </a:lnTo>
                    <a:lnTo>
                      <a:pt x="1392" y="792"/>
                    </a:lnTo>
                    <a:lnTo>
                      <a:pt x="1392" y="798"/>
                    </a:lnTo>
                    <a:lnTo>
                      <a:pt x="1386" y="798"/>
                    </a:lnTo>
                    <a:lnTo>
                      <a:pt x="1386" y="792"/>
                    </a:lnTo>
                    <a:lnTo>
                      <a:pt x="1386" y="786"/>
                    </a:lnTo>
                    <a:lnTo>
                      <a:pt x="1386" y="780"/>
                    </a:lnTo>
                    <a:lnTo>
                      <a:pt x="1380" y="780"/>
                    </a:lnTo>
                    <a:lnTo>
                      <a:pt x="1380" y="786"/>
                    </a:lnTo>
                    <a:lnTo>
                      <a:pt x="1374" y="786"/>
                    </a:lnTo>
                    <a:lnTo>
                      <a:pt x="1368" y="786"/>
                    </a:lnTo>
                    <a:lnTo>
                      <a:pt x="1362" y="780"/>
                    </a:lnTo>
                    <a:lnTo>
                      <a:pt x="1356" y="780"/>
                    </a:lnTo>
                    <a:lnTo>
                      <a:pt x="1356" y="786"/>
                    </a:lnTo>
                    <a:lnTo>
                      <a:pt x="1350" y="786"/>
                    </a:lnTo>
                    <a:lnTo>
                      <a:pt x="1344" y="786"/>
                    </a:lnTo>
                    <a:lnTo>
                      <a:pt x="1338" y="786"/>
                    </a:lnTo>
                    <a:lnTo>
                      <a:pt x="1338" y="780"/>
                    </a:lnTo>
                    <a:lnTo>
                      <a:pt x="1332" y="780"/>
                    </a:lnTo>
                    <a:lnTo>
                      <a:pt x="1326" y="780"/>
                    </a:lnTo>
                    <a:lnTo>
                      <a:pt x="1320" y="774"/>
                    </a:lnTo>
                    <a:lnTo>
                      <a:pt x="1314" y="768"/>
                    </a:lnTo>
                    <a:lnTo>
                      <a:pt x="1314" y="762"/>
                    </a:lnTo>
                    <a:lnTo>
                      <a:pt x="1308" y="762"/>
                    </a:lnTo>
                    <a:lnTo>
                      <a:pt x="1308" y="768"/>
                    </a:lnTo>
                    <a:lnTo>
                      <a:pt x="1308" y="774"/>
                    </a:lnTo>
                    <a:lnTo>
                      <a:pt x="1308" y="780"/>
                    </a:lnTo>
                    <a:lnTo>
                      <a:pt x="1308" y="786"/>
                    </a:lnTo>
                    <a:lnTo>
                      <a:pt x="1308" y="792"/>
                    </a:lnTo>
                    <a:lnTo>
                      <a:pt x="1302" y="792"/>
                    </a:lnTo>
                    <a:lnTo>
                      <a:pt x="1302" y="786"/>
                    </a:lnTo>
                    <a:lnTo>
                      <a:pt x="1296" y="786"/>
                    </a:lnTo>
                    <a:lnTo>
                      <a:pt x="1296" y="780"/>
                    </a:lnTo>
                    <a:lnTo>
                      <a:pt x="1290" y="780"/>
                    </a:lnTo>
                    <a:lnTo>
                      <a:pt x="1284" y="780"/>
                    </a:lnTo>
                    <a:lnTo>
                      <a:pt x="1284" y="786"/>
                    </a:lnTo>
                    <a:lnTo>
                      <a:pt x="1278" y="786"/>
                    </a:lnTo>
                    <a:lnTo>
                      <a:pt x="1272" y="786"/>
                    </a:lnTo>
                    <a:lnTo>
                      <a:pt x="1266" y="786"/>
                    </a:lnTo>
                    <a:lnTo>
                      <a:pt x="1260" y="786"/>
                    </a:lnTo>
                    <a:lnTo>
                      <a:pt x="1260" y="792"/>
                    </a:lnTo>
                    <a:lnTo>
                      <a:pt x="1254" y="792"/>
                    </a:lnTo>
                    <a:lnTo>
                      <a:pt x="1248" y="792"/>
                    </a:lnTo>
                    <a:lnTo>
                      <a:pt x="1248" y="798"/>
                    </a:lnTo>
                    <a:lnTo>
                      <a:pt x="1242" y="798"/>
                    </a:lnTo>
                    <a:lnTo>
                      <a:pt x="1242" y="804"/>
                    </a:lnTo>
                    <a:lnTo>
                      <a:pt x="1242" y="810"/>
                    </a:lnTo>
                    <a:lnTo>
                      <a:pt x="1236" y="810"/>
                    </a:lnTo>
                    <a:lnTo>
                      <a:pt x="1236" y="816"/>
                    </a:lnTo>
                    <a:lnTo>
                      <a:pt x="1236" y="810"/>
                    </a:lnTo>
                    <a:lnTo>
                      <a:pt x="1230" y="810"/>
                    </a:lnTo>
                    <a:lnTo>
                      <a:pt x="1230" y="804"/>
                    </a:lnTo>
                    <a:lnTo>
                      <a:pt x="1224" y="804"/>
                    </a:lnTo>
                    <a:lnTo>
                      <a:pt x="1224" y="810"/>
                    </a:lnTo>
                    <a:lnTo>
                      <a:pt x="1218" y="810"/>
                    </a:lnTo>
                    <a:lnTo>
                      <a:pt x="1212" y="810"/>
                    </a:lnTo>
                    <a:lnTo>
                      <a:pt x="1212" y="816"/>
                    </a:lnTo>
                    <a:lnTo>
                      <a:pt x="1206" y="822"/>
                    </a:lnTo>
                    <a:lnTo>
                      <a:pt x="1206" y="828"/>
                    </a:lnTo>
                    <a:lnTo>
                      <a:pt x="1206" y="834"/>
                    </a:lnTo>
                    <a:lnTo>
                      <a:pt x="1206" y="840"/>
                    </a:lnTo>
                    <a:lnTo>
                      <a:pt x="1200" y="840"/>
                    </a:lnTo>
                    <a:lnTo>
                      <a:pt x="1194" y="840"/>
                    </a:lnTo>
                    <a:lnTo>
                      <a:pt x="1188" y="840"/>
                    </a:lnTo>
                    <a:lnTo>
                      <a:pt x="1182" y="840"/>
                    </a:lnTo>
                    <a:lnTo>
                      <a:pt x="1182" y="846"/>
                    </a:lnTo>
                    <a:lnTo>
                      <a:pt x="1182" y="852"/>
                    </a:lnTo>
                    <a:lnTo>
                      <a:pt x="1176" y="852"/>
                    </a:lnTo>
                    <a:lnTo>
                      <a:pt x="1170" y="852"/>
                    </a:lnTo>
                    <a:lnTo>
                      <a:pt x="1170" y="858"/>
                    </a:lnTo>
                    <a:lnTo>
                      <a:pt x="1164" y="858"/>
                    </a:lnTo>
                    <a:lnTo>
                      <a:pt x="1158" y="858"/>
                    </a:lnTo>
                    <a:lnTo>
                      <a:pt x="1152" y="858"/>
                    </a:lnTo>
                    <a:lnTo>
                      <a:pt x="1152" y="864"/>
                    </a:lnTo>
                    <a:lnTo>
                      <a:pt x="1152" y="870"/>
                    </a:lnTo>
                    <a:lnTo>
                      <a:pt x="1158" y="870"/>
                    </a:lnTo>
                    <a:lnTo>
                      <a:pt x="1158" y="876"/>
                    </a:lnTo>
                    <a:lnTo>
                      <a:pt x="1164" y="876"/>
                    </a:lnTo>
                    <a:lnTo>
                      <a:pt x="1164" y="882"/>
                    </a:lnTo>
                    <a:lnTo>
                      <a:pt x="1170" y="882"/>
                    </a:lnTo>
                    <a:lnTo>
                      <a:pt x="1170" y="888"/>
                    </a:lnTo>
                    <a:lnTo>
                      <a:pt x="1176" y="894"/>
                    </a:lnTo>
                    <a:lnTo>
                      <a:pt x="1176" y="900"/>
                    </a:lnTo>
                    <a:lnTo>
                      <a:pt x="1176" y="906"/>
                    </a:lnTo>
                    <a:lnTo>
                      <a:pt x="1176" y="912"/>
                    </a:lnTo>
                    <a:lnTo>
                      <a:pt x="1170" y="912"/>
                    </a:lnTo>
                    <a:lnTo>
                      <a:pt x="1164" y="918"/>
                    </a:lnTo>
                    <a:lnTo>
                      <a:pt x="1164" y="924"/>
                    </a:lnTo>
                    <a:lnTo>
                      <a:pt x="1164" y="930"/>
                    </a:lnTo>
                    <a:lnTo>
                      <a:pt x="1170" y="930"/>
                    </a:lnTo>
                    <a:lnTo>
                      <a:pt x="1170" y="936"/>
                    </a:lnTo>
                    <a:lnTo>
                      <a:pt x="1176" y="936"/>
                    </a:lnTo>
                    <a:lnTo>
                      <a:pt x="1182" y="936"/>
                    </a:lnTo>
                    <a:lnTo>
                      <a:pt x="1182" y="942"/>
                    </a:lnTo>
                    <a:lnTo>
                      <a:pt x="1176" y="942"/>
                    </a:lnTo>
                    <a:lnTo>
                      <a:pt x="1170" y="942"/>
                    </a:lnTo>
                    <a:lnTo>
                      <a:pt x="1170" y="936"/>
                    </a:lnTo>
                    <a:lnTo>
                      <a:pt x="1164" y="936"/>
                    </a:lnTo>
                    <a:lnTo>
                      <a:pt x="1158" y="936"/>
                    </a:lnTo>
                    <a:lnTo>
                      <a:pt x="1158" y="942"/>
                    </a:lnTo>
                    <a:lnTo>
                      <a:pt x="1152" y="942"/>
                    </a:lnTo>
                    <a:lnTo>
                      <a:pt x="1146" y="942"/>
                    </a:lnTo>
                    <a:lnTo>
                      <a:pt x="1146" y="936"/>
                    </a:lnTo>
                    <a:lnTo>
                      <a:pt x="1140" y="936"/>
                    </a:lnTo>
                    <a:lnTo>
                      <a:pt x="1134" y="936"/>
                    </a:lnTo>
                    <a:lnTo>
                      <a:pt x="1128" y="936"/>
                    </a:lnTo>
                    <a:lnTo>
                      <a:pt x="1128" y="942"/>
                    </a:lnTo>
                    <a:lnTo>
                      <a:pt x="1128" y="948"/>
                    </a:lnTo>
                    <a:lnTo>
                      <a:pt x="1122" y="948"/>
                    </a:lnTo>
                    <a:lnTo>
                      <a:pt x="1122" y="942"/>
                    </a:lnTo>
                    <a:lnTo>
                      <a:pt x="1116" y="942"/>
                    </a:lnTo>
                    <a:lnTo>
                      <a:pt x="1110" y="942"/>
                    </a:lnTo>
                    <a:lnTo>
                      <a:pt x="1110" y="948"/>
                    </a:lnTo>
                    <a:lnTo>
                      <a:pt x="1104" y="948"/>
                    </a:lnTo>
                    <a:lnTo>
                      <a:pt x="1104" y="954"/>
                    </a:lnTo>
                    <a:lnTo>
                      <a:pt x="1098" y="954"/>
                    </a:lnTo>
                    <a:lnTo>
                      <a:pt x="1098" y="960"/>
                    </a:lnTo>
                    <a:lnTo>
                      <a:pt x="1092" y="966"/>
                    </a:lnTo>
                    <a:lnTo>
                      <a:pt x="1098" y="966"/>
                    </a:lnTo>
                    <a:lnTo>
                      <a:pt x="1098" y="972"/>
                    </a:lnTo>
                    <a:lnTo>
                      <a:pt x="1092" y="978"/>
                    </a:lnTo>
                    <a:lnTo>
                      <a:pt x="1086" y="978"/>
                    </a:lnTo>
                    <a:lnTo>
                      <a:pt x="1080" y="978"/>
                    </a:lnTo>
                    <a:lnTo>
                      <a:pt x="1080" y="984"/>
                    </a:lnTo>
                    <a:lnTo>
                      <a:pt x="1074" y="990"/>
                    </a:lnTo>
                    <a:lnTo>
                      <a:pt x="1068" y="990"/>
                    </a:lnTo>
                    <a:lnTo>
                      <a:pt x="1068" y="996"/>
                    </a:lnTo>
                    <a:lnTo>
                      <a:pt x="1062" y="996"/>
                    </a:lnTo>
                    <a:lnTo>
                      <a:pt x="1062" y="1002"/>
                    </a:lnTo>
                    <a:lnTo>
                      <a:pt x="1056" y="1002"/>
                    </a:lnTo>
                    <a:lnTo>
                      <a:pt x="1056" y="1008"/>
                    </a:lnTo>
                    <a:lnTo>
                      <a:pt x="1050" y="1008"/>
                    </a:lnTo>
                    <a:lnTo>
                      <a:pt x="1050" y="1014"/>
                    </a:lnTo>
                    <a:lnTo>
                      <a:pt x="1050" y="1020"/>
                    </a:lnTo>
                    <a:lnTo>
                      <a:pt x="1044" y="1020"/>
                    </a:lnTo>
                    <a:lnTo>
                      <a:pt x="1044" y="1026"/>
                    </a:lnTo>
                    <a:lnTo>
                      <a:pt x="1044" y="1032"/>
                    </a:lnTo>
                    <a:lnTo>
                      <a:pt x="1044" y="1038"/>
                    </a:lnTo>
                    <a:lnTo>
                      <a:pt x="1050" y="1038"/>
                    </a:lnTo>
                    <a:lnTo>
                      <a:pt x="1050" y="1044"/>
                    </a:lnTo>
                    <a:lnTo>
                      <a:pt x="1044" y="1044"/>
                    </a:lnTo>
                    <a:lnTo>
                      <a:pt x="1044" y="1050"/>
                    </a:lnTo>
                    <a:lnTo>
                      <a:pt x="1038" y="1050"/>
                    </a:lnTo>
                    <a:lnTo>
                      <a:pt x="1032" y="1050"/>
                    </a:lnTo>
                    <a:lnTo>
                      <a:pt x="1032" y="1044"/>
                    </a:lnTo>
                    <a:lnTo>
                      <a:pt x="1032" y="1038"/>
                    </a:lnTo>
                    <a:lnTo>
                      <a:pt x="1026" y="1032"/>
                    </a:lnTo>
                    <a:lnTo>
                      <a:pt x="1026" y="1026"/>
                    </a:lnTo>
                    <a:lnTo>
                      <a:pt x="1026" y="1020"/>
                    </a:lnTo>
                    <a:lnTo>
                      <a:pt x="1020" y="1020"/>
                    </a:lnTo>
                    <a:lnTo>
                      <a:pt x="1014" y="1020"/>
                    </a:lnTo>
                    <a:lnTo>
                      <a:pt x="1008" y="1014"/>
                    </a:lnTo>
                    <a:lnTo>
                      <a:pt x="1002" y="1014"/>
                    </a:lnTo>
                    <a:lnTo>
                      <a:pt x="996" y="1014"/>
                    </a:lnTo>
                    <a:lnTo>
                      <a:pt x="990" y="1014"/>
                    </a:lnTo>
                    <a:lnTo>
                      <a:pt x="984" y="1014"/>
                    </a:lnTo>
                    <a:lnTo>
                      <a:pt x="978" y="1014"/>
                    </a:lnTo>
                    <a:lnTo>
                      <a:pt x="978" y="1008"/>
                    </a:lnTo>
                    <a:lnTo>
                      <a:pt x="978" y="1002"/>
                    </a:lnTo>
                    <a:lnTo>
                      <a:pt x="972" y="1002"/>
                    </a:lnTo>
                    <a:lnTo>
                      <a:pt x="966" y="1002"/>
                    </a:lnTo>
                    <a:lnTo>
                      <a:pt x="960" y="1002"/>
                    </a:lnTo>
                    <a:lnTo>
                      <a:pt x="954" y="1008"/>
                    </a:lnTo>
                    <a:lnTo>
                      <a:pt x="948" y="1008"/>
                    </a:lnTo>
                    <a:lnTo>
                      <a:pt x="948" y="1014"/>
                    </a:lnTo>
                    <a:lnTo>
                      <a:pt x="942" y="1014"/>
                    </a:lnTo>
                    <a:lnTo>
                      <a:pt x="936" y="1014"/>
                    </a:lnTo>
                    <a:lnTo>
                      <a:pt x="936" y="1020"/>
                    </a:lnTo>
                    <a:lnTo>
                      <a:pt x="930" y="1020"/>
                    </a:lnTo>
                    <a:lnTo>
                      <a:pt x="924" y="1026"/>
                    </a:lnTo>
                    <a:lnTo>
                      <a:pt x="924" y="1032"/>
                    </a:lnTo>
                    <a:lnTo>
                      <a:pt x="918" y="1032"/>
                    </a:lnTo>
                    <a:lnTo>
                      <a:pt x="912" y="1032"/>
                    </a:lnTo>
                    <a:lnTo>
                      <a:pt x="906" y="1032"/>
                    </a:lnTo>
                    <a:lnTo>
                      <a:pt x="906" y="1026"/>
                    </a:lnTo>
                    <a:lnTo>
                      <a:pt x="900" y="1026"/>
                    </a:lnTo>
                    <a:lnTo>
                      <a:pt x="894" y="1032"/>
                    </a:lnTo>
                    <a:lnTo>
                      <a:pt x="888" y="1038"/>
                    </a:lnTo>
                    <a:lnTo>
                      <a:pt x="882" y="1038"/>
                    </a:lnTo>
                    <a:lnTo>
                      <a:pt x="876" y="1038"/>
                    </a:lnTo>
                    <a:lnTo>
                      <a:pt x="870" y="1038"/>
                    </a:lnTo>
                    <a:lnTo>
                      <a:pt x="870" y="1044"/>
                    </a:lnTo>
                    <a:lnTo>
                      <a:pt x="864" y="1044"/>
                    </a:lnTo>
                    <a:lnTo>
                      <a:pt x="858" y="1044"/>
                    </a:lnTo>
                    <a:lnTo>
                      <a:pt x="852" y="1044"/>
                    </a:lnTo>
                    <a:lnTo>
                      <a:pt x="846" y="1050"/>
                    </a:lnTo>
                    <a:lnTo>
                      <a:pt x="840" y="1050"/>
                    </a:lnTo>
                    <a:lnTo>
                      <a:pt x="840" y="1056"/>
                    </a:lnTo>
                    <a:lnTo>
                      <a:pt x="834" y="1056"/>
                    </a:lnTo>
                    <a:lnTo>
                      <a:pt x="834" y="1062"/>
                    </a:lnTo>
                    <a:lnTo>
                      <a:pt x="828" y="1062"/>
                    </a:lnTo>
                    <a:lnTo>
                      <a:pt x="828" y="1068"/>
                    </a:lnTo>
                    <a:lnTo>
                      <a:pt x="822" y="1068"/>
                    </a:lnTo>
                    <a:lnTo>
                      <a:pt x="816" y="1068"/>
                    </a:lnTo>
                    <a:lnTo>
                      <a:pt x="810" y="1068"/>
                    </a:lnTo>
                    <a:lnTo>
                      <a:pt x="810" y="1074"/>
                    </a:lnTo>
                    <a:lnTo>
                      <a:pt x="804" y="1074"/>
                    </a:lnTo>
                    <a:lnTo>
                      <a:pt x="804" y="1080"/>
                    </a:lnTo>
                    <a:lnTo>
                      <a:pt x="798" y="1080"/>
                    </a:lnTo>
                    <a:lnTo>
                      <a:pt x="798" y="1086"/>
                    </a:lnTo>
                    <a:lnTo>
                      <a:pt x="798" y="1092"/>
                    </a:lnTo>
                    <a:lnTo>
                      <a:pt x="798" y="1098"/>
                    </a:lnTo>
                    <a:lnTo>
                      <a:pt x="792" y="1098"/>
                    </a:lnTo>
                    <a:lnTo>
                      <a:pt x="792" y="1104"/>
                    </a:lnTo>
                    <a:lnTo>
                      <a:pt x="786" y="1104"/>
                    </a:lnTo>
                    <a:lnTo>
                      <a:pt x="786" y="1110"/>
                    </a:lnTo>
                    <a:lnTo>
                      <a:pt x="780" y="1110"/>
                    </a:lnTo>
                    <a:lnTo>
                      <a:pt x="780" y="1116"/>
                    </a:lnTo>
                    <a:lnTo>
                      <a:pt x="774" y="1116"/>
                    </a:lnTo>
                    <a:lnTo>
                      <a:pt x="768" y="1116"/>
                    </a:lnTo>
                    <a:lnTo>
                      <a:pt x="762" y="1116"/>
                    </a:lnTo>
                    <a:lnTo>
                      <a:pt x="762" y="1122"/>
                    </a:lnTo>
                    <a:lnTo>
                      <a:pt x="762" y="1128"/>
                    </a:lnTo>
                    <a:lnTo>
                      <a:pt x="756" y="1128"/>
                    </a:lnTo>
                    <a:lnTo>
                      <a:pt x="756" y="1134"/>
                    </a:lnTo>
                    <a:lnTo>
                      <a:pt x="750" y="1134"/>
                    </a:lnTo>
                    <a:lnTo>
                      <a:pt x="756" y="1140"/>
                    </a:lnTo>
                    <a:lnTo>
                      <a:pt x="756" y="1146"/>
                    </a:lnTo>
                    <a:lnTo>
                      <a:pt x="750" y="1146"/>
                    </a:lnTo>
                    <a:lnTo>
                      <a:pt x="750" y="1152"/>
                    </a:lnTo>
                    <a:lnTo>
                      <a:pt x="744" y="1158"/>
                    </a:lnTo>
                    <a:lnTo>
                      <a:pt x="744" y="1164"/>
                    </a:lnTo>
                    <a:lnTo>
                      <a:pt x="738" y="1164"/>
                    </a:lnTo>
                    <a:lnTo>
                      <a:pt x="732" y="1164"/>
                    </a:lnTo>
                    <a:lnTo>
                      <a:pt x="726" y="1164"/>
                    </a:lnTo>
                    <a:lnTo>
                      <a:pt x="726" y="1170"/>
                    </a:lnTo>
                    <a:lnTo>
                      <a:pt x="720" y="1170"/>
                    </a:lnTo>
                    <a:lnTo>
                      <a:pt x="714" y="1170"/>
                    </a:lnTo>
                    <a:lnTo>
                      <a:pt x="714" y="1176"/>
                    </a:lnTo>
                    <a:lnTo>
                      <a:pt x="708" y="1176"/>
                    </a:lnTo>
                    <a:lnTo>
                      <a:pt x="702" y="1170"/>
                    </a:lnTo>
                    <a:lnTo>
                      <a:pt x="696" y="1164"/>
                    </a:lnTo>
                    <a:lnTo>
                      <a:pt x="696" y="1158"/>
                    </a:lnTo>
                    <a:lnTo>
                      <a:pt x="696" y="1152"/>
                    </a:lnTo>
                    <a:lnTo>
                      <a:pt x="690" y="1152"/>
                    </a:lnTo>
                    <a:lnTo>
                      <a:pt x="690" y="1146"/>
                    </a:lnTo>
                    <a:lnTo>
                      <a:pt x="684" y="1140"/>
                    </a:lnTo>
                    <a:lnTo>
                      <a:pt x="684" y="1134"/>
                    </a:lnTo>
                    <a:lnTo>
                      <a:pt x="684" y="1128"/>
                    </a:lnTo>
                    <a:lnTo>
                      <a:pt x="678" y="1128"/>
                    </a:lnTo>
                    <a:lnTo>
                      <a:pt x="678" y="1122"/>
                    </a:lnTo>
                    <a:lnTo>
                      <a:pt x="672" y="1116"/>
                    </a:lnTo>
                    <a:lnTo>
                      <a:pt x="672" y="1110"/>
                    </a:lnTo>
                    <a:lnTo>
                      <a:pt x="678" y="1110"/>
                    </a:lnTo>
                    <a:lnTo>
                      <a:pt x="684" y="1104"/>
                    </a:lnTo>
                    <a:lnTo>
                      <a:pt x="684" y="1098"/>
                    </a:lnTo>
                    <a:lnTo>
                      <a:pt x="690" y="1098"/>
                    </a:lnTo>
                    <a:lnTo>
                      <a:pt x="696" y="1092"/>
                    </a:lnTo>
                    <a:lnTo>
                      <a:pt x="696" y="1086"/>
                    </a:lnTo>
                    <a:lnTo>
                      <a:pt x="702" y="1080"/>
                    </a:lnTo>
                    <a:lnTo>
                      <a:pt x="708" y="1074"/>
                    </a:lnTo>
                    <a:lnTo>
                      <a:pt x="714" y="1068"/>
                    </a:lnTo>
                    <a:lnTo>
                      <a:pt x="720" y="1062"/>
                    </a:lnTo>
                    <a:lnTo>
                      <a:pt x="720" y="1056"/>
                    </a:lnTo>
                    <a:lnTo>
                      <a:pt x="726" y="1050"/>
                    </a:lnTo>
                    <a:lnTo>
                      <a:pt x="732" y="1044"/>
                    </a:lnTo>
                    <a:lnTo>
                      <a:pt x="732" y="1038"/>
                    </a:lnTo>
                    <a:lnTo>
                      <a:pt x="720" y="1038"/>
                    </a:lnTo>
                    <a:lnTo>
                      <a:pt x="696" y="1038"/>
                    </a:lnTo>
                    <a:lnTo>
                      <a:pt x="678" y="1038"/>
                    </a:lnTo>
                    <a:lnTo>
                      <a:pt x="666" y="1038"/>
                    </a:lnTo>
                    <a:lnTo>
                      <a:pt x="660" y="1038"/>
                    </a:lnTo>
                    <a:lnTo>
                      <a:pt x="660" y="1032"/>
                    </a:lnTo>
                    <a:lnTo>
                      <a:pt x="660" y="1026"/>
                    </a:lnTo>
                    <a:lnTo>
                      <a:pt x="654" y="1020"/>
                    </a:lnTo>
                    <a:lnTo>
                      <a:pt x="654" y="1014"/>
                    </a:lnTo>
                    <a:lnTo>
                      <a:pt x="654" y="1008"/>
                    </a:lnTo>
                    <a:lnTo>
                      <a:pt x="648" y="1014"/>
                    </a:lnTo>
                    <a:lnTo>
                      <a:pt x="648" y="1020"/>
                    </a:lnTo>
                    <a:lnTo>
                      <a:pt x="636" y="1020"/>
                    </a:lnTo>
                    <a:lnTo>
                      <a:pt x="630" y="1020"/>
                    </a:lnTo>
                    <a:lnTo>
                      <a:pt x="630" y="1026"/>
                    </a:lnTo>
                    <a:lnTo>
                      <a:pt x="624" y="1032"/>
                    </a:lnTo>
                    <a:lnTo>
                      <a:pt x="624" y="1038"/>
                    </a:lnTo>
                    <a:lnTo>
                      <a:pt x="630" y="1044"/>
                    </a:lnTo>
                    <a:lnTo>
                      <a:pt x="630" y="1050"/>
                    </a:lnTo>
                    <a:lnTo>
                      <a:pt x="636" y="1050"/>
                    </a:lnTo>
                    <a:lnTo>
                      <a:pt x="636" y="1056"/>
                    </a:lnTo>
                    <a:lnTo>
                      <a:pt x="636" y="1062"/>
                    </a:lnTo>
                    <a:lnTo>
                      <a:pt x="636" y="1068"/>
                    </a:lnTo>
                    <a:lnTo>
                      <a:pt x="630" y="1068"/>
                    </a:lnTo>
                    <a:lnTo>
                      <a:pt x="630" y="1074"/>
                    </a:lnTo>
                    <a:lnTo>
                      <a:pt x="636" y="1080"/>
                    </a:lnTo>
                    <a:lnTo>
                      <a:pt x="630" y="1086"/>
                    </a:lnTo>
                    <a:lnTo>
                      <a:pt x="630" y="1092"/>
                    </a:lnTo>
                    <a:lnTo>
                      <a:pt x="624" y="1092"/>
                    </a:lnTo>
                    <a:lnTo>
                      <a:pt x="618" y="1092"/>
                    </a:lnTo>
                    <a:lnTo>
                      <a:pt x="618" y="1098"/>
                    </a:lnTo>
                    <a:lnTo>
                      <a:pt x="618" y="1104"/>
                    </a:lnTo>
                    <a:lnTo>
                      <a:pt x="612" y="1104"/>
                    </a:lnTo>
                    <a:lnTo>
                      <a:pt x="612" y="1110"/>
                    </a:lnTo>
                    <a:lnTo>
                      <a:pt x="606" y="1116"/>
                    </a:lnTo>
                    <a:lnTo>
                      <a:pt x="612" y="1122"/>
                    </a:lnTo>
                    <a:lnTo>
                      <a:pt x="612" y="1128"/>
                    </a:lnTo>
                    <a:lnTo>
                      <a:pt x="612" y="1134"/>
                    </a:lnTo>
                    <a:lnTo>
                      <a:pt x="612" y="1140"/>
                    </a:lnTo>
                    <a:lnTo>
                      <a:pt x="606" y="1140"/>
                    </a:lnTo>
                    <a:lnTo>
                      <a:pt x="606" y="1146"/>
                    </a:lnTo>
                    <a:lnTo>
                      <a:pt x="606" y="1152"/>
                    </a:lnTo>
                    <a:lnTo>
                      <a:pt x="600" y="1152"/>
                    </a:lnTo>
                    <a:lnTo>
                      <a:pt x="594" y="1152"/>
                    </a:lnTo>
                    <a:lnTo>
                      <a:pt x="594" y="1158"/>
                    </a:lnTo>
                    <a:lnTo>
                      <a:pt x="594" y="1164"/>
                    </a:lnTo>
                    <a:lnTo>
                      <a:pt x="588" y="1164"/>
                    </a:lnTo>
                    <a:lnTo>
                      <a:pt x="588" y="1170"/>
                    </a:lnTo>
                    <a:lnTo>
                      <a:pt x="582" y="1176"/>
                    </a:lnTo>
                    <a:lnTo>
                      <a:pt x="576" y="1176"/>
                    </a:lnTo>
                    <a:lnTo>
                      <a:pt x="570" y="1170"/>
                    </a:lnTo>
                    <a:lnTo>
                      <a:pt x="558" y="1158"/>
                    </a:lnTo>
                    <a:lnTo>
                      <a:pt x="552" y="1158"/>
                    </a:lnTo>
                    <a:lnTo>
                      <a:pt x="552" y="1152"/>
                    </a:lnTo>
                    <a:lnTo>
                      <a:pt x="558" y="1140"/>
                    </a:lnTo>
                    <a:lnTo>
                      <a:pt x="564" y="1140"/>
                    </a:lnTo>
                    <a:lnTo>
                      <a:pt x="564" y="1134"/>
                    </a:lnTo>
                    <a:lnTo>
                      <a:pt x="552" y="1128"/>
                    </a:lnTo>
                    <a:lnTo>
                      <a:pt x="552" y="1122"/>
                    </a:lnTo>
                    <a:lnTo>
                      <a:pt x="546" y="1122"/>
                    </a:lnTo>
                    <a:lnTo>
                      <a:pt x="540" y="1122"/>
                    </a:lnTo>
                    <a:lnTo>
                      <a:pt x="534" y="1116"/>
                    </a:lnTo>
                    <a:lnTo>
                      <a:pt x="528" y="1110"/>
                    </a:lnTo>
                    <a:lnTo>
                      <a:pt x="540" y="1098"/>
                    </a:lnTo>
                    <a:lnTo>
                      <a:pt x="540" y="1092"/>
                    </a:lnTo>
                    <a:lnTo>
                      <a:pt x="552" y="1086"/>
                    </a:lnTo>
                    <a:lnTo>
                      <a:pt x="552" y="1080"/>
                    </a:lnTo>
                    <a:lnTo>
                      <a:pt x="552" y="1074"/>
                    </a:lnTo>
                    <a:lnTo>
                      <a:pt x="552" y="1068"/>
                    </a:lnTo>
                    <a:lnTo>
                      <a:pt x="552" y="1056"/>
                    </a:lnTo>
                    <a:lnTo>
                      <a:pt x="552" y="1050"/>
                    </a:lnTo>
                    <a:lnTo>
                      <a:pt x="552" y="1044"/>
                    </a:lnTo>
                    <a:lnTo>
                      <a:pt x="546" y="1038"/>
                    </a:lnTo>
                    <a:lnTo>
                      <a:pt x="498" y="1044"/>
                    </a:lnTo>
                    <a:lnTo>
                      <a:pt x="456" y="1056"/>
                    </a:lnTo>
                    <a:lnTo>
                      <a:pt x="444" y="1050"/>
                    </a:lnTo>
                    <a:lnTo>
                      <a:pt x="450" y="1014"/>
                    </a:lnTo>
                    <a:lnTo>
                      <a:pt x="432" y="1008"/>
                    </a:lnTo>
                    <a:lnTo>
                      <a:pt x="432" y="948"/>
                    </a:lnTo>
                    <a:lnTo>
                      <a:pt x="444" y="924"/>
                    </a:lnTo>
                    <a:lnTo>
                      <a:pt x="420" y="912"/>
                    </a:lnTo>
                    <a:lnTo>
                      <a:pt x="420" y="918"/>
                    </a:lnTo>
                    <a:lnTo>
                      <a:pt x="414" y="924"/>
                    </a:lnTo>
                    <a:lnTo>
                      <a:pt x="414" y="930"/>
                    </a:lnTo>
                    <a:lnTo>
                      <a:pt x="414" y="936"/>
                    </a:lnTo>
                    <a:lnTo>
                      <a:pt x="414" y="942"/>
                    </a:lnTo>
                    <a:lnTo>
                      <a:pt x="420" y="942"/>
                    </a:lnTo>
                    <a:lnTo>
                      <a:pt x="420" y="948"/>
                    </a:lnTo>
                    <a:lnTo>
                      <a:pt x="414" y="948"/>
                    </a:lnTo>
                    <a:lnTo>
                      <a:pt x="408" y="948"/>
                    </a:lnTo>
                    <a:lnTo>
                      <a:pt x="390" y="942"/>
                    </a:lnTo>
                    <a:lnTo>
                      <a:pt x="384" y="948"/>
                    </a:lnTo>
                    <a:lnTo>
                      <a:pt x="384" y="954"/>
                    </a:lnTo>
                    <a:lnTo>
                      <a:pt x="384" y="960"/>
                    </a:lnTo>
                    <a:lnTo>
                      <a:pt x="396" y="960"/>
                    </a:lnTo>
                    <a:lnTo>
                      <a:pt x="396" y="966"/>
                    </a:lnTo>
                    <a:lnTo>
                      <a:pt x="390" y="966"/>
                    </a:lnTo>
                    <a:lnTo>
                      <a:pt x="390" y="972"/>
                    </a:lnTo>
                    <a:lnTo>
                      <a:pt x="384" y="972"/>
                    </a:lnTo>
                    <a:lnTo>
                      <a:pt x="366" y="966"/>
                    </a:lnTo>
                    <a:lnTo>
                      <a:pt x="360" y="966"/>
                    </a:lnTo>
                    <a:lnTo>
                      <a:pt x="348" y="990"/>
                    </a:lnTo>
                    <a:lnTo>
                      <a:pt x="342" y="990"/>
                    </a:lnTo>
                    <a:lnTo>
                      <a:pt x="330" y="984"/>
                    </a:lnTo>
                    <a:lnTo>
                      <a:pt x="312" y="978"/>
                    </a:lnTo>
                    <a:lnTo>
                      <a:pt x="300" y="966"/>
                    </a:lnTo>
                    <a:lnTo>
                      <a:pt x="294" y="966"/>
                    </a:lnTo>
                    <a:lnTo>
                      <a:pt x="282" y="966"/>
                    </a:lnTo>
                    <a:lnTo>
                      <a:pt x="264" y="966"/>
                    </a:lnTo>
                    <a:lnTo>
                      <a:pt x="264" y="960"/>
                    </a:lnTo>
                    <a:lnTo>
                      <a:pt x="264" y="954"/>
                    </a:lnTo>
                    <a:lnTo>
                      <a:pt x="264" y="948"/>
                    </a:lnTo>
                    <a:lnTo>
                      <a:pt x="258" y="942"/>
                    </a:lnTo>
                    <a:lnTo>
                      <a:pt x="252" y="942"/>
                    </a:lnTo>
                    <a:lnTo>
                      <a:pt x="246" y="948"/>
                    </a:lnTo>
                    <a:lnTo>
                      <a:pt x="240" y="942"/>
                    </a:lnTo>
                    <a:lnTo>
                      <a:pt x="228" y="936"/>
                    </a:lnTo>
                    <a:lnTo>
                      <a:pt x="222" y="930"/>
                    </a:lnTo>
                    <a:lnTo>
                      <a:pt x="210" y="924"/>
                    </a:lnTo>
                    <a:lnTo>
                      <a:pt x="198" y="924"/>
                    </a:lnTo>
                    <a:lnTo>
                      <a:pt x="192" y="924"/>
                    </a:lnTo>
                    <a:lnTo>
                      <a:pt x="186" y="924"/>
                    </a:lnTo>
                    <a:lnTo>
                      <a:pt x="180" y="912"/>
                    </a:lnTo>
                    <a:lnTo>
                      <a:pt x="168" y="900"/>
                    </a:lnTo>
                    <a:lnTo>
                      <a:pt x="162" y="894"/>
                    </a:lnTo>
                    <a:lnTo>
                      <a:pt x="156" y="888"/>
                    </a:lnTo>
                    <a:lnTo>
                      <a:pt x="150" y="888"/>
                    </a:lnTo>
                    <a:lnTo>
                      <a:pt x="150" y="876"/>
                    </a:lnTo>
                    <a:lnTo>
                      <a:pt x="144" y="876"/>
                    </a:lnTo>
                    <a:lnTo>
                      <a:pt x="138" y="876"/>
                    </a:lnTo>
                    <a:lnTo>
                      <a:pt x="126" y="882"/>
                    </a:lnTo>
                    <a:lnTo>
                      <a:pt x="126" y="876"/>
                    </a:lnTo>
                    <a:lnTo>
                      <a:pt x="120" y="870"/>
                    </a:lnTo>
                    <a:lnTo>
                      <a:pt x="120" y="864"/>
                    </a:lnTo>
                    <a:lnTo>
                      <a:pt x="114" y="846"/>
                    </a:lnTo>
                    <a:lnTo>
                      <a:pt x="114" y="834"/>
                    </a:lnTo>
                    <a:lnTo>
                      <a:pt x="114" y="822"/>
                    </a:lnTo>
                    <a:lnTo>
                      <a:pt x="120" y="816"/>
                    </a:lnTo>
                    <a:lnTo>
                      <a:pt x="132" y="816"/>
                    </a:lnTo>
                    <a:lnTo>
                      <a:pt x="138" y="810"/>
                    </a:lnTo>
                    <a:lnTo>
                      <a:pt x="138" y="804"/>
                    </a:lnTo>
                    <a:lnTo>
                      <a:pt x="126" y="792"/>
                    </a:lnTo>
                    <a:lnTo>
                      <a:pt x="126" y="780"/>
                    </a:lnTo>
                    <a:lnTo>
                      <a:pt x="126" y="774"/>
                    </a:lnTo>
                    <a:lnTo>
                      <a:pt x="120" y="762"/>
                    </a:lnTo>
                    <a:lnTo>
                      <a:pt x="120" y="744"/>
                    </a:lnTo>
                    <a:lnTo>
                      <a:pt x="132" y="738"/>
                    </a:lnTo>
                    <a:lnTo>
                      <a:pt x="126" y="732"/>
                    </a:lnTo>
                    <a:lnTo>
                      <a:pt x="120" y="726"/>
                    </a:lnTo>
                    <a:lnTo>
                      <a:pt x="126" y="714"/>
                    </a:lnTo>
                    <a:lnTo>
                      <a:pt x="132" y="702"/>
                    </a:lnTo>
                    <a:lnTo>
                      <a:pt x="132" y="696"/>
                    </a:lnTo>
                    <a:lnTo>
                      <a:pt x="126" y="696"/>
                    </a:lnTo>
                    <a:lnTo>
                      <a:pt x="120" y="696"/>
                    </a:lnTo>
                    <a:lnTo>
                      <a:pt x="114" y="690"/>
                    </a:lnTo>
                    <a:lnTo>
                      <a:pt x="108" y="678"/>
                    </a:lnTo>
                    <a:lnTo>
                      <a:pt x="102" y="678"/>
                    </a:lnTo>
                    <a:lnTo>
                      <a:pt x="102" y="684"/>
                    </a:lnTo>
                    <a:lnTo>
                      <a:pt x="96" y="684"/>
                    </a:lnTo>
                    <a:lnTo>
                      <a:pt x="96" y="672"/>
                    </a:lnTo>
                    <a:lnTo>
                      <a:pt x="90" y="672"/>
                    </a:lnTo>
                    <a:lnTo>
                      <a:pt x="84" y="672"/>
                    </a:lnTo>
                    <a:lnTo>
                      <a:pt x="78" y="672"/>
                    </a:lnTo>
                    <a:lnTo>
                      <a:pt x="72" y="672"/>
                    </a:lnTo>
                    <a:lnTo>
                      <a:pt x="72" y="666"/>
                    </a:lnTo>
                    <a:lnTo>
                      <a:pt x="66" y="660"/>
                    </a:lnTo>
                    <a:lnTo>
                      <a:pt x="54" y="666"/>
                    </a:lnTo>
                    <a:lnTo>
                      <a:pt x="54" y="660"/>
                    </a:lnTo>
                    <a:lnTo>
                      <a:pt x="48" y="660"/>
                    </a:lnTo>
                    <a:lnTo>
                      <a:pt x="42" y="660"/>
                    </a:lnTo>
                    <a:lnTo>
                      <a:pt x="42" y="666"/>
                    </a:lnTo>
                    <a:lnTo>
                      <a:pt x="36" y="666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24" y="660"/>
                    </a:lnTo>
                    <a:lnTo>
                      <a:pt x="24" y="642"/>
                    </a:lnTo>
                    <a:lnTo>
                      <a:pt x="18" y="636"/>
                    </a:lnTo>
                    <a:lnTo>
                      <a:pt x="18" y="618"/>
                    </a:lnTo>
                    <a:lnTo>
                      <a:pt x="24" y="612"/>
                    </a:lnTo>
                    <a:lnTo>
                      <a:pt x="18" y="510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6" y="504"/>
                    </a:lnTo>
                    <a:lnTo>
                      <a:pt x="6" y="498"/>
                    </a:lnTo>
                    <a:lnTo>
                      <a:pt x="12" y="498"/>
                    </a:lnTo>
                    <a:lnTo>
                      <a:pt x="12" y="492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8" y="474"/>
                    </a:lnTo>
                    <a:lnTo>
                      <a:pt x="18" y="480"/>
                    </a:lnTo>
                    <a:lnTo>
                      <a:pt x="30" y="474"/>
                    </a:lnTo>
                    <a:lnTo>
                      <a:pt x="30" y="468"/>
                    </a:lnTo>
                    <a:lnTo>
                      <a:pt x="30" y="462"/>
                    </a:lnTo>
                    <a:lnTo>
                      <a:pt x="30" y="456"/>
                    </a:lnTo>
                    <a:lnTo>
                      <a:pt x="30" y="450"/>
                    </a:lnTo>
                    <a:lnTo>
                      <a:pt x="36" y="444"/>
                    </a:lnTo>
                    <a:lnTo>
                      <a:pt x="36" y="438"/>
                    </a:lnTo>
                    <a:lnTo>
                      <a:pt x="30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6" y="426"/>
                    </a:lnTo>
                    <a:lnTo>
                      <a:pt x="36" y="420"/>
                    </a:lnTo>
                    <a:lnTo>
                      <a:pt x="42" y="414"/>
                    </a:lnTo>
                    <a:lnTo>
                      <a:pt x="48" y="414"/>
                    </a:lnTo>
                    <a:lnTo>
                      <a:pt x="48" y="408"/>
                    </a:lnTo>
                    <a:lnTo>
                      <a:pt x="42" y="408"/>
                    </a:lnTo>
                    <a:lnTo>
                      <a:pt x="36" y="402"/>
                    </a:lnTo>
                    <a:lnTo>
                      <a:pt x="36" y="396"/>
                    </a:lnTo>
                    <a:lnTo>
                      <a:pt x="42" y="396"/>
                    </a:lnTo>
                    <a:lnTo>
                      <a:pt x="42" y="390"/>
                    </a:lnTo>
                    <a:lnTo>
                      <a:pt x="42" y="378"/>
                    </a:lnTo>
                    <a:lnTo>
                      <a:pt x="48" y="378"/>
                    </a:lnTo>
                    <a:lnTo>
                      <a:pt x="54" y="372"/>
                    </a:lnTo>
                    <a:lnTo>
                      <a:pt x="60" y="366"/>
                    </a:lnTo>
                    <a:lnTo>
                      <a:pt x="60" y="360"/>
                    </a:lnTo>
                    <a:lnTo>
                      <a:pt x="60" y="354"/>
                    </a:lnTo>
                    <a:lnTo>
                      <a:pt x="54" y="354"/>
                    </a:lnTo>
                    <a:lnTo>
                      <a:pt x="54" y="348"/>
                    </a:lnTo>
                    <a:lnTo>
                      <a:pt x="54" y="342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54" y="330"/>
                    </a:lnTo>
                    <a:lnTo>
                      <a:pt x="54" y="324"/>
                    </a:lnTo>
                    <a:lnTo>
                      <a:pt x="60" y="324"/>
                    </a:lnTo>
                    <a:lnTo>
                      <a:pt x="60" y="318"/>
                    </a:lnTo>
                    <a:lnTo>
                      <a:pt x="60" y="312"/>
                    </a:lnTo>
                    <a:lnTo>
                      <a:pt x="66" y="306"/>
                    </a:lnTo>
                    <a:lnTo>
                      <a:pt x="66" y="300"/>
                    </a:lnTo>
                    <a:lnTo>
                      <a:pt x="66" y="294"/>
                    </a:lnTo>
                    <a:lnTo>
                      <a:pt x="72" y="294"/>
                    </a:lnTo>
                    <a:lnTo>
                      <a:pt x="72" y="288"/>
                    </a:lnTo>
                    <a:lnTo>
                      <a:pt x="78" y="294"/>
                    </a:lnTo>
                    <a:lnTo>
                      <a:pt x="78" y="288"/>
                    </a:lnTo>
                    <a:lnTo>
                      <a:pt x="84" y="276"/>
                    </a:lnTo>
                    <a:lnTo>
                      <a:pt x="84" y="270"/>
                    </a:lnTo>
                    <a:lnTo>
                      <a:pt x="90" y="264"/>
                    </a:lnTo>
                    <a:lnTo>
                      <a:pt x="96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102" y="240"/>
                    </a:lnTo>
                    <a:lnTo>
                      <a:pt x="108" y="240"/>
                    </a:lnTo>
                    <a:lnTo>
                      <a:pt x="114" y="240"/>
                    </a:lnTo>
                    <a:lnTo>
                      <a:pt x="114" y="234"/>
                    </a:lnTo>
                    <a:lnTo>
                      <a:pt x="114" y="228"/>
                    </a:lnTo>
                    <a:lnTo>
                      <a:pt x="120" y="234"/>
                    </a:lnTo>
                    <a:lnTo>
                      <a:pt x="126" y="228"/>
                    </a:lnTo>
                    <a:lnTo>
                      <a:pt x="132" y="228"/>
                    </a:lnTo>
                    <a:lnTo>
                      <a:pt x="126" y="234"/>
                    </a:lnTo>
                    <a:lnTo>
                      <a:pt x="132" y="240"/>
                    </a:lnTo>
                    <a:lnTo>
                      <a:pt x="138" y="240"/>
                    </a:lnTo>
                    <a:lnTo>
                      <a:pt x="138" y="234"/>
                    </a:lnTo>
                    <a:lnTo>
                      <a:pt x="144" y="228"/>
                    </a:lnTo>
                    <a:lnTo>
                      <a:pt x="150" y="228"/>
                    </a:lnTo>
                    <a:lnTo>
                      <a:pt x="150" y="234"/>
                    </a:lnTo>
                    <a:lnTo>
                      <a:pt x="156" y="228"/>
                    </a:lnTo>
                    <a:lnTo>
                      <a:pt x="162" y="228"/>
                    </a:lnTo>
                    <a:lnTo>
                      <a:pt x="162" y="222"/>
                    </a:lnTo>
                    <a:lnTo>
                      <a:pt x="168" y="222"/>
                    </a:lnTo>
                    <a:lnTo>
                      <a:pt x="174" y="222"/>
                    </a:lnTo>
                    <a:lnTo>
                      <a:pt x="180" y="222"/>
                    </a:lnTo>
                    <a:lnTo>
                      <a:pt x="186" y="222"/>
                    </a:lnTo>
                    <a:lnTo>
                      <a:pt x="192" y="222"/>
                    </a:lnTo>
                    <a:lnTo>
                      <a:pt x="192" y="216"/>
                    </a:lnTo>
                    <a:lnTo>
                      <a:pt x="198" y="216"/>
                    </a:lnTo>
                    <a:lnTo>
                      <a:pt x="198" y="222"/>
                    </a:lnTo>
                    <a:lnTo>
                      <a:pt x="204" y="222"/>
                    </a:lnTo>
                    <a:lnTo>
                      <a:pt x="210" y="222"/>
                    </a:lnTo>
                    <a:lnTo>
                      <a:pt x="222" y="222"/>
                    </a:lnTo>
                    <a:lnTo>
                      <a:pt x="222" y="228"/>
                    </a:lnTo>
                    <a:lnTo>
                      <a:pt x="228" y="228"/>
                    </a:lnTo>
                    <a:lnTo>
                      <a:pt x="234" y="228"/>
                    </a:lnTo>
                    <a:lnTo>
                      <a:pt x="240" y="228"/>
                    </a:lnTo>
                    <a:lnTo>
                      <a:pt x="246" y="222"/>
                    </a:lnTo>
                    <a:lnTo>
                      <a:pt x="246" y="216"/>
                    </a:lnTo>
                    <a:lnTo>
                      <a:pt x="252" y="216"/>
                    </a:lnTo>
                    <a:lnTo>
                      <a:pt x="252" y="222"/>
                    </a:lnTo>
                    <a:lnTo>
                      <a:pt x="252" y="228"/>
                    </a:lnTo>
                    <a:lnTo>
                      <a:pt x="258" y="228"/>
                    </a:lnTo>
                    <a:lnTo>
                      <a:pt x="264" y="234"/>
                    </a:lnTo>
                    <a:lnTo>
                      <a:pt x="264" y="240"/>
                    </a:lnTo>
                    <a:lnTo>
                      <a:pt x="264" y="246"/>
                    </a:lnTo>
                    <a:lnTo>
                      <a:pt x="270" y="240"/>
                    </a:lnTo>
                    <a:lnTo>
                      <a:pt x="276" y="246"/>
                    </a:lnTo>
                    <a:lnTo>
                      <a:pt x="282" y="246"/>
                    </a:lnTo>
                    <a:lnTo>
                      <a:pt x="282" y="252"/>
                    </a:lnTo>
                    <a:lnTo>
                      <a:pt x="288" y="252"/>
                    </a:lnTo>
                    <a:lnTo>
                      <a:pt x="294" y="258"/>
                    </a:lnTo>
                    <a:lnTo>
                      <a:pt x="300" y="252"/>
                    </a:lnTo>
                    <a:lnTo>
                      <a:pt x="300" y="258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6" y="270"/>
                    </a:lnTo>
                    <a:lnTo>
                      <a:pt x="312" y="270"/>
                    </a:lnTo>
                    <a:lnTo>
                      <a:pt x="312" y="264"/>
                    </a:lnTo>
                    <a:lnTo>
                      <a:pt x="318" y="270"/>
                    </a:lnTo>
                    <a:lnTo>
                      <a:pt x="318" y="276"/>
                    </a:lnTo>
                    <a:lnTo>
                      <a:pt x="324" y="276"/>
                    </a:lnTo>
                    <a:lnTo>
                      <a:pt x="330" y="282"/>
                    </a:lnTo>
                    <a:lnTo>
                      <a:pt x="330" y="276"/>
                    </a:lnTo>
                    <a:lnTo>
                      <a:pt x="336" y="282"/>
                    </a:lnTo>
                    <a:lnTo>
                      <a:pt x="342" y="282"/>
                    </a:lnTo>
                    <a:lnTo>
                      <a:pt x="342" y="288"/>
                    </a:lnTo>
                    <a:lnTo>
                      <a:pt x="342" y="294"/>
                    </a:lnTo>
                    <a:lnTo>
                      <a:pt x="348" y="294"/>
                    </a:lnTo>
                    <a:lnTo>
                      <a:pt x="354" y="300"/>
                    </a:lnTo>
                    <a:lnTo>
                      <a:pt x="360" y="300"/>
                    </a:lnTo>
                    <a:lnTo>
                      <a:pt x="366" y="300"/>
                    </a:lnTo>
                    <a:lnTo>
                      <a:pt x="360" y="300"/>
                    </a:lnTo>
                    <a:lnTo>
                      <a:pt x="360" y="306"/>
                    </a:lnTo>
                    <a:lnTo>
                      <a:pt x="360" y="312"/>
                    </a:lnTo>
                    <a:lnTo>
                      <a:pt x="366" y="312"/>
                    </a:lnTo>
                    <a:lnTo>
                      <a:pt x="372" y="312"/>
                    </a:lnTo>
                    <a:lnTo>
                      <a:pt x="366" y="318"/>
                    </a:lnTo>
                    <a:lnTo>
                      <a:pt x="372" y="318"/>
                    </a:lnTo>
                    <a:lnTo>
                      <a:pt x="378" y="318"/>
                    </a:lnTo>
                    <a:lnTo>
                      <a:pt x="384" y="324"/>
                    </a:lnTo>
                    <a:lnTo>
                      <a:pt x="384" y="330"/>
                    </a:lnTo>
                    <a:lnTo>
                      <a:pt x="390" y="330"/>
                    </a:lnTo>
                    <a:lnTo>
                      <a:pt x="390" y="336"/>
                    </a:lnTo>
                    <a:lnTo>
                      <a:pt x="396" y="342"/>
                    </a:lnTo>
                    <a:lnTo>
                      <a:pt x="402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14" y="336"/>
                    </a:lnTo>
                    <a:lnTo>
                      <a:pt x="420" y="336"/>
                    </a:lnTo>
                    <a:lnTo>
                      <a:pt x="420" y="342"/>
                    </a:lnTo>
                    <a:lnTo>
                      <a:pt x="420" y="348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8" y="348"/>
                    </a:lnTo>
                    <a:lnTo>
                      <a:pt x="438" y="342"/>
                    </a:lnTo>
                    <a:lnTo>
                      <a:pt x="438" y="336"/>
                    </a:lnTo>
                    <a:lnTo>
                      <a:pt x="444" y="336"/>
                    </a:lnTo>
                    <a:lnTo>
                      <a:pt x="444" y="342"/>
                    </a:lnTo>
                    <a:lnTo>
                      <a:pt x="450" y="342"/>
                    </a:lnTo>
                    <a:lnTo>
                      <a:pt x="456" y="336"/>
                    </a:lnTo>
                    <a:lnTo>
                      <a:pt x="462" y="336"/>
                    </a:lnTo>
                    <a:lnTo>
                      <a:pt x="462" y="330"/>
                    </a:lnTo>
                    <a:lnTo>
                      <a:pt x="468" y="330"/>
                    </a:lnTo>
                    <a:lnTo>
                      <a:pt x="468" y="336"/>
                    </a:lnTo>
                    <a:lnTo>
                      <a:pt x="474" y="336"/>
                    </a:lnTo>
                    <a:lnTo>
                      <a:pt x="480" y="336"/>
                    </a:lnTo>
                    <a:lnTo>
                      <a:pt x="480" y="342"/>
                    </a:lnTo>
                    <a:lnTo>
                      <a:pt x="486" y="342"/>
                    </a:lnTo>
                    <a:lnTo>
                      <a:pt x="486" y="348"/>
                    </a:lnTo>
                    <a:lnTo>
                      <a:pt x="492" y="348"/>
                    </a:lnTo>
                    <a:lnTo>
                      <a:pt x="492" y="354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504" y="366"/>
                    </a:lnTo>
                    <a:lnTo>
                      <a:pt x="504" y="360"/>
                    </a:lnTo>
                    <a:lnTo>
                      <a:pt x="510" y="366"/>
                    </a:lnTo>
                    <a:lnTo>
                      <a:pt x="504" y="366"/>
                    </a:lnTo>
                    <a:lnTo>
                      <a:pt x="504" y="372"/>
                    </a:lnTo>
                    <a:lnTo>
                      <a:pt x="510" y="372"/>
                    </a:lnTo>
                    <a:lnTo>
                      <a:pt x="510" y="366"/>
                    </a:lnTo>
                    <a:lnTo>
                      <a:pt x="516" y="366"/>
                    </a:lnTo>
                    <a:lnTo>
                      <a:pt x="516" y="372"/>
                    </a:lnTo>
                    <a:lnTo>
                      <a:pt x="528" y="378"/>
                    </a:lnTo>
                    <a:lnTo>
                      <a:pt x="534" y="384"/>
                    </a:lnTo>
                    <a:lnTo>
                      <a:pt x="540" y="378"/>
                    </a:lnTo>
                    <a:lnTo>
                      <a:pt x="540" y="384"/>
                    </a:lnTo>
                    <a:lnTo>
                      <a:pt x="540" y="378"/>
                    </a:lnTo>
                    <a:lnTo>
                      <a:pt x="546" y="378"/>
                    </a:lnTo>
                    <a:lnTo>
                      <a:pt x="552" y="378"/>
                    </a:lnTo>
                    <a:lnTo>
                      <a:pt x="552" y="372"/>
                    </a:lnTo>
                    <a:lnTo>
                      <a:pt x="552" y="378"/>
                    </a:lnTo>
                    <a:lnTo>
                      <a:pt x="558" y="372"/>
                    </a:lnTo>
                    <a:lnTo>
                      <a:pt x="558" y="378"/>
                    </a:lnTo>
                    <a:lnTo>
                      <a:pt x="564" y="378"/>
                    </a:lnTo>
                    <a:lnTo>
                      <a:pt x="570" y="378"/>
                    </a:lnTo>
                    <a:lnTo>
                      <a:pt x="588" y="384"/>
                    </a:lnTo>
                    <a:lnTo>
                      <a:pt x="594" y="384"/>
                    </a:lnTo>
                    <a:lnTo>
                      <a:pt x="594" y="390"/>
                    </a:lnTo>
                    <a:lnTo>
                      <a:pt x="606" y="396"/>
                    </a:lnTo>
                    <a:lnTo>
                      <a:pt x="612" y="396"/>
                    </a:lnTo>
                    <a:lnTo>
                      <a:pt x="618" y="402"/>
                    </a:lnTo>
                    <a:lnTo>
                      <a:pt x="624" y="402"/>
                    </a:lnTo>
                    <a:lnTo>
                      <a:pt x="630" y="402"/>
                    </a:lnTo>
                    <a:lnTo>
                      <a:pt x="636" y="396"/>
                    </a:lnTo>
                    <a:lnTo>
                      <a:pt x="642" y="396"/>
                    </a:lnTo>
                    <a:lnTo>
                      <a:pt x="648" y="396"/>
                    </a:lnTo>
                    <a:lnTo>
                      <a:pt x="648" y="402"/>
                    </a:lnTo>
                    <a:lnTo>
                      <a:pt x="654" y="402"/>
                    </a:lnTo>
                    <a:lnTo>
                      <a:pt x="666" y="402"/>
                    </a:lnTo>
                    <a:lnTo>
                      <a:pt x="672" y="402"/>
                    </a:lnTo>
                    <a:lnTo>
                      <a:pt x="684" y="396"/>
                    </a:lnTo>
                    <a:lnTo>
                      <a:pt x="690" y="396"/>
                    </a:lnTo>
                    <a:lnTo>
                      <a:pt x="696" y="402"/>
                    </a:lnTo>
                    <a:lnTo>
                      <a:pt x="696" y="396"/>
                    </a:lnTo>
                    <a:lnTo>
                      <a:pt x="702" y="390"/>
                    </a:lnTo>
                    <a:lnTo>
                      <a:pt x="708" y="384"/>
                    </a:lnTo>
                    <a:lnTo>
                      <a:pt x="714" y="384"/>
                    </a:lnTo>
                    <a:lnTo>
                      <a:pt x="720" y="384"/>
                    </a:lnTo>
                    <a:lnTo>
                      <a:pt x="720" y="378"/>
                    </a:lnTo>
                    <a:lnTo>
                      <a:pt x="726" y="378"/>
                    </a:lnTo>
                    <a:lnTo>
                      <a:pt x="726" y="372"/>
                    </a:lnTo>
                    <a:lnTo>
                      <a:pt x="732" y="372"/>
                    </a:lnTo>
                    <a:lnTo>
                      <a:pt x="738" y="366"/>
                    </a:lnTo>
                    <a:lnTo>
                      <a:pt x="744" y="366"/>
                    </a:lnTo>
                    <a:lnTo>
                      <a:pt x="750" y="372"/>
                    </a:lnTo>
                    <a:lnTo>
                      <a:pt x="756" y="378"/>
                    </a:lnTo>
                    <a:lnTo>
                      <a:pt x="762" y="378"/>
                    </a:lnTo>
                    <a:lnTo>
                      <a:pt x="768" y="378"/>
                    </a:lnTo>
                    <a:lnTo>
                      <a:pt x="774" y="378"/>
                    </a:lnTo>
                    <a:lnTo>
                      <a:pt x="774" y="384"/>
                    </a:lnTo>
                    <a:lnTo>
                      <a:pt x="780" y="384"/>
                    </a:lnTo>
                    <a:lnTo>
                      <a:pt x="786" y="384"/>
                    </a:lnTo>
                    <a:lnTo>
                      <a:pt x="792" y="384"/>
                    </a:lnTo>
                    <a:lnTo>
                      <a:pt x="798" y="384"/>
                    </a:lnTo>
                    <a:lnTo>
                      <a:pt x="810" y="384"/>
                    </a:lnTo>
                    <a:lnTo>
                      <a:pt x="816" y="384"/>
                    </a:lnTo>
                    <a:lnTo>
                      <a:pt x="822" y="384"/>
                    </a:lnTo>
                    <a:lnTo>
                      <a:pt x="828" y="384"/>
                    </a:lnTo>
                    <a:lnTo>
                      <a:pt x="846" y="372"/>
                    </a:lnTo>
                    <a:lnTo>
                      <a:pt x="852" y="372"/>
                    </a:lnTo>
                    <a:lnTo>
                      <a:pt x="858" y="372"/>
                    </a:lnTo>
                    <a:lnTo>
                      <a:pt x="864" y="366"/>
                    </a:lnTo>
                    <a:lnTo>
                      <a:pt x="870" y="360"/>
                    </a:lnTo>
                    <a:lnTo>
                      <a:pt x="888" y="348"/>
                    </a:lnTo>
                    <a:lnTo>
                      <a:pt x="900" y="342"/>
                    </a:lnTo>
                    <a:lnTo>
                      <a:pt x="906" y="336"/>
                    </a:lnTo>
                    <a:lnTo>
                      <a:pt x="912" y="324"/>
                    </a:lnTo>
                    <a:lnTo>
                      <a:pt x="924" y="300"/>
                    </a:lnTo>
                    <a:lnTo>
                      <a:pt x="924" y="294"/>
                    </a:lnTo>
                    <a:lnTo>
                      <a:pt x="924" y="282"/>
                    </a:lnTo>
                    <a:lnTo>
                      <a:pt x="924" y="276"/>
                    </a:lnTo>
                    <a:lnTo>
                      <a:pt x="930" y="270"/>
                    </a:lnTo>
                    <a:lnTo>
                      <a:pt x="936" y="258"/>
                    </a:lnTo>
                    <a:lnTo>
                      <a:pt x="936" y="252"/>
                    </a:lnTo>
                    <a:lnTo>
                      <a:pt x="936" y="246"/>
                    </a:lnTo>
                    <a:lnTo>
                      <a:pt x="942" y="216"/>
                    </a:lnTo>
                    <a:lnTo>
                      <a:pt x="948" y="210"/>
                    </a:lnTo>
                    <a:lnTo>
                      <a:pt x="954" y="210"/>
                    </a:lnTo>
                    <a:lnTo>
                      <a:pt x="954" y="198"/>
                    </a:lnTo>
                    <a:lnTo>
                      <a:pt x="960" y="180"/>
                    </a:lnTo>
                    <a:lnTo>
                      <a:pt x="966" y="174"/>
                    </a:lnTo>
                    <a:lnTo>
                      <a:pt x="972" y="162"/>
                    </a:lnTo>
                    <a:lnTo>
                      <a:pt x="972" y="150"/>
                    </a:lnTo>
                    <a:lnTo>
                      <a:pt x="978" y="144"/>
                    </a:lnTo>
                    <a:lnTo>
                      <a:pt x="978" y="138"/>
                    </a:lnTo>
                    <a:lnTo>
                      <a:pt x="984" y="126"/>
                    </a:lnTo>
                    <a:lnTo>
                      <a:pt x="990" y="108"/>
                    </a:lnTo>
                    <a:lnTo>
                      <a:pt x="990" y="102"/>
                    </a:lnTo>
                    <a:lnTo>
                      <a:pt x="996" y="96"/>
                    </a:lnTo>
                    <a:lnTo>
                      <a:pt x="1002" y="84"/>
                    </a:lnTo>
                    <a:lnTo>
                      <a:pt x="1002" y="72"/>
                    </a:lnTo>
                    <a:lnTo>
                      <a:pt x="996" y="72"/>
                    </a:lnTo>
                    <a:lnTo>
                      <a:pt x="996" y="66"/>
                    </a:lnTo>
                    <a:lnTo>
                      <a:pt x="996" y="60"/>
                    </a:lnTo>
                    <a:lnTo>
                      <a:pt x="990" y="60"/>
                    </a:lnTo>
                    <a:lnTo>
                      <a:pt x="990" y="48"/>
                    </a:lnTo>
                    <a:lnTo>
                      <a:pt x="990" y="42"/>
                    </a:lnTo>
                    <a:lnTo>
                      <a:pt x="996" y="42"/>
                    </a:lnTo>
                    <a:lnTo>
                      <a:pt x="1002" y="42"/>
                    </a:lnTo>
                    <a:lnTo>
                      <a:pt x="1008" y="36"/>
                    </a:lnTo>
                    <a:lnTo>
                      <a:pt x="1014" y="30"/>
                    </a:lnTo>
                    <a:lnTo>
                      <a:pt x="1020" y="30"/>
                    </a:lnTo>
                    <a:lnTo>
                      <a:pt x="1032" y="30"/>
                    </a:lnTo>
                    <a:lnTo>
                      <a:pt x="1038" y="30"/>
                    </a:lnTo>
                    <a:lnTo>
                      <a:pt x="1044" y="30"/>
                    </a:lnTo>
                    <a:lnTo>
                      <a:pt x="1050" y="24"/>
                    </a:lnTo>
                    <a:lnTo>
                      <a:pt x="1068" y="24"/>
                    </a:lnTo>
                    <a:lnTo>
                      <a:pt x="1074" y="18"/>
                    </a:lnTo>
                    <a:lnTo>
                      <a:pt x="1086" y="18"/>
                    </a:lnTo>
                    <a:lnTo>
                      <a:pt x="1092" y="18"/>
                    </a:lnTo>
                    <a:lnTo>
                      <a:pt x="1104" y="12"/>
                    </a:lnTo>
                    <a:lnTo>
                      <a:pt x="1110" y="12"/>
                    </a:lnTo>
                    <a:lnTo>
                      <a:pt x="1116" y="12"/>
                    </a:lnTo>
                    <a:lnTo>
                      <a:pt x="1140" y="6"/>
                    </a:lnTo>
                    <a:lnTo>
                      <a:pt x="1146" y="6"/>
                    </a:lnTo>
                    <a:lnTo>
                      <a:pt x="1152" y="0"/>
                    </a:lnTo>
                    <a:lnTo>
                      <a:pt x="115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4" name="Freeform 9"/>
              <p:cNvSpPr>
                <a:spLocks noChangeAspect="1"/>
              </p:cNvSpPr>
              <p:nvPr/>
            </p:nvSpPr>
            <p:spPr bwMode="auto">
              <a:xfrm>
                <a:off x="3342981" y="5600033"/>
                <a:ext cx="66532" cy="67897"/>
              </a:xfrm>
              <a:custGeom>
                <a:avLst/>
                <a:gdLst>
                  <a:gd name="T0" fmla="*/ 2147483647 w 582"/>
                  <a:gd name="T1" fmla="*/ 2147483647 h 594"/>
                  <a:gd name="T2" fmla="*/ 2147483647 w 582"/>
                  <a:gd name="T3" fmla="*/ 2147483647 h 594"/>
                  <a:gd name="T4" fmla="*/ 2147483647 w 582"/>
                  <a:gd name="T5" fmla="*/ 2147483647 h 594"/>
                  <a:gd name="T6" fmla="*/ 2147483647 w 582"/>
                  <a:gd name="T7" fmla="*/ 2147483647 h 594"/>
                  <a:gd name="T8" fmla="*/ 2147483647 w 582"/>
                  <a:gd name="T9" fmla="*/ 2147483647 h 594"/>
                  <a:gd name="T10" fmla="*/ 2147483647 w 582"/>
                  <a:gd name="T11" fmla="*/ 2147483647 h 594"/>
                  <a:gd name="T12" fmla="*/ 2147483647 w 582"/>
                  <a:gd name="T13" fmla="*/ 2147483647 h 594"/>
                  <a:gd name="T14" fmla="*/ 2147483647 w 582"/>
                  <a:gd name="T15" fmla="*/ 2147483647 h 594"/>
                  <a:gd name="T16" fmla="*/ 2147483647 w 582"/>
                  <a:gd name="T17" fmla="*/ 2147483647 h 594"/>
                  <a:gd name="T18" fmla="*/ 2147483647 w 582"/>
                  <a:gd name="T19" fmla="*/ 2147483647 h 594"/>
                  <a:gd name="T20" fmla="*/ 2147483647 w 582"/>
                  <a:gd name="T21" fmla="*/ 2147483647 h 594"/>
                  <a:gd name="T22" fmla="*/ 2147483647 w 582"/>
                  <a:gd name="T23" fmla="*/ 2147483647 h 594"/>
                  <a:gd name="T24" fmla="*/ 2147483647 w 582"/>
                  <a:gd name="T25" fmla="*/ 2147483647 h 594"/>
                  <a:gd name="T26" fmla="*/ 2147483647 w 582"/>
                  <a:gd name="T27" fmla="*/ 2147483647 h 594"/>
                  <a:gd name="T28" fmla="*/ 2147483647 w 582"/>
                  <a:gd name="T29" fmla="*/ 2147483647 h 594"/>
                  <a:gd name="T30" fmla="*/ 2147483647 w 582"/>
                  <a:gd name="T31" fmla="*/ 2147483647 h 594"/>
                  <a:gd name="T32" fmla="*/ 2147483647 w 582"/>
                  <a:gd name="T33" fmla="*/ 2147483647 h 594"/>
                  <a:gd name="T34" fmla="*/ 2147483647 w 582"/>
                  <a:gd name="T35" fmla="*/ 2147483647 h 594"/>
                  <a:gd name="T36" fmla="*/ 2147483647 w 582"/>
                  <a:gd name="T37" fmla="*/ 2147483647 h 594"/>
                  <a:gd name="T38" fmla="*/ 2147483647 w 582"/>
                  <a:gd name="T39" fmla="*/ 2147483647 h 594"/>
                  <a:gd name="T40" fmla="*/ 2147483647 w 582"/>
                  <a:gd name="T41" fmla="*/ 2147483647 h 594"/>
                  <a:gd name="T42" fmla="*/ 2147483647 w 582"/>
                  <a:gd name="T43" fmla="*/ 2147483647 h 594"/>
                  <a:gd name="T44" fmla="*/ 2147483647 w 582"/>
                  <a:gd name="T45" fmla="*/ 2147483647 h 594"/>
                  <a:gd name="T46" fmla="*/ 2147483647 w 582"/>
                  <a:gd name="T47" fmla="*/ 2147483647 h 594"/>
                  <a:gd name="T48" fmla="*/ 2147483647 w 582"/>
                  <a:gd name="T49" fmla="*/ 2147483647 h 594"/>
                  <a:gd name="T50" fmla="*/ 2147483647 w 582"/>
                  <a:gd name="T51" fmla="*/ 2147483647 h 594"/>
                  <a:gd name="T52" fmla="*/ 2147483647 w 582"/>
                  <a:gd name="T53" fmla="*/ 2147483647 h 594"/>
                  <a:gd name="T54" fmla="*/ 2147483647 w 582"/>
                  <a:gd name="T55" fmla="*/ 2147483647 h 594"/>
                  <a:gd name="T56" fmla="*/ 2147483647 w 582"/>
                  <a:gd name="T57" fmla="*/ 2147483647 h 594"/>
                  <a:gd name="T58" fmla="*/ 2147483647 w 582"/>
                  <a:gd name="T59" fmla="*/ 2147483647 h 594"/>
                  <a:gd name="T60" fmla="*/ 2147483647 w 582"/>
                  <a:gd name="T61" fmla="*/ 2147483647 h 594"/>
                  <a:gd name="T62" fmla="*/ 2147483647 w 582"/>
                  <a:gd name="T63" fmla="*/ 2147483647 h 594"/>
                  <a:gd name="T64" fmla="*/ 2147483647 w 582"/>
                  <a:gd name="T65" fmla="*/ 2147483647 h 594"/>
                  <a:gd name="T66" fmla="*/ 2147483647 w 582"/>
                  <a:gd name="T67" fmla="*/ 2147483647 h 594"/>
                  <a:gd name="T68" fmla="*/ 2147483647 w 582"/>
                  <a:gd name="T69" fmla="*/ 2147483647 h 594"/>
                  <a:gd name="T70" fmla="*/ 2147483647 w 582"/>
                  <a:gd name="T71" fmla="*/ 2147483647 h 594"/>
                  <a:gd name="T72" fmla="*/ 2147483647 w 582"/>
                  <a:gd name="T73" fmla="*/ 2147483647 h 594"/>
                  <a:gd name="T74" fmla="*/ 2147483647 w 582"/>
                  <a:gd name="T75" fmla="*/ 2147483647 h 594"/>
                  <a:gd name="T76" fmla="*/ 2147483647 w 582"/>
                  <a:gd name="T77" fmla="*/ 2147483647 h 594"/>
                  <a:gd name="T78" fmla="*/ 2147483647 w 582"/>
                  <a:gd name="T79" fmla="*/ 2147483647 h 594"/>
                  <a:gd name="T80" fmla="*/ 2147483647 w 582"/>
                  <a:gd name="T81" fmla="*/ 2147483647 h 594"/>
                  <a:gd name="T82" fmla="*/ 2147483647 w 582"/>
                  <a:gd name="T83" fmla="*/ 2147483647 h 594"/>
                  <a:gd name="T84" fmla="*/ 2147483647 w 582"/>
                  <a:gd name="T85" fmla="*/ 2147483647 h 594"/>
                  <a:gd name="T86" fmla="*/ 2147483647 w 582"/>
                  <a:gd name="T87" fmla="*/ 2147483647 h 594"/>
                  <a:gd name="T88" fmla="*/ 2147483647 w 582"/>
                  <a:gd name="T89" fmla="*/ 2147483647 h 594"/>
                  <a:gd name="T90" fmla="*/ 2147483647 w 582"/>
                  <a:gd name="T91" fmla="*/ 2147483647 h 594"/>
                  <a:gd name="T92" fmla="*/ 2147483647 w 582"/>
                  <a:gd name="T93" fmla="*/ 2147483647 h 594"/>
                  <a:gd name="T94" fmla="*/ 2147483647 w 582"/>
                  <a:gd name="T95" fmla="*/ 2147483647 h 594"/>
                  <a:gd name="T96" fmla="*/ 2147483647 w 582"/>
                  <a:gd name="T97" fmla="*/ 2147483647 h 594"/>
                  <a:gd name="T98" fmla="*/ 2147483647 w 582"/>
                  <a:gd name="T99" fmla="*/ 2147483647 h 594"/>
                  <a:gd name="T100" fmla="*/ 2147483647 w 582"/>
                  <a:gd name="T101" fmla="*/ 2147483647 h 594"/>
                  <a:gd name="T102" fmla="*/ 2147483647 w 582"/>
                  <a:gd name="T103" fmla="*/ 2147483647 h 594"/>
                  <a:gd name="T104" fmla="*/ 2147483647 w 582"/>
                  <a:gd name="T105" fmla="*/ 2147483647 h 594"/>
                  <a:gd name="T106" fmla="*/ 2147483647 w 582"/>
                  <a:gd name="T107" fmla="*/ 2147483647 h 594"/>
                  <a:gd name="T108" fmla="*/ 2147483647 w 582"/>
                  <a:gd name="T109" fmla="*/ 2147483647 h 594"/>
                  <a:gd name="T110" fmla="*/ 2147483647 w 582"/>
                  <a:gd name="T111" fmla="*/ 0 h 59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82" h="594">
                    <a:moveTo>
                      <a:pt x="492" y="0"/>
                    </a:moveTo>
                    <a:lnTo>
                      <a:pt x="498" y="12"/>
                    </a:lnTo>
                    <a:lnTo>
                      <a:pt x="498" y="18"/>
                    </a:lnTo>
                    <a:lnTo>
                      <a:pt x="498" y="24"/>
                    </a:lnTo>
                    <a:lnTo>
                      <a:pt x="492" y="30"/>
                    </a:lnTo>
                    <a:lnTo>
                      <a:pt x="480" y="36"/>
                    </a:lnTo>
                    <a:lnTo>
                      <a:pt x="462" y="36"/>
                    </a:lnTo>
                    <a:lnTo>
                      <a:pt x="462" y="54"/>
                    </a:lnTo>
                    <a:lnTo>
                      <a:pt x="456" y="60"/>
                    </a:lnTo>
                    <a:lnTo>
                      <a:pt x="456" y="66"/>
                    </a:lnTo>
                    <a:lnTo>
                      <a:pt x="456" y="72"/>
                    </a:lnTo>
                    <a:lnTo>
                      <a:pt x="456" y="84"/>
                    </a:lnTo>
                    <a:lnTo>
                      <a:pt x="456" y="90"/>
                    </a:lnTo>
                    <a:lnTo>
                      <a:pt x="450" y="96"/>
                    </a:lnTo>
                    <a:lnTo>
                      <a:pt x="450" y="102"/>
                    </a:lnTo>
                    <a:lnTo>
                      <a:pt x="450" y="108"/>
                    </a:lnTo>
                    <a:lnTo>
                      <a:pt x="456" y="108"/>
                    </a:lnTo>
                    <a:lnTo>
                      <a:pt x="456" y="114"/>
                    </a:lnTo>
                    <a:lnTo>
                      <a:pt x="450" y="120"/>
                    </a:lnTo>
                    <a:lnTo>
                      <a:pt x="450" y="132"/>
                    </a:lnTo>
                    <a:lnTo>
                      <a:pt x="450" y="138"/>
                    </a:lnTo>
                    <a:lnTo>
                      <a:pt x="456" y="144"/>
                    </a:lnTo>
                    <a:lnTo>
                      <a:pt x="456" y="150"/>
                    </a:lnTo>
                    <a:lnTo>
                      <a:pt x="456" y="168"/>
                    </a:lnTo>
                    <a:lnTo>
                      <a:pt x="462" y="174"/>
                    </a:lnTo>
                    <a:lnTo>
                      <a:pt x="462" y="180"/>
                    </a:lnTo>
                    <a:lnTo>
                      <a:pt x="504" y="186"/>
                    </a:lnTo>
                    <a:lnTo>
                      <a:pt x="510" y="186"/>
                    </a:lnTo>
                    <a:lnTo>
                      <a:pt x="516" y="180"/>
                    </a:lnTo>
                    <a:lnTo>
                      <a:pt x="522" y="174"/>
                    </a:lnTo>
                    <a:lnTo>
                      <a:pt x="522" y="168"/>
                    </a:lnTo>
                    <a:lnTo>
                      <a:pt x="528" y="162"/>
                    </a:lnTo>
                    <a:lnTo>
                      <a:pt x="540" y="150"/>
                    </a:lnTo>
                    <a:lnTo>
                      <a:pt x="546" y="150"/>
                    </a:lnTo>
                    <a:lnTo>
                      <a:pt x="564" y="144"/>
                    </a:lnTo>
                    <a:lnTo>
                      <a:pt x="576" y="138"/>
                    </a:lnTo>
                    <a:lnTo>
                      <a:pt x="576" y="156"/>
                    </a:lnTo>
                    <a:lnTo>
                      <a:pt x="582" y="168"/>
                    </a:lnTo>
                    <a:lnTo>
                      <a:pt x="552" y="180"/>
                    </a:lnTo>
                    <a:lnTo>
                      <a:pt x="546" y="192"/>
                    </a:lnTo>
                    <a:lnTo>
                      <a:pt x="558" y="198"/>
                    </a:lnTo>
                    <a:lnTo>
                      <a:pt x="540" y="228"/>
                    </a:lnTo>
                    <a:lnTo>
                      <a:pt x="546" y="228"/>
                    </a:lnTo>
                    <a:lnTo>
                      <a:pt x="540" y="246"/>
                    </a:lnTo>
                    <a:lnTo>
                      <a:pt x="522" y="240"/>
                    </a:lnTo>
                    <a:lnTo>
                      <a:pt x="510" y="300"/>
                    </a:lnTo>
                    <a:lnTo>
                      <a:pt x="504" y="294"/>
                    </a:lnTo>
                    <a:lnTo>
                      <a:pt x="492" y="294"/>
                    </a:lnTo>
                    <a:lnTo>
                      <a:pt x="492" y="300"/>
                    </a:lnTo>
                    <a:lnTo>
                      <a:pt x="486" y="300"/>
                    </a:lnTo>
                    <a:lnTo>
                      <a:pt x="486" y="294"/>
                    </a:lnTo>
                    <a:lnTo>
                      <a:pt x="486" y="288"/>
                    </a:lnTo>
                    <a:lnTo>
                      <a:pt x="480" y="288"/>
                    </a:lnTo>
                    <a:lnTo>
                      <a:pt x="480" y="294"/>
                    </a:lnTo>
                    <a:lnTo>
                      <a:pt x="468" y="288"/>
                    </a:lnTo>
                    <a:lnTo>
                      <a:pt x="462" y="288"/>
                    </a:lnTo>
                    <a:lnTo>
                      <a:pt x="456" y="288"/>
                    </a:lnTo>
                    <a:lnTo>
                      <a:pt x="450" y="282"/>
                    </a:lnTo>
                    <a:lnTo>
                      <a:pt x="444" y="282"/>
                    </a:lnTo>
                    <a:lnTo>
                      <a:pt x="438" y="288"/>
                    </a:lnTo>
                    <a:lnTo>
                      <a:pt x="432" y="294"/>
                    </a:lnTo>
                    <a:lnTo>
                      <a:pt x="432" y="300"/>
                    </a:lnTo>
                    <a:lnTo>
                      <a:pt x="426" y="306"/>
                    </a:lnTo>
                    <a:lnTo>
                      <a:pt x="426" y="312"/>
                    </a:lnTo>
                    <a:lnTo>
                      <a:pt x="420" y="312"/>
                    </a:lnTo>
                    <a:lnTo>
                      <a:pt x="420" y="306"/>
                    </a:lnTo>
                    <a:lnTo>
                      <a:pt x="414" y="306"/>
                    </a:lnTo>
                    <a:lnTo>
                      <a:pt x="414" y="312"/>
                    </a:lnTo>
                    <a:lnTo>
                      <a:pt x="408" y="312"/>
                    </a:lnTo>
                    <a:lnTo>
                      <a:pt x="402" y="312"/>
                    </a:lnTo>
                    <a:lnTo>
                      <a:pt x="396" y="312"/>
                    </a:lnTo>
                    <a:lnTo>
                      <a:pt x="396" y="318"/>
                    </a:lnTo>
                    <a:lnTo>
                      <a:pt x="396" y="324"/>
                    </a:lnTo>
                    <a:lnTo>
                      <a:pt x="396" y="330"/>
                    </a:lnTo>
                    <a:lnTo>
                      <a:pt x="402" y="330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42"/>
                    </a:lnTo>
                    <a:lnTo>
                      <a:pt x="408" y="348"/>
                    </a:lnTo>
                    <a:lnTo>
                      <a:pt x="408" y="354"/>
                    </a:lnTo>
                    <a:lnTo>
                      <a:pt x="414" y="354"/>
                    </a:lnTo>
                    <a:lnTo>
                      <a:pt x="414" y="360"/>
                    </a:lnTo>
                    <a:lnTo>
                      <a:pt x="414" y="366"/>
                    </a:lnTo>
                    <a:lnTo>
                      <a:pt x="438" y="378"/>
                    </a:lnTo>
                    <a:lnTo>
                      <a:pt x="438" y="396"/>
                    </a:lnTo>
                    <a:lnTo>
                      <a:pt x="450" y="402"/>
                    </a:lnTo>
                    <a:lnTo>
                      <a:pt x="450" y="408"/>
                    </a:lnTo>
                    <a:lnTo>
                      <a:pt x="462" y="414"/>
                    </a:lnTo>
                    <a:lnTo>
                      <a:pt x="480" y="402"/>
                    </a:lnTo>
                    <a:lnTo>
                      <a:pt x="486" y="402"/>
                    </a:lnTo>
                    <a:lnTo>
                      <a:pt x="492" y="402"/>
                    </a:lnTo>
                    <a:lnTo>
                      <a:pt x="498" y="408"/>
                    </a:lnTo>
                    <a:lnTo>
                      <a:pt x="504" y="402"/>
                    </a:lnTo>
                    <a:lnTo>
                      <a:pt x="504" y="408"/>
                    </a:lnTo>
                    <a:lnTo>
                      <a:pt x="516" y="432"/>
                    </a:lnTo>
                    <a:lnTo>
                      <a:pt x="480" y="444"/>
                    </a:lnTo>
                    <a:lnTo>
                      <a:pt x="480" y="468"/>
                    </a:lnTo>
                    <a:lnTo>
                      <a:pt x="444" y="468"/>
                    </a:lnTo>
                    <a:lnTo>
                      <a:pt x="438" y="480"/>
                    </a:lnTo>
                    <a:lnTo>
                      <a:pt x="426" y="474"/>
                    </a:lnTo>
                    <a:lnTo>
                      <a:pt x="420" y="474"/>
                    </a:lnTo>
                    <a:lnTo>
                      <a:pt x="408" y="486"/>
                    </a:lnTo>
                    <a:lnTo>
                      <a:pt x="408" y="498"/>
                    </a:lnTo>
                    <a:lnTo>
                      <a:pt x="396" y="498"/>
                    </a:lnTo>
                    <a:lnTo>
                      <a:pt x="390" y="510"/>
                    </a:lnTo>
                    <a:lnTo>
                      <a:pt x="378" y="510"/>
                    </a:lnTo>
                    <a:lnTo>
                      <a:pt x="378" y="516"/>
                    </a:lnTo>
                    <a:lnTo>
                      <a:pt x="366" y="516"/>
                    </a:lnTo>
                    <a:lnTo>
                      <a:pt x="354" y="540"/>
                    </a:lnTo>
                    <a:lnTo>
                      <a:pt x="360" y="540"/>
                    </a:lnTo>
                    <a:lnTo>
                      <a:pt x="366" y="552"/>
                    </a:lnTo>
                    <a:lnTo>
                      <a:pt x="348" y="558"/>
                    </a:lnTo>
                    <a:lnTo>
                      <a:pt x="348" y="564"/>
                    </a:lnTo>
                    <a:lnTo>
                      <a:pt x="336" y="564"/>
                    </a:lnTo>
                    <a:lnTo>
                      <a:pt x="336" y="576"/>
                    </a:lnTo>
                    <a:lnTo>
                      <a:pt x="342" y="582"/>
                    </a:lnTo>
                    <a:lnTo>
                      <a:pt x="336" y="588"/>
                    </a:lnTo>
                    <a:lnTo>
                      <a:pt x="336" y="594"/>
                    </a:lnTo>
                    <a:lnTo>
                      <a:pt x="330" y="594"/>
                    </a:lnTo>
                    <a:lnTo>
                      <a:pt x="330" y="588"/>
                    </a:lnTo>
                    <a:lnTo>
                      <a:pt x="324" y="588"/>
                    </a:lnTo>
                    <a:lnTo>
                      <a:pt x="318" y="588"/>
                    </a:lnTo>
                    <a:lnTo>
                      <a:pt x="312" y="594"/>
                    </a:lnTo>
                    <a:lnTo>
                      <a:pt x="306" y="588"/>
                    </a:lnTo>
                    <a:lnTo>
                      <a:pt x="300" y="588"/>
                    </a:lnTo>
                    <a:lnTo>
                      <a:pt x="300" y="582"/>
                    </a:lnTo>
                    <a:lnTo>
                      <a:pt x="300" y="576"/>
                    </a:lnTo>
                    <a:lnTo>
                      <a:pt x="288" y="588"/>
                    </a:lnTo>
                    <a:lnTo>
                      <a:pt x="288" y="576"/>
                    </a:lnTo>
                    <a:lnTo>
                      <a:pt x="282" y="576"/>
                    </a:lnTo>
                    <a:lnTo>
                      <a:pt x="282" y="570"/>
                    </a:lnTo>
                    <a:lnTo>
                      <a:pt x="276" y="570"/>
                    </a:lnTo>
                    <a:lnTo>
                      <a:pt x="270" y="570"/>
                    </a:lnTo>
                    <a:lnTo>
                      <a:pt x="270" y="564"/>
                    </a:lnTo>
                    <a:lnTo>
                      <a:pt x="264" y="564"/>
                    </a:lnTo>
                    <a:lnTo>
                      <a:pt x="264" y="558"/>
                    </a:lnTo>
                    <a:lnTo>
                      <a:pt x="258" y="558"/>
                    </a:lnTo>
                    <a:lnTo>
                      <a:pt x="258" y="552"/>
                    </a:lnTo>
                    <a:lnTo>
                      <a:pt x="252" y="552"/>
                    </a:lnTo>
                    <a:lnTo>
                      <a:pt x="252" y="546"/>
                    </a:lnTo>
                    <a:lnTo>
                      <a:pt x="252" y="540"/>
                    </a:lnTo>
                    <a:lnTo>
                      <a:pt x="246" y="540"/>
                    </a:lnTo>
                    <a:lnTo>
                      <a:pt x="246" y="534"/>
                    </a:lnTo>
                    <a:lnTo>
                      <a:pt x="246" y="528"/>
                    </a:lnTo>
                    <a:lnTo>
                      <a:pt x="246" y="522"/>
                    </a:lnTo>
                    <a:lnTo>
                      <a:pt x="246" y="516"/>
                    </a:lnTo>
                    <a:lnTo>
                      <a:pt x="246" y="510"/>
                    </a:lnTo>
                    <a:lnTo>
                      <a:pt x="240" y="510"/>
                    </a:lnTo>
                    <a:lnTo>
                      <a:pt x="234" y="510"/>
                    </a:lnTo>
                    <a:lnTo>
                      <a:pt x="228" y="510"/>
                    </a:lnTo>
                    <a:lnTo>
                      <a:pt x="228" y="516"/>
                    </a:lnTo>
                    <a:lnTo>
                      <a:pt x="222" y="516"/>
                    </a:lnTo>
                    <a:lnTo>
                      <a:pt x="222" y="522"/>
                    </a:lnTo>
                    <a:lnTo>
                      <a:pt x="216" y="522"/>
                    </a:lnTo>
                    <a:lnTo>
                      <a:pt x="216" y="528"/>
                    </a:lnTo>
                    <a:lnTo>
                      <a:pt x="210" y="528"/>
                    </a:lnTo>
                    <a:lnTo>
                      <a:pt x="204" y="528"/>
                    </a:lnTo>
                    <a:lnTo>
                      <a:pt x="204" y="534"/>
                    </a:lnTo>
                    <a:lnTo>
                      <a:pt x="198" y="534"/>
                    </a:lnTo>
                    <a:lnTo>
                      <a:pt x="192" y="534"/>
                    </a:lnTo>
                    <a:lnTo>
                      <a:pt x="186" y="534"/>
                    </a:lnTo>
                    <a:lnTo>
                      <a:pt x="180" y="534"/>
                    </a:lnTo>
                    <a:lnTo>
                      <a:pt x="180" y="540"/>
                    </a:lnTo>
                    <a:lnTo>
                      <a:pt x="180" y="546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68" y="540"/>
                    </a:lnTo>
                    <a:lnTo>
                      <a:pt x="162" y="540"/>
                    </a:lnTo>
                    <a:lnTo>
                      <a:pt x="162" y="534"/>
                    </a:lnTo>
                    <a:lnTo>
                      <a:pt x="156" y="534"/>
                    </a:lnTo>
                    <a:lnTo>
                      <a:pt x="156" y="540"/>
                    </a:lnTo>
                    <a:lnTo>
                      <a:pt x="150" y="540"/>
                    </a:lnTo>
                    <a:lnTo>
                      <a:pt x="144" y="540"/>
                    </a:lnTo>
                    <a:lnTo>
                      <a:pt x="138" y="540"/>
                    </a:lnTo>
                    <a:lnTo>
                      <a:pt x="138" y="534"/>
                    </a:lnTo>
                    <a:lnTo>
                      <a:pt x="138" y="528"/>
                    </a:lnTo>
                    <a:lnTo>
                      <a:pt x="132" y="528"/>
                    </a:lnTo>
                    <a:lnTo>
                      <a:pt x="126" y="528"/>
                    </a:lnTo>
                    <a:lnTo>
                      <a:pt x="120" y="528"/>
                    </a:lnTo>
                    <a:lnTo>
                      <a:pt x="120" y="534"/>
                    </a:lnTo>
                    <a:lnTo>
                      <a:pt x="120" y="540"/>
                    </a:lnTo>
                    <a:lnTo>
                      <a:pt x="114" y="540"/>
                    </a:lnTo>
                    <a:lnTo>
                      <a:pt x="108" y="540"/>
                    </a:lnTo>
                    <a:lnTo>
                      <a:pt x="120" y="492"/>
                    </a:lnTo>
                    <a:lnTo>
                      <a:pt x="108" y="480"/>
                    </a:lnTo>
                    <a:lnTo>
                      <a:pt x="114" y="480"/>
                    </a:lnTo>
                    <a:lnTo>
                      <a:pt x="120" y="456"/>
                    </a:lnTo>
                    <a:lnTo>
                      <a:pt x="120" y="450"/>
                    </a:lnTo>
                    <a:lnTo>
                      <a:pt x="126" y="450"/>
                    </a:lnTo>
                    <a:lnTo>
                      <a:pt x="132" y="438"/>
                    </a:lnTo>
                    <a:lnTo>
                      <a:pt x="102" y="438"/>
                    </a:lnTo>
                    <a:lnTo>
                      <a:pt x="102" y="432"/>
                    </a:lnTo>
                    <a:lnTo>
                      <a:pt x="96" y="426"/>
                    </a:lnTo>
                    <a:lnTo>
                      <a:pt x="96" y="420"/>
                    </a:lnTo>
                    <a:lnTo>
                      <a:pt x="90" y="420"/>
                    </a:lnTo>
                    <a:lnTo>
                      <a:pt x="48" y="432"/>
                    </a:lnTo>
                    <a:lnTo>
                      <a:pt x="54" y="438"/>
                    </a:lnTo>
                    <a:lnTo>
                      <a:pt x="12" y="456"/>
                    </a:lnTo>
                    <a:lnTo>
                      <a:pt x="12" y="444"/>
                    </a:lnTo>
                    <a:lnTo>
                      <a:pt x="12" y="438"/>
                    </a:lnTo>
                    <a:lnTo>
                      <a:pt x="6" y="426"/>
                    </a:lnTo>
                    <a:lnTo>
                      <a:pt x="0" y="414"/>
                    </a:lnTo>
                    <a:lnTo>
                      <a:pt x="18" y="396"/>
                    </a:lnTo>
                    <a:lnTo>
                      <a:pt x="42" y="378"/>
                    </a:lnTo>
                    <a:lnTo>
                      <a:pt x="30" y="336"/>
                    </a:lnTo>
                    <a:lnTo>
                      <a:pt x="54" y="336"/>
                    </a:lnTo>
                    <a:lnTo>
                      <a:pt x="54" y="324"/>
                    </a:lnTo>
                    <a:lnTo>
                      <a:pt x="72" y="318"/>
                    </a:lnTo>
                    <a:lnTo>
                      <a:pt x="72" y="312"/>
                    </a:lnTo>
                    <a:lnTo>
                      <a:pt x="78" y="312"/>
                    </a:lnTo>
                    <a:lnTo>
                      <a:pt x="84" y="276"/>
                    </a:lnTo>
                    <a:lnTo>
                      <a:pt x="90" y="258"/>
                    </a:lnTo>
                    <a:lnTo>
                      <a:pt x="90" y="234"/>
                    </a:lnTo>
                    <a:lnTo>
                      <a:pt x="108" y="228"/>
                    </a:lnTo>
                    <a:lnTo>
                      <a:pt x="114" y="228"/>
                    </a:lnTo>
                    <a:lnTo>
                      <a:pt x="138" y="210"/>
                    </a:lnTo>
                    <a:lnTo>
                      <a:pt x="144" y="222"/>
                    </a:lnTo>
                    <a:lnTo>
                      <a:pt x="156" y="240"/>
                    </a:lnTo>
                    <a:lnTo>
                      <a:pt x="168" y="228"/>
                    </a:lnTo>
                    <a:lnTo>
                      <a:pt x="168" y="240"/>
                    </a:lnTo>
                    <a:lnTo>
                      <a:pt x="198" y="234"/>
                    </a:lnTo>
                    <a:lnTo>
                      <a:pt x="204" y="234"/>
                    </a:lnTo>
                    <a:lnTo>
                      <a:pt x="222" y="234"/>
                    </a:lnTo>
                    <a:lnTo>
                      <a:pt x="222" y="228"/>
                    </a:lnTo>
                    <a:lnTo>
                      <a:pt x="234" y="228"/>
                    </a:lnTo>
                    <a:lnTo>
                      <a:pt x="234" y="222"/>
                    </a:lnTo>
                    <a:lnTo>
                      <a:pt x="246" y="216"/>
                    </a:lnTo>
                    <a:lnTo>
                      <a:pt x="240" y="198"/>
                    </a:lnTo>
                    <a:lnTo>
                      <a:pt x="246" y="192"/>
                    </a:lnTo>
                    <a:lnTo>
                      <a:pt x="246" y="180"/>
                    </a:lnTo>
                    <a:lnTo>
                      <a:pt x="240" y="168"/>
                    </a:lnTo>
                    <a:lnTo>
                      <a:pt x="234" y="162"/>
                    </a:lnTo>
                    <a:lnTo>
                      <a:pt x="246" y="156"/>
                    </a:lnTo>
                    <a:lnTo>
                      <a:pt x="258" y="156"/>
                    </a:lnTo>
                    <a:lnTo>
                      <a:pt x="264" y="156"/>
                    </a:lnTo>
                    <a:lnTo>
                      <a:pt x="270" y="150"/>
                    </a:lnTo>
                    <a:lnTo>
                      <a:pt x="270" y="144"/>
                    </a:lnTo>
                    <a:lnTo>
                      <a:pt x="276" y="138"/>
                    </a:lnTo>
                    <a:lnTo>
                      <a:pt x="288" y="132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82" y="114"/>
                    </a:lnTo>
                    <a:lnTo>
                      <a:pt x="282" y="102"/>
                    </a:lnTo>
                    <a:lnTo>
                      <a:pt x="282" y="96"/>
                    </a:lnTo>
                    <a:lnTo>
                      <a:pt x="282" y="90"/>
                    </a:lnTo>
                    <a:lnTo>
                      <a:pt x="276" y="90"/>
                    </a:lnTo>
                    <a:lnTo>
                      <a:pt x="276" y="84"/>
                    </a:lnTo>
                    <a:lnTo>
                      <a:pt x="282" y="84"/>
                    </a:lnTo>
                    <a:lnTo>
                      <a:pt x="294" y="78"/>
                    </a:lnTo>
                    <a:lnTo>
                      <a:pt x="300" y="78"/>
                    </a:lnTo>
                    <a:lnTo>
                      <a:pt x="300" y="84"/>
                    </a:lnTo>
                    <a:lnTo>
                      <a:pt x="294" y="84"/>
                    </a:lnTo>
                    <a:lnTo>
                      <a:pt x="294" y="96"/>
                    </a:lnTo>
                    <a:lnTo>
                      <a:pt x="300" y="96"/>
                    </a:lnTo>
                    <a:lnTo>
                      <a:pt x="306" y="96"/>
                    </a:lnTo>
                    <a:lnTo>
                      <a:pt x="306" y="90"/>
                    </a:lnTo>
                    <a:lnTo>
                      <a:pt x="312" y="90"/>
                    </a:lnTo>
                    <a:lnTo>
                      <a:pt x="318" y="90"/>
                    </a:lnTo>
                    <a:lnTo>
                      <a:pt x="324" y="90"/>
                    </a:lnTo>
                    <a:lnTo>
                      <a:pt x="336" y="90"/>
                    </a:lnTo>
                    <a:lnTo>
                      <a:pt x="348" y="84"/>
                    </a:lnTo>
                    <a:lnTo>
                      <a:pt x="354" y="84"/>
                    </a:lnTo>
                    <a:lnTo>
                      <a:pt x="354" y="54"/>
                    </a:lnTo>
                    <a:lnTo>
                      <a:pt x="372" y="48"/>
                    </a:lnTo>
                    <a:lnTo>
                      <a:pt x="378" y="60"/>
                    </a:lnTo>
                    <a:lnTo>
                      <a:pt x="384" y="54"/>
                    </a:lnTo>
                    <a:lnTo>
                      <a:pt x="390" y="54"/>
                    </a:lnTo>
                    <a:lnTo>
                      <a:pt x="396" y="54"/>
                    </a:lnTo>
                    <a:lnTo>
                      <a:pt x="408" y="54"/>
                    </a:lnTo>
                    <a:lnTo>
                      <a:pt x="414" y="54"/>
                    </a:lnTo>
                    <a:lnTo>
                      <a:pt x="414" y="42"/>
                    </a:lnTo>
                    <a:lnTo>
                      <a:pt x="414" y="36"/>
                    </a:lnTo>
                    <a:lnTo>
                      <a:pt x="444" y="36"/>
                    </a:lnTo>
                    <a:lnTo>
                      <a:pt x="450" y="42"/>
                    </a:lnTo>
                    <a:lnTo>
                      <a:pt x="462" y="36"/>
                    </a:lnTo>
                    <a:lnTo>
                      <a:pt x="468" y="24"/>
                    </a:lnTo>
                    <a:lnTo>
                      <a:pt x="456" y="24"/>
                    </a:lnTo>
                    <a:lnTo>
                      <a:pt x="450" y="12"/>
                    </a:lnTo>
                    <a:lnTo>
                      <a:pt x="450" y="0"/>
                    </a:lnTo>
                    <a:lnTo>
                      <a:pt x="456" y="0"/>
                    </a:lnTo>
                    <a:lnTo>
                      <a:pt x="468" y="0"/>
                    </a:lnTo>
                    <a:lnTo>
                      <a:pt x="492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5" name="Freeform 10"/>
              <p:cNvSpPr>
                <a:spLocks noChangeAspect="1"/>
              </p:cNvSpPr>
              <p:nvPr/>
            </p:nvSpPr>
            <p:spPr bwMode="auto">
              <a:xfrm>
                <a:off x="3381392" y="5558197"/>
                <a:ext cx="133751" cy="134423"/>
              </a:xfrm>
              <a:custGeom>
                <a:avLst/>
                <a:gdLst>
                  <a:gd name="T0" fmla="*/ 2147483647 w 1170"/>
                  <a:gd name="T1" fmla="*/ 2147483647 h 1176"/>
                  <a:gd name="T2" fmla="*/ 2147483647 w 1170"/>
                  <a:gd name="T3" fmla="*/ 2147483647 h 1176"/>
                  <a:gd name="T4" fmla="*/ 2147483647 w 1170"/>
                  <a:gd name="T5" fmla="*/ 2147483647 h 1176"/>
                  <a:gd name="T6" fmla="*/ 2147483647 w 1170"/>
                  <a:gd name="T7" fmla="*/ 2147483647 h 1176"/>
                  <a:gd name="T8" fmla="*/ 2147483647 w 1170"/>
                  <a:gd name="T9" fmla="*/ 2147483647 h 1176"/>
                  <a:gd name="T10" fmla="*/ 2147483647 w 1170"/>
                  <a:gd name="T11" fmla="*/ 2147483647 h 1176"/>
                  <a:gd name="T12" fmla="*/ 2147483647 w 1170"/>
                  <a:gd name="T13" fmla="*/ 2147483647 h 1176"/>
                  <a:gd name="T14" fmla="*/ 2147483647 w 1170"/>
                  <a:gd name="T15" fmla="*/ 2147483647 h 1176"/>
                  <a:gd name="T16" fmla="*/ 2147483647 w 1170"/>
                  <a:gd name="T17" fmla="*/ 2147483647 h 1176"/>
                  <a:gd name="T18" fmla="*/ 2147483647 w 1170"/>
                  <a:gd name="T19" fmla="*/ 2147483647 h 1176"/>
                  <a:gd name="T20" fmla="*/ 2147483647 w 1170"/>
                  <a:gd name="T21" fmla="*/ 2147483647 h 1176"/>
                  <a:gd name="T22" fmla="*/ 2147483647 w 1170"/>
                  <a:gd name="T23" fmla="*/ 2147483647 h 1176"/>
                  <a:gd name="T24" fmla="*/ 2147483647 w 1170"/>
                  <a:gd name="T25" fmla="*/ 2147483647 h 1176"/>
                  <a:gd name="T26" fmla="*/ 2147483647 w 1170"/>
                  <a:gd name="T27" fmla="*/ 2147483647 h 1176"/>
                  <a:gd name="T28" fmla="*/ 2147483647 w 1170"/>
                  <a:gd name="T29" fmla="*/ 2147483647 h 1176"/>
                  <a:gd name="T30" fmla="*/ 2147483647 w 1170"/>
                  <a:gd name="T31" fmla="*/ 2147483647 h 1176"/>
                  <a:gd name="T32" fmla="*/ 2147483647 w 1170"/>
                  <a:gd name="T33" fmla="*/ 2147483647 h 1176"/>
                  <a:gd name="T34" fmla="*/ 2147483647 w 1170"/>
                  <a:gd name="T35" fmla="*/ 2147483647 h 1176"/>
                  <a:gd name="T36" fmla="*/ 2147483647 w 1170"/>
                  <a:gd name="T37" fmla="*/ 2147483647 h 1176"/>
                  <a:gd name="T38" fmla="*/ 2147483647 w 1170"/>
                  <a:gd name="T39" fmla="*/ 2147483647 h 1176"/>
                  <a:gd name="T40" fmla="*/ 2147483647 w 1170"/>
                  <a:gd name="T41" fmla="*/ 2147483647 h 1176"/>
                  <a:gd name="T42" fmla="*/ 2147483647 w 1170"/>
                  <a:gd name="T43" fmla="*/ 2147483647 h 1176"/>
                  <a:gd name="T44" fmla="*/ 2147483647 w 1170"/>
                  <a:gd name="T45" fmla="*/ 2147483647 h 1176"/>
                  <a:gd name="T46" fmla="*/ 2147483647 w 1170"/>
                  <a:gd name="T47" fmla="*/ 2147483647 h 1176"/>
                  <a:gd name="T48" fmla="*/ 2147483647 w 1170"/>
                  <a:gd name="T49" fmla="*/ 2147483647 h 1176"/>
                  <a:gd name="T50" fmla="*/ 2147483647 w 1170"/>
                  <a:gd name="T51" fmla="*/ 2147483647 h 1176"/>
                  <a:gd name="T52" fmla="*/ 2147483647 w 1170"/>
                  <a:gd name="T53" fmla="*/ 2147483647 h 1176"/>
                  <a:gd name="T54" fmla="*/ 2147483647 w 1170"/>
                  <a:gd name="T55" fmla="*/ 2147483647 h 1176"/>
                  <a:gd name="T56" fmla="*/ 2147483647 w 1170"/>
                  <a:gd name="T57" fmla="*/ 2147483647 h 1176"/>
                  <a:gd name="T58" fmla="*/ 2147483647 w 1170"/>
                  <a:gd name="T59" fmla="*/ 2147483647 h 1176"/>
                  <a:gd name="T60" fmla="*/ 2147483647 w 1170"/>
                  <a:gd name="T61" fmla="*/ 2147483647 h 1176"/>
                  <a:gd name="T62" fmla="*/ 2147483647 w 1170"/>
                  <a:gd name="T63" fmla="*/ 2147483647 h 1176"/>
                  <a:gd name="T64" fmla="*/ 0 w 1170"/>
                  <a:gd name="T65" fmla="*/ 2147483647 h 1176"/>
                  <a:gd name="T66" fmla="*/ 2147483647 w 1170"/>
                  <a:gd name="T67" fmla="*/ 2147483647 h 1176"/>
                  <a:gd name="T68" fmla="*/ 2147483647 w 1170"/>
                  <a:gd name="T69" fmla="*/ 2147483647 h 1176"/>
                  <a:gd name="T70" fmla="*/ 2147483647 w 1170"/>
                  <a:gd name="T71" fmla="*/ 2147483647 h 1176"/>
                  <a:gd name="T72" fmla="*/ 2147483647 w 1170"/>
                  <a:gd name="T73" fmla="*/ 2147483647 h 1176"/>
                  <a:gd name="T74" fmla="*/ 2147483647 w 1170"/>
                  <a:gd name="T75" fmla="*/ 2147483647 h 1176"/>
                  <a:gd name="T76" fmla="*/ 2147483647 w 1170"/>
                  <a:gd name="T77" fmla="*/ 2147483647 h 1176"/>
                  <a:gd name="T78" fmla="*/ 2147483647 w 1170"/>
                  <a:gd name="T79" fmla="*/ 2147483647 h 1176"/>
                  <a:gd name="T80" fmla="*/ 2147483647 w 1170"/>
                  <a:gd name="T81" fmla="*/ 2147483647 h 1176"/>
                  <a:gd name="T82" fmla="*/ 2147483647 w 1170"/>
                  <a:gd name="T83" fmla="*/ 2147483647 h 1176"/>
                  <a:gd name="T84" fmla="*/ 2147483647 w 1170"/>
                  <a:gd name="T85" fmla="*/ 2147483647 h 1176"/>
                  <a:gd name="T86" fmla="*/ 2147483647 w 1170"/>
                  <a:gd name="T87" fmla="*/ 2147483647 h 1176"/>
                  <a:gd name="T88" fmla="*/ 2147483647 w 1170"/>
                  <a:gd name="T89" fmla="*/ 2147483647 h 1176"/>
                  <a:gd name="T90" fmla="*/ 2147483647 w 1170"/>
                  <a:gd name="T91" fmla="*/ 2147483647 h 1176"/>
                  <a:gd name="T92" fmla="*/ 2147483647 w 1170"/>
                  <a:gd name="T93" fmla="*/ 2147483647 h 1176"/>
                  <a:gd name="T94" fmla="*/ 2147483647 w 1170"/>
                  <a:gd name="T95" fmla="*/ 2147483647 h 1176"/>
                  <a:gd name="T96" fmla="*/ 2147483647 w 1170"/>
                  <a:gd name="T97" fmla="*/ 2147483647 h 1176"/>
                  <a:gd name="T98" fmla="*/ 2147483647 w 1170"/>
                  <a:gd name="T99" fmla="*/ 2147483647 h 1176"/>
                  <a:gd name="T100" fmla="*/ 2147483647 w 1170"/>
                  <a:gd name="T101" fmla="*/ 2147483647 h 1176"/>
                  <a:gd name="T102" fmla="*/ 2147483647 w 1170"/>
                  <a:gd name="T103" fmla="*/ 2147483647 h 1176"/>
                  <a:gd name="T104" fmla="*/ 2147483647 w 1170"/>
                  <a:gd name="T105" fmla="*/ 2147483647 h 1176"/>
                  <a:gd name="T106" fmla="*/ 2147483647 w 1170"/>
                  <a:gd name="T107" fmla="*/ 2147483647 h 1176"/>
                  <a:gd name="T108" fmla="*/ 2147483647 w 1170"/>
                  <a:gd name="T109" fmla="*/ 2147483647 h 1176"/>
                  <a:gd name="T110" fmla="*/ 2147483647 w 1170"/>
                  <a:gd name="T111" fmla="*/ 2147483647 h 1176"/>
                  <a:gd name="T112" fmla="*/ 2147483647 w 1170"/>
                  <a:gd name="T113" fmla="*/ 2147483647 h 1176"/>
                  <a:gd name="T114" fmla="*/ 2147483647 w 1170"/>
                  <a:gd name="T115" fmla="*/ 2147483647 h 1176"/>
                  <a:gd name="T116" fmla="*/ 2147483647 w 1170"/>
                  <a:gd name="T117" fmla="*/ 2147483647 h 117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170" h="1176">
                    <a:moveTo>
                      <a:pt x="1134" y="6"/>
                    </a:moveTo>
                    <a:lnTo>
                      <a:pt x="1134" y="12"/>
                    </a:lnTo>
                    <a:lnTo>
                      <a:pt x="1140" y="12"/>
                    </a:lnTo>
                    <a:lnTo>
                      <a:pt x="1140" y="18"/>
                    </a:lnTo>
                    <a:lnTo>
                      <a:pt x="1140" y="24"/>
                    </a:lnTo>
                    <a:lnTo>
                      <a:pt x="1140" y="30"/>
                    </a:lnTo>
                    <a:lnTo>
                      <a:pt x="1140" y="36"/>
                    </a:lnTo>
                    <a:lnTo>
                      <a:pt x="1140" y="42"/>
                    </a:lnTo>
                    <a:lnTo>
                      <a:pt x="1140" y="48"/>
                    </a:lnTo>
                    <a:lnTo>
                      <a:pt x="1140" y="54"/>
                    </a:lnTo>
                    <a:lnTo>
                      <a:pt x="1140" y="60"/>
                    </a:lnTo>
                    <a:lnTo>
                      <a:pt x="1140" y="66"/>
                    </a:lnTo>
                    <a:lnTo>
                      <a:pt x="1140" y="72"/>
                    </a:lnTo>
                    <a:lnTo>
                      <a:pt x="1140" y="78"/>
                    </a:lnTo>
                    <a:lnTo>
                      <a:pt x="1140" y="84"/>
                    </a:lnTo>
                    <a:lnTo>
                      <a:pt x="1146" y="84"/>
                    </a:lnTo>
                    <a:lnTo>
                      <a:pt x="1146" y="90"/>
                    </a:lnTo>
                    <a:lnTo>
                      <a:pt x="1146" y="96"/>
                    </a:lnTo>
                    <a:lnTo>
                      <a:pt x="1152" y="96"/>
                    </a:lnTo>
                    <a:lnTo>
                      <a:pt x="1152" y="102"/>
                    </a:lnTo>
                    <a:lnTo>
                      <a:pt x="1152" y="108"/>
                    </a:lnTo>
                    <a:lnTo>
                      <a:pt x="1158" y="108"/>
                    </a:lnTo>
                    <a:lnTo>
                      <a:pt x="1158" y="114"/>
                    </a:lnTo>
                    <a:lnTo>
                      <a:pt x="1158" y="120"/>
                    </a:lnTo>
                    <a:lnTo>
                      <a:pt x="1164" y="120"/>
                    </a:lnTo>
                    <a:lnTo>
                      <a:pt x="1164" y="126"/>
                    </a:lnTo>
                    <a:lnTo>
                      <a:pt x="1164" y="132"/>
                    </a:lnTo>
                    <a:lnTo>
                      <a:pt x="1164" y="138"/>
                    </a:lnTo>
                    <a:lnTo>
                      <a:pt x="1164" y="144"/>
                    </a:lnTo>
                    <a:lnTo>
                      <a:pt x="1164" y="150"/>
                    </a:lnTo>
                    <a:lnTo>
                      <a:pt x="1164" y="156"/>
                    </a:lnTo>
                    <a:lnTo>
                      <a:pt x="1170" y="156"/>
                    </a:lnTo>
                    <a:lnTo>
                      <a:pt x="1170" y="162"/>
                    </a:lnTo>
                    <a:lnTo>
                      <a:pt x="1170" y="168"/>
                    </a:lnTo>
                    <a:lnTo>
                      <a:pt x="1170" y="174"/>
                    </a:lnTo>
                    <a:lnTo>
                      <a:pt x="1170" y="180"/>
                    </a:lnTo>
                    <a:lnTo>
                      <a:pt x="1170" y="186"/>
                    </a:lnTo>
                    <a:lnTo>
                      <a:pt x="1170" y="192"/>
                    </a:lnTo>
                    <a:lnTo>
                      <a:pt x="1170" y="198"/>
                    </a:lnTo>
                    <a:lnTo>
                      <a:pt x="1164" y="198"/>
                    </a:lnTo>
                    <a:lnTo>
                      <a:pt x="1164" y="204"/>
                    </a:lnTo>
                    <a:lnTo>
                      <a:pt x="1164" y="210"/>
                    </a:lnTo>
                    <a:lnTo>
                      <a:pt x="1164" y="216"/>
                    </a:lnTo>
                    <a:lnTo>
                      <a:pt x="1164" y="222"/>
                    </a:lnTo>
                    <a:lnTo>
                      <a:pt x="1164" y="228"/>
                    </a:lnTo>
                    <a:lnTo>
                      <a:pt x="1164" y="234"/>
                    </a:lnTo>
                    <a:lnTo>
                      <a:pt x="1164" y="240"/>
                    </a:lnTo>
                    <a:lnTo>
                      <a:pt x="1164" y="246"/>
                    </a:lnTo>
                    <a:lnTo>
                      <a:pt x="1164" y="252"/>
                    </a:lnTo>
                    <a:lnTo>
                      <a:pt x="1164" y="258"/>
                    </a:lnTo>
                    <a:lnTo>
                      <a:pt x="1164" y="264"/>
                    </a:lnTo>
                    <a:lnTo>
                      <a:pt x="1164" y="270"/>
                    </a:lnTo>
                    <a:lnTo>
                      <a:pt x="1164" y="276"/>
                    </a:lnTo>
                    <a:lnTo>
                      <a:pt x="1164" y="282"/>
                    </a:lnTo>
                    <a:lnTo>
                      <a:pt x="1164" y="288"/>
                    </a:lnTo>
                    <a:lnTo>
                      <a:pt x="1164" y="294"/>
                    </a:lnTo>
                    <a:lnTo>
                      <a:pt x="1164" y="300"/>
                    </a:lnTo>
                    <a:lnTo>
                      <a:pt x="1164" y="306"/>
                    </a:lnTo>
                    <a:lnTo>
                      <a:pt x="1164" y="312"/>
                    </a:lnTo>
                    <a:lnTo>
                      <a:pt x="1164" y="318"/>
                    </a:lnTo>
                    <a:lnTo>
                      <a:pt x="1164" y="324"/>
                    </a:lnTo>
                    <a:lnTo>
                      <a:pt x="1164" y="330"/>
                    </a:lnTo>
                    <a:lnTo>
                      <a:pt x="1164" y="336"/>
                    </a:lnTo>
                    <a:lnTo>
                      <a:pt x="1164" y="342"/>
                    </a:lnTo>
                    <a:lnTo>
                      <a:pt x="1164" y="348"/>
                    </a:lnTo>
                    <a:lnTo>
                      <a:pt x="1164" y="354"/>
                    </a:lnTo>
                    <a:lnTo>
                      <a:pt x="1164" y="360"/>
                    </a:lnTo>
                    <a:lnTo>
                      <a:pt x="1164" y="366"/>
                    </a:lnTo>
                    <a:lnTo>
                      <a:pt x="1164" y="372"/>
                    </a:lnTo>
                    <a:lnTo>
                      <a:pt x="1164" y="378"/>
                    </a:lnTo>
                    <a:lnTo>
                      <a:pt x="1164" y="384"/>
                    </a:lnTo>
                    <a:lnTo>
                      <a:pt x="1164" y="390"/>
                    </a:lnTo>
                    <a:lnTo>
                      <a:pt x="1164" y="396"/>
                    </a:lnTo>
                    <a:lnTo>
                      <a:pt x="1170" y="402"/>
                    </a:lnTo>
                    <a:lnTo>
                      <a:pt x="1164" y="402"/>
                    </a:lnTo>
                    <a:lnTo>
                      <a:pt x="1164" y="408"/>
                    </a:lnTo>
                    <a:lnTo>
                      <a:pt x="1164" y="414"/>
                    </a:lnTo>
                    <a:lnTo>
                      <a:pt x="1164" y="420"/>
                    </a:lnTo>
                    <a:lnTo>
                      <a:pt x="1164" y="426"/>
                    </a:lnTo>
                    <a:lnTo>
                      <a:pt x="1164" y="432"/>
                    </a:lnTo>
                    <a:lnTo>
                      <a:pt x="1164" y="438"/>
                    </a:lnTo>
                    <a:lnTo>
                      <a:pt x="1164" y="444"/>
                    </a:lnTo>
                    <a:lnTo>
                      <a:pt x="1164" y="450"/>
                    </a:lnTo>
                    <a:lnTo>
                      <a:pt x="1164" y="456"/>
                    </a:lnTo>
                    <a:lnTo>
                      <a:pt x="1158" y="456"/>
                    </a:lnTo>
                    <a:lnTo>
                      <a:pt x="1158" y="462"/>
                    </a:lnTo>
                    <a:lnTo>
                      <a:pt x="1158" y="468"/>
                    </a:lnTo>
                    <a:lnTo>
                      <a:pt x="1158" y="474"/>
                    </a:lnTo>
                    <a:lnTo>
                      <a:pt x="1158" y="480"/>
                    </a:lnTo>
                    <a:lnTo>
                      <a:pt x="1158" y="486"/>
                    </a:lnTo>
                    <a:lnTo>
                      <a:pt x="1158" y="492"/>
                    </a:lnTo>
                    <a:lnTo>
                      <a:pt x="1152" y="492"/>
                    </a:lnTo>
                    <a:lnTo>
                      <a:pt x="1152" y="498"/>
                    </a:lnTo>
                    <a:lnTo>
                      <a:pt x="1152" y="504"/>
                    </a:lnTo>
                    <a:lnTo>
                      <a:pt x="1146" y="504"/>
                    </a:lnTo>
                    <a:lnTo>
                      <a:pt x="1146" y="510"/>
                    </a:lnTo>
                    <a:lnTo>
                      <a:pt x="1146" y="516"/>
                    </a:lnTo>
                    <a:lnTo>
                      <a:pt x="1140" y="516"/>
                    </a:lnTo>
                    <a:lnTo>
                      <a:pt x="1140" y="522"/>
                    </a:lnTo>
                    <a:lnTo>
                      <a:pt x="1140" y="528"/>
                    </a:lnTo>
                    <a:lnTo>
                      <a:pt x="1140" y="534"/>
                    </a:lnTo>
                    <a:lnTo>
                      <a:pt x="1146" y="534"/>
                    </a:lnTo>
                    <a:lnTo>
                      <a:pt x="1146" y="540"/>
                    </a:lnTo>
                    <a:lnTo>
                      <a:pt x="1146" y="546"/>
                    </a:lnTo>
                    <a:lnTo>
                      <a:pt x="1146" y="552"/>
                    </a:lnTo>
                    <a:lnTo>
                      <a:pt x="1146" y="558"/>
                    </a:lnTo>
                    <a:lnTo>
                      <a:pt x="1146" y="564"/>
                    </a:lnTo>
                    <a:lnTo>
                      <a:pt x="1146" y="570"/>
                    </a:lnTo>
                    <a:lnTo>
                      <a:pt x="1152" y="570"/>
                    </a:lnTo>
                    <a:lnTo>
                      <a:pt x="1146" y="570"/>
                    </a:lnTo>
                    <a:lnTo>
                      <a:pt x="1146" y="576"/>
                    </a:lnTo>
                    <a:lnTo>
                      <a:pt x="1146" y="582"/>
                    </a:lnTo>
                    <a:lnTo>
                      <a:pt x="1146" y="588"/>
                    </a:lnTo>
                    <a:lnTo>
                      <a:pt x="1140" y="588"/>
                    </a:lnTo>
                    <a:lnTo>
                      <a:pt x="1140" y="594"/>
                    </a:lnTo>
                    <a:lnTo>
                      <a:pt x="1140" y="600"/>
                    </a:lnTo>
                    <a:lnTo>
                      <a:pt x="1134" y="600"/>
                    </a:lnTo>
                    <a:lnTo>
                      <a:pt x="1134" y="606"/>
                    </a:lnTo>
                    <a:lnTo>
                      <a:pt x="1134" y="612"/>
                    </a:lnTo>
                    <a:lnTo>
                      <a:pt x="1134" y="618"/>
                    </a:lnTo>
                    <a:lnTo>
                      <a:pt x="1128" y="618"/>
                    </a:lnTo>
                    <a:lnTo>
                      <a:pt x="1128" y="624"/>
                    </a:lnTo>
                    <a:lnTo>
                      <a:pt x="1128" y="630"/>
                    </a:lnTo>
                    <a:lnTo>
                      <a:pt x="1122" y="636"/>
                    </a:lnTo>
                    <a:lnTo>
                      <a:pt x="1122" y="642"/>
                    </a:lnTo>
                    <a:lnTo>
                      <a:pt x="1122" y="648"/>
                    </a:lnTo>
                    <a:lnTo>
                      <a:pt x="1122" y="654"/>
                    </a:lnTo>
                    <a:lnTo>
                      <a:pt x="1128" y="654"/>
                    </a:lnTo>
                    <a:lnTo>
                      <a:pt x="1128" y="660"/>
                    </a:lnTo>
                    <a:lnTo>
                      <a:pt x="1128" y="666"/>
                    </a:lnTo>
                    <a:lnTo>
                      <a:pt x="1128" y="672"/>
                    </a:lnTo>
                    <a:lnTo>
                      <a:pt x="1134" y="672"/>
                    </a:lnTo>
                    <a:lnTo>
                      <a:pt x="1134" y="678"/>
                    </a:lnTo>
                    <a:lnTo>
                      <a:pt x="1134" y="684"/>
                    </a:lnTo>
                    <a:lnTo>
                      <a:pt x="1128" y="684"/>
                    </a:lnTo>
                    <a:lnTo>
                      <a:pt x="1116" y="690"/>
                    </a:lnTo>
                    <a:lnTo>
                      <a:pt x="1110" y="690"/>
                    </a:lnTo>
                    <a:lnTo>
                      <a:pt x="1104" y="690"/>
                    </a:lnTo>
                    <a:lnTo>
                      <a:pt x="1104" y="696"/>
                    </a:lnTo>
                    <a:lnTo>
                      <a:pt x="1098" y="696"/>
                    </a:lnTo>
                    <a:lnTo>
                      <a:pt x="1086" y="690"/>
                    </a:lnTo>
                    <a:lnTo>
                      <a:pt x="1086" y="684"/>
                    </a:lnTo>
                    <a:lnTo>
                      <a:pt x="1080" y="684"/>
                    </a:lnTo>
                    <a:lnTo>
                      <a:pt x="1074" y="678"/>
                    </a:lnTo>
                    <a:lnTo>
                      <a:pt x="1068" y="672"/>
                    </a:lnTo>
                    <a:lnTo>
                      <a:pt x="1062" y="672"/>
                    </a:lnTo>
                    <a:lnTo>
                      <a:pt x="1056" y="660"/>
                    </a:lnTo>
                    <a:lnTo>
                      <a:pt x="1038" y="648"/>
                    </a:lnTo>
                    <a:lnTo>
                      <a:pt x="1026" y="642"/>
                    </a:lnTo>
                    <a:lnTo>
                      <a:pt x="1026" y="636"/>
                    </a:lnTo>
                    <a:lnTo>
                      <a:pt x="1020" y="636"/>
                    </a:lnTo>
                    <a:lnTo>
                      <a:pt x="1008" y="624"/>
                    </a:lnTo>
                    <a:lnTo>
                      <a:pt x="1002" y="624"/>
                    </a:lnTo>
                    <a:lnTo>
                      <a:pt x="1002" y="618"/>
                    </a:lnTo>
                    <a:lnTo>
                      <a:pt x="996" y="618"/>
                    </a:lnTo>
                    <a:lnTo>
                      <a:pt x="996" y="612"/>
                    </a:lnTo>
                    <a:lnTo>
                      <a:pt x="984" y="606"/>
                    </a:lnTo>
                    <a:lnTo>
                      <a:pt x="972" y="594"/>
                    </a:lnTo>
                    <a:lnTo>
                      <a:pt x="966" y="594"/>
                    </a:lnTo>
                    <a:lnTo>
                      <a:pt x="960" y="594"/>
                    </a:lnTo>
                    <a:lnTo>
                      <a:pt x="954" y="594"/>
                    </a:lnTo>
                    <a:lnTo>
                      <a:pt x="948" y="600"/>
                    </a:lnTo>
                    <a:lnTo>
                      <a:pt x="942" y="600"/>
                    </a:lnTo>
                    <a:lnTo>
                      <a:pt x="936" y="600"/>
                    </a:lnTo>
                    <a:lnTo>
                      <a:pt x="930" y="606"/>
                    </a:lnTo>
                    <a:lnTo>
                      <a:pt x="924" y="612"/>
                    </a:lnTo>
                    <a:lnTo>
                      <a:pt x="918" y="624"/>
                    </a:lnTo>
                    <a:lnTo>
                      <a:pt x="912" y="630"/>
                    </a:lnTo>
                    <a:lnTo>
                      <a:pt x="888" y="648"/>
                    </a:lnTo>
                    <a:lnTo>
                      <a:pt x="882" y="648"/>
                    </a:lnTo>
                    <a:lnTo>
                      <a:pt x="882" y="654"/>
                    </a:lnTo>
                    <a:lnTo>
                      <a:pt x="876" y="654"/>
                    </a:lnTo>
                    <a:lnTo>
                      <a:pt x="876" y="660"/>
                    </a:lnTo>
                    <a:lnTo>
                      <a:pt x="876" y="666"/>
                    </a:lnTo>
                    <a:lnTo>
                      <a:pt x="870" y="672"/>
                    </a:lnTo>
                    <a:lnTo>
                      <a:pt x="870" y="678"/>
                    </a:lnTo>
                    <a:lnTo>
                      <a:pt x="864" y="690"/>
                    </a:lnTo>
                    <a:lnTo>
                      <a:pt x="858" y="696"/>
                    </a:lnTo>
                    <a:lnTo>
                      <a:pt x="858" y="702"/>
                    </a:lnTo>
                    <a:lnTo>
                      <a:pt x="858" y="708"/>
                    </a:lnTo>
                    <a:lnTo>
                      <a:pt x="852" y="714"/>
                    </a:lnTo>
                    <a:lnTo>
                      <a:pt x="846" y="726"/>
                    </a:lnTo>
                    <a:lnTo>
                      <a:pt x="840" y="732"/>
                    </a:lnTo>
                    <a:lnTo>
                      <a:pt x="840" y="738"/>
                    </a:lnTo>
                    <a:lnTo>
                      <a:pt x="834" y="750"/>
                    </a:lnTo>
                    <a:lnTo>
                      <a:pt x="828" y="750"/>
                    </a:lnTo>
                    <a:lnTo>
                      <a:pt x="828" y="756"/>
                    </a:lnTo>
                    <a:lnTo>
                      <a:pt x="828" y="762"/>
                    </a:lnTo>
                    <a:lnTo>
                      <a:pt x="822" y="768"/>
                    </a:lnTo>
                    <a:lnTo>
                      <a:pt x="810" y="780"/>
                    </a:lnTo>
                    <a:lnTo>
                      <a:pt x="804" y="780"/>
                    </a:lnTo>
                    <a:lnTo>
                      <a:pt x="804" y="786"/>
                    </a:lnTo>
                    <a:lnTo>
                      <a:pt x="798" y="786"/>
                    </a:lnTo>
                    <a:lnTo>
                      <a:pt x="798" y="792"/>
                    </a:lnTo>
                    <a:lnTo>
                      <a:pt x="792" y="798"/>
                    </a:lnTo>
                    <a:lnTo>
                      <a:pt x="792" y="804"/>
                    </a:lnTo>
                    <a:lnTo>
                      <a:pt x="786" y="810"/>
                    </a:lnTo>
                    <a:lnTo>
                      <a:pt x="780" y="822"/>
                    </a:lnTo>
                    <a:lnTo>
                      <a:pt x="774" y="822"/>
                    </a:lnTo>
                    <a:lnTo>
                      <a:pt x="774" y="828"/>
                    </a:lnTo>
                    <a:lnTo>
                      <a:pt x="774" y="840"/>
                    </a:lnTo>
                    <a:lnTo>
                      <a:pt x="768" y="840"/>
                    </a:lnTo>
                    <a:lnTo>
                      <a:pt x="768" y="858"/>
                    </a:lnTo>
                    <a:lnTo>
                      <a:pt x="762" y="870"/>
                    </a:lnTo>
                    <a:lnTo>
                      <a:pt x="762" y="882"/>
                    </a:lnTo>
                    <a:lnTo>
                      <a:pt x="762" y="906"/>
                    </a:lnTo>
                    <a:lnTo>
                      <a:pt x="762" y="918"/>
                    </a:lnTo>
                    <a:lnTo>
                      <a:pt x="762" y="924"/>
                    </a:lnTo>
                    <a:lnTo>
                      <a:pt x="762" y="930"/>
                    </a:lnTo>
                    <a:lnTo>
                      <a:pt x="762" y="936"/>
                    </a:lnTo>
                    <a:lnTo>
                      <a:pt x="762" y="942"/>
                    </a:lnTo>
                    <a:lnTo>
                      <a:pt x="762" y="960"/>
                    </a:lnTo>
                    <a:lnTo>
                      <a:pt x="768" y="966"/>
                    </a:lnTo>
                    <a:lnTo>
                      <a:pt x="774" y="966"/>
                    </a:lnTo>
                    <a:lnTo>
                      <a:pt x="780" y="960"/>
                    </a:lnTo>
                    <a:lnTo>
                      <a:pt x="786" y="960"/>
                    </a:lnTo>
                    <a:lnTo>
                      <a:pt x="786" y="954"/>
                    </a:lnTo>
                    <a:lnTo>
                      <a:pt x="792" y="948"/>
                    </a:lnTo>
                    <a:lnTo>
                      <a:pt x="792" y="960"/>
                    </a:lnTo>
                    <a:lnTo>
                      <a:pt x="792" y="966"/>
                    </a:lnTo>
                    <a:lnTo>
                      <a:pt x="798" y="972"/>
                    </a:lnTo>
                    <a:lnTo>
                      <a:pt x="804" y="978"/>
                    </a:lnTo>
                    <a:lnTo>
                      <a:pt x="804" y="984"/>
                    </a:lnTo>
                    <a:lnTo>
                      <a:pt x="810" y="990"/>
                    </a:lnTo>
                    <a:lnTo>
                      <a:pt x="816" y="996"/>
                    </a:lnTo>
                    <a:lnTo>
                      <a:pt x="816" y="1002"/>
                    </a:lnTo>
                    <a:lnTo>
                      <a:pt x="816" y="1008"/>
                    </a:lnTo>
                    <a:lnTo>
                      <a:pt x="816" y="1014"/>
                    </a:lnTo>
                    <a:lnTo>
                      <a:pt x="810" y="1020"/>
                    </a:lnTo>
                    <a:lnTo>
                      <a:pt x="810" y="1026"/>
                    </a:lnTo>
                    <a:lnTo>
                      <a:pt x="816" y="1032"/>
                    </a:lnTo>
                    <a:lnTo>
                      <a:pt x="828" y="1044"/>
                    </a:lnTo>
                    <a:lnTo>
                      <a:pt x="834" y="1050"/>
                    </a:lnTo>
                    <a:lnTo>
                      <a:pt x="840" y="1056"/>
                    </a:lnTo>
                    <a:lnTo>
                      <a:pt x="840" y="1062"/>
                    </a:lnTo>
                    <a:lnTo>
                      <a:pt x="846" y="1068"/>
                    </a:lnTo>
                    <a:lnTo>
                      <a:pt x="846" y="1074"/>
                    </a:lnTo>
                    <a:lnTo>
                      <a:pt x="858" y="1086"/>
                    </a:lnTo>
                    <a:lnTo>
                      <a:pt x="858" y="1092"/>
                    </a:lnTo>
                    <a:lnTo>
                      <a:pt x="864" y="1092"/>
                    </a:lnTo>
                    <a:lnTo>
                      <a:pt x="870" y="1098"/>
                    </a:lnTo>
                    <a:lnTo>
                      <a:pt x="876" y="1098"/>
                    </a:lnTo>
                    <a:lnTo>
                      <a:pt x="882" y="1104"/>
                    </a:lnTo>
                    <a:lnTo>
                      <a:pt x="900" y="1110"/>
                    </a:lnTo>
                    <a:lnTo>
                      <a:pt x="894" y="1116"/>
                    </a:lnTo>
                    <a:lnTo>
                      <a:pt x="888" y="1122"/>
                    </a:lnTo>
                    <a:lnTo>
                      <a:pt x="882" y="1128"/>
                    </a:lnTo>
                    <a:lnTo>
                      <a:pt x="876" y="1134"/>
                    </a:lnTo>
                    <a:lnTo>
                      <a:pt x="876" y="1140"/>
                    </a:lnTo>
                    <a:lnTo>
                      <a:pt x="870" y="1146"/>
                    </a:lnTo>
                    <a:lnTo>
                      <a:pt x="864" y="1152"/>
                    </a:lnTo>
                    <a:lnTo>
                      <a:pt x="858" y="1152"/>
                    </a:lnTo>
                    <a:lnTo>
                      <a:pt x="858" y="1146"/>
                    </a:lnTo>
                    <a:lnTo>
                      <a:pt x="852" y="1140"/>
                    </a:lnTo>
                    <a:lnTo>
                      <a:pt x="846" y="1140"/>
                    </a:lnTo>
                    <a:lnTo>
                      <a:pt x="840" y="1140"/>
                    </a:lnTo>
                    <a:lnTo>
                      <a:pt x="834" y="1140"/>
                    </a:lnTo>
                    <a:lnTo>
                      <a:pt x="834" y="1134"/>
                    </a:lnTo>
                    <a:lnTo>
                      <a:pt x="828" y="1134"/>
                    </a:lnTo>
                    <a:lnTo>
                      <a:pt x="828" y="1140"/>
                    </a:lnTo>
                    <a:lnTo>
                      <a:pt x="822" y="1140"/>
                    </a:lnTo>
                    <a:lnTo>
                      <a:pt x="816" y="1140"/>
                    </a:lnTo>
                    <a:lnTo>
                      <a:pt x="810" y="1140"/>
                    </a:lnTo>
                    <a:lnTo>
                      <a:pt x="804" y="1140"/>
                    </a:lnTo>
                    <a:lnTo>
                      <a:pt x="798" y="1140"/>
                    </a:lnTo>
                    <a:lnTo>
                      <a:pt x="792" y="1140"/>
                    </a:lnTo>
                    <a:lnTo>
                      <a:pt x="792" y="1134"/>
                    </a:lnTo>
                    <a:lnTo>
                      <a:pt x="792" y="1128"/>
                    </a:lnTo>
                    <a:lnTo>
                      <a:pt x="792" y="1122"/>
                    </a:lnTo>
                    <a:lnTo>
                      <a:pt x="786" y="1122"/>
                    </a:lnTo>
                    <a:lnTo>
                      <a:pt x="780" y="1122"/>
                    </a:lnTo>
                    <a:lnTo>
                      <a:pt x="774" y="1128"/>
                    </a:lnTo>
                    <a:lnTo>
                      <a:pt x="768" y="1128"/>
                    </a:lnTo>
                    <a:lnTo>
                      <a:pt x="768" y="1134"/>
                    </a:lnTo>
                    <a:lnTo>
                      <a:pt x="762" y="1134"/>
                    </a:lnTo>
                    <a:lnTo>
                      <a:pt x="756" y="1134"/>
                    </a:lnTo>
                    <a:lnTo>
                      <a:pt x="756" y="1128"/>
                    </a:lnTo>
                    <a:lnTo>
                      <a:pt x="750" y="1128"/>
                    </a:lnTo>
                    <a:lnTo>
                      <a:pt x="750" y="1122"/>
                    </a:lnTo>
                    <a:lnTo>
                      <a:pt x="744" y="1122"/>
                    </a:lnTo>
                    <a:lnTo>
                      <a:pt x="744" y="1128"/>
                    </a:lnTo>
                    <a:lnTo>
                      <a:pt x="744" y="1122"/>
                    </a:lnTo>
                    <a:lnTo>
                      <a:pt x="738" y="1122"/>
                    </a:lnTo>
                    <a:lnTo>
                      <a:pt x="738" y="1116"/>
                    </a:lnTo>
                    <a:lnTo>
                      <a:pt x="732" y="1116"/>
                    </a:lnTo>
                    <a:lnTo>
                      <a:pt x="726" y="1116"/>
                    </a:lnTo>
                    <a:lnTo>
                      <a:pt x="726" y="1110"/>
                    </a:lnTo>
                    <a:lnTo>
                      <a:pt x="720" y="1110"/>
                    </a:lnTo>
                    <a:lnTo>
                      <a:pt x="714" y="1110"/>
                    </a:lnTo>
                    <a:lnTo>
                      <a:pt x="708" y="1110"/>
                    </a:lnTo>
                    <a:lnTo>
                      <a:pt x="702" y="1110"/>
                    </a:lnTo>
                    <a:lnTo>
                      <a:pt x="702" y="1116"/>
                    </a:lnTo>
                    <a:lnTo>
                      <a:pt x="696" y="1116"/>
                    </a:lnTo>
                    <a:lnTo>
                      <a:pt x="696" y="1122"/>
                    </a:lnTo>
                    <a:lnTo>
                      <a:pt x="690" y="1122"/>
                    </a:lnTo>
                    <a:lnTo>
                      <a:pt x="684" y="1122"/>
                    </a:lnTo>
                    <a:lnTo>
                      <a:pt x="678" y="1122"/>
                    </a:lnTo>
                    <a:lnTo>
                      <a:pt x="672" y="1122"/>
                    </a:lnTo>
                    <a:lnTo>
                      <a:pt x="672" y="1116"/>
                    </a:lnTo>
                    <a:lnTo>
                      <a:pt x="666" y="1116"/>
                    </a:lnTo>
                    <a:lnTo>
                      <a:pt x="660" y="1116"/>
                    </a:lnTo>
                    <a:lnTo>
                      <a:pt x="654" y="1116"/>
                    </a:lnTo>
                    <a:lnTo>
                      <a:pt x="648" y="1116"/>
                    </a:lnTo>
                    <a:lnTo>
                      <a:pt x="642" y="1116"/>
                    </a:lnTo>
                    <a:lnTo>
                      <a:pt x="642" y="1110"/>
                    </a:lnTo>
                    <a:lnTo>
                      <a:pt x="642" y="1104"/>
                    </a:lnTo>
                    <a:lnTo>
                      <a:pt x="636" y="1104"/>
                    </a:lnTo>
                    <a:lnTo>
                      <a:pt x="630" y="1104"/>
                    </a:lnTo>
                    <a:lnTo>
                      <a:pt x="624" y="1104"/>
                    </a:lnTo>
                    <a:lnTo>
                      <a:pt x="624" y="1110"/>
                    </a:lnTo>
                    <a:lnTo>
                      <a:pt x="618" y="1110"/>
                    </a:lnTo>
                    <a:lnTo>
                      <a:pt x="612" y="1110"/>
                    </a:lnTo>
                    <a:lnTo>
                      <a:pt x="606" y="1110"/>
                    </a:lnTo>
                    <a:lnTo>
                      <a:pt x="606" y="1116"/>
                    </a:lnTo>
                    <a:lnTo>
                      <a:pt x="600" y="1116"/>
                    </a:lnTo>
                    <a:lnTo>
                      <a:pt x="594" y="1116"/>
                    </a:lnTo>
                    <a:lnTo>
                      <a:pt x="588" y="1116"/>
                    </a:lnTo>
                    <a:lnTo>
                      <a:pt x="588" y="1122"/>
                    </a:lnTo>
                    <a:lnTo>
                      <a:pt x="582" y="1122"/>
                    </a:lnTo>
                    <a:lnTo>
                      <a:pt x="582" y="1128"/>
                    </a:lnTo>
                    <a:lnTo>
                      <a:pt x="576" y="1128"/>
                    </a:lnTo>
                    <a:lnTo>
                      <a:pt x="570" y="1128"/>
                    </a:lnTo>
                    <a:lnTo>
                      <a:pt x="564" y="1128"/>
                    </a:lnTo>
                    <a:lnTo>
                      <a:pt x="564" y="1134"/>
                    </a:lnTo>
                    <a:lnTo>
                      <a:pt x="558" y="1134"/>
                    </a:lnTo>
                    <a:lnTo>
                      <a:pt x="558" y="1140"/>
                    </a:lnTo>
                    <a:lnTo>
                      <a:pt x="552" y="1140"/>
                    </a:lnTo>
                    <a:lnTo>
                      <a:pt x="546" y="1140"/>
                    </a:lnTo>
                    <a:lnTo>
                      <a:pt x="546" y="1134"/>
                    </a:lnTo>
                    <a:lnTo>
                      <a:pt x="540" y="1134"/>
                    </a:lnTo>
                    <a:lnTo>
                      <a:pt x="534" y="1134"/>
                    </a:lnTo>
                    <a:lnTo>
                      <a:pt x="528" y="1134"/>
                    </a:lnTo>
                    <a:lnTo>
                      <a:pt x="522" y="1134"/>
                    </a:lnTo>
                    <a:lnTo>
                      <a:pt x="516" y="1140"/>
                    </a:lnTo>
                    <a:lnTo>
                      <a:pt x="510" y="1140"/>
                    </a:lnTo>
                    <a:lnTo>
                      <a:pt x="510" y="1134"/>
                    </a:lnTo>
                    <a:lnTo>
                      <a:pt x="504" y="1134"/>
                    </a:lnTo>
                    <a:lnTo>
                      <a:pt x="498" y="1134"/>
                    </a:lnTo>
                    <a:lnTo>
                      <a:pt x="492" y="1134"/>
                    </a:lnTo>
                    <a:lnTo>
                      <a:pt x="492" y="1128"/>
                    </a:lnTo>
                    <a:lnTo>
                      <a:pt x="486" y="1128"/>
                    </a:lnTo>
                    <a:lnTo>
                      <a:pt x="486" y="1134"/>
                    </a:lnTo>
                    <a:lnTo>
                      <a:pt x="480" y="1134"/>
                    </a:lnTo>
                    <a:lnTo>
                      <a:pt x="474" y="1134"/>
                    </a:lnTo>
                    <a:lnTo>
                      <a:pt x="468" y="1134"/>
                    </a:lnTo>
                    <a:lnTo>
                      <a:pt x="468" y="1140"/>
                    </a:lnTo>
                    <a:lnTo>
                      <a:pt x="462" y="1140"/>
                    </a:lnTo>
                    <a:lnTo>
                      <a:pt x="462" y="1146"/>
                    </a:lnTo>
                    <a:lnTo>
                      <a:pt x="462" y="1152"/>
                    </a:lnTo>
                    <a:lnTo>
                      <a:pt x="456" y="1152"/>
                    </a:lnTo>
                    <a:lnTo>
                      <a:pt x="456" y="1158"/>
                    </a:lnTo>
                    <a:lnTo>
                      <a:pt x="450" y="1164"/>
                    </a:lnTo>
                    <a:lnTo>
                      <a:pt x="444" y="1164"/>
                    </a:lnTo>
                    <a:lnTo>
                      <a:pt x="444" y="1158"/>
                    </a:lnTo>
                    <a:lnTo>
                      <a:pt x="438" y="1158"/>
                    </a:lnTo>
                    <a:lnTo>
                      <a:pt x="432" y="1158"/>
                    </a:lnTo>
                    <a:lnTo>
                      <a:pt x="426" y="1158"/>
                    </a:lnTo>
                    <a:lnTo>
                      <a:pt x="420" y="1158"/>
                    </a:lnTo>
                    <a:lnTo>
                      <a:pt x="420" y="1164"/>
                    </a:lnTo>
                    <a:lnTo>
                      <a:pt x="420" y="1170"/>
                    </a:lnTo>
                    <a:lnTo>
                      <a:pt x="414" y="1170"/>
                    </a:lnTo>
                    <a:lnTo>
                      <a:pt x="408" y="1170"/>
                    </a:lnTo>
                    <a:lnTo>
                      <a:pt x="408" y="1176"/>
                    </a:lnTo>
                    <a:lnTo>
                      <a:pt x="402" y="1176"/>
                    </a:lnTo>
                    <a:lnTo>
                      <a:pt x="396" y="1176"/>
                    </a:lnTo>
                    <a:lnTo>
                      <a:pt x="390" y="1176"/>
                    </a:lnTo>
                    <a:lnTo>
                      <a:pt x="390" y="1170"/>
                    </a:lnTo>
                    <a:lnTo>
                      <a:pt x="390" y="1164"/>
                    </a:lnTo>
                    <a:lnTo>
                      <a:pt x="390" y="1158"/>
                    </a:lnTo>
                    <a:lnTo>
                      <a:pt x="384" y="1158"/>
                    </a:lnTo>
                    <a:lnTo>
                      <a:pt x="384" y="1152"/>
                    </a:lnTo>
                    <a:lnTo>
                      <a:pt x="378" y="1152"/>
                    </a:lnTo>
                    <a:lnTo>
                      <a:pt x="378" y="1146"/>
                    </a:lnTo>
                    <a:lnTo>
                      <a:pt x="372" y="1146"/>
                    </a:lnTo>
                    <a:lnTo>
                      <a:pt x="372" y="1140"/>
                    </a:lnTo>
                    <a:lnTo>
                      <a:pt x="372" y="1134"/>
                    </a:lnTo>
                    <a:lnTo>
                      <a:pt x="366" y="1134"/>
                    </a:lnTo>
                    <a:lnTo>
                      <a:pt x="366" y="1128"/>
                    </a:lnTo>
                    <a:lnTo>
                      <a:pt x="360" y="1122"/>
                    </a:lnTo>
                    <a:lnTo>
                      <a:pt x="354" y="1116"/>
                    </a:lnTo>
                    <a:lnTo>
                      <a:pt x="360" y="1116"/>
                    </a:lnTo>
                    <a:lnTo>
                      <a:pt x="360" y="1110"/>
                    </a:lnTo>
                    <a:lnTo>
                      <a:pt x="354" y="1110"/>
                    </a:lnTo>
                    <a:lnTo>
                      <a:pt x="354" y="1104"/>
                    </a:lnTo>
                    <a:lnTo>
                      <a:pt x="354" y="1098"/>
                    </a:lnTo>
                    <a:lnTo>
                      <a:pt x="348" y="1098"/>
                    </a:lnTo>
                    <a:lnTo>
                      <a:pt x="348" y="1092"/>
                    </a:lnTo>
                    <a:lnTo>
                      <a:pt x="348" y="1086"/>
                    </a:lnTo>
                    <a:lnTo>
                      <a:pt x="342" y="1086"/>
                    </a:lnTo>
                    <a:lnTo>
                      <a:pt x="336" y="1086"/>
                    </a:lnTo>
                    <a:lnTo>
                      <a:pt x="336" y="1080"/>
                    </a:lnTo>
                    <a:lnTo>
                      <a:pt x="330" y="1080"/>
                    </a:lnTo>
                    <a:lnTo>
                      <a:pt x="324" y="1080"/>
                    </a:lnTo>
                    <a:lnTo>
                      <a:pt x="318" y="1080"/>
                    </a:lnTo>
                    <a:lnTo>
                      <a:pt x="312" y="1080"/>
                    </a:lnTo>
                    <a:lnTo>
                      <a:pt x="312" y="1074"/>
                    </a:lnTo>
                    <a:lnTo>
                      <a:pt x="312" y="1068"/>
                    </a:lnTo>
                    <a:lnTo>
                      <a:pt x="306" y="1068"/>
                    </a:lnTo>
                    <a:lnTo>
                      <a:pt x="300" y="1068"/>
                    </a:lnTo>
                    <a:lnTo>
                      <a:pt x="300" y="1062"/>
                    </a:lnTo>
                    <a:lnTo>
                      <a:pt x="294" y="1062"/>
                    </a:lnTo>
                    <a:lnTo>
                      <a:pt x="288" y="1062"/>
                    </a:lnTo>
                    <a:lnTo>
                      <a:pt x="288" y="1056"/>
                    </a:lnTo>
                    <a:lnTo>
                      <a:pt x="282" y="1056"/>
                    </a:lnTo>
                    <a:lnTo>
                      <a:pt x="282" y="1050"/>
                    </a:lnTo>
                    <a:lnTo>
                      <a:pt x="276" y="1050"/>
                    </a:lnTo>
                    <a:lnTo>
                      <a:pt x="276" y="1044"/>
                    </a:lnTo>
                    <a:lnTo>
                      <a:pt x="270" y="1044"/>
                    </a:lnTo>
                    <a:lnTo>
                      <a:pt x="264" y="1044"/>
                    </a:lnTo>
                    <a:lnTo>
                      <a:pt x="258" y="1044"/>
                    </a:lnTo>
                    <a:lnTo>
                      <a:pt x="252" y="1044"/>
                    </a:lnTo>
                    <a:lnTo>
                      <a:pt x="252" y="1050"/>
                    </a:lnTo>
                    <a:lnTo>
                      <a:pt x="246" y="1050"/>
                    </a:lnTo>
                    <a:lnTo>
                      <a:pt x="246" y="1044"/>
                    </a:lnTo>
                    <a:lnTo>
                      <a:pt x="240" y="1044"/>
                    </a:lnTo>
                    <a:lnTo>
                      <a:pt x="240" y="1038"/>
                    </a:lnTo>
                    <a:lnTo>
                      <a:pt x="240" y="1032"/>
                    </a:lnTo>
                    <a:lnTo>
                      <a:pt x="240" y="1026"/>
                    </a:lnTo>
                    <a:lnTo>
                      <a:pt x="234" y="1026"/>
                    </a:lnTo>
                    <a:lnTo>
                      <a:pt x="234" y="1020"/>
                    </a:lnTo>
                    <a:lnTo>
                      <a:pt x="234" y="1014"/>
                    </a:lnTo>
                    <a:lnTo>
                      <a:pt x="228" y="1008"/>
                    </a:lnTo>
                    <a:lnTo>
                      <a:pt x="222" y="1008"/>
                    </a:lnTo>
                    <a:lnTo>
                      <a:pt x="216" y="1002"/>
                    </a:lnTo>
                    <a:lnTo>
                      <a:pt x="216" y="996"/>
                    </a:lnTo>
                    <a:lnTo>
                      <a:pt x="210" y="996"/>
                    </a:lnTo>
                    <a:lnTo>
                      <a:pt x="204" y="996"/>
                    </a:lnTo>
                    <a:lnTo>
                      <a:pt x="198" y="996"/>
                    </a:lnTo>
                    <a:lnTo>
                      <a:pt x="198" y="1002"/>
                    </a:lnTo>
                    <a:lnTo>
                      <a:pt x="192" y="1002"/>
                    </a:lnTo>
                    <a:lnTo>
                      <a:pt x="186" y="1002"/>
                    </a:lnTo>
                    <a:lnTo>
                      <a:pt x="180" y="1008"/>
                    </a:lnTo>
                    <a:lnTo>
                      <a:pt x="180" y="1014"/>
                    </a:lnTo>
                    <a:lnTo>
                      <a:pt x="174" y="1014"/>
                    </a:lnTo>
                    <a:lnTo>
                      <a:pt x="174" y="1008"/>
                    </a:lnTo>
                    <a:lnTo>
                      <a:pt x="168" y="1008"/>
                    </a:lnTo>
                    <a:lnTo>
                      <a:pt x="162" y="1008"/>
                    </a:lnTo>
                    <a:lnTo>
                      <a:pt x="156" y="1008"/>
                    </a:lnTo>
                    <a:lnTo>
                      <a:pt x="156" y="1002"/>
                    </a:lnTo>
                    <a:lnTo>
                      <a:pt x="150" y="1002"/>
                    </a:lnTo>
                    <a:lnTo>
                      <a:pt x="144" y="1002"/>
                    </a:lnTo>
                    <a:lnTo>
                      <a:pt x="144" y="996"/>
                    </a:lnTo>
                    <a:lnTo>
                      <a:pt x="138" y="996"/>
                    </a:lnTo>
                    <a:lnTo>
                      <a:pt x="132" y="996"/>
                    </a:lnTo>
                    <a:lnTo>
                      <a:pt x="132" y="990"/>
                    </a:lnTo>
                    <a:lnTo>
                      <a:pt x="126" y="990"/>
                    </a:lnTo>
                    <a:lnTo>
                      <a:pt x="126" y="984"/>
                    </a:lnTo>
                    <a:lnTo>
                      <a:pt x="120" y="984"/>
                    </a:lnTo>
                    <a:lnTo>
                      <a:pt x="114" y="984"/>
                    </a:lnTo>
                    <a:lnTo>
                      <a:pt x="114" y="978"/>
                    </a:lnTo>
                    <a:lnTo>
                      <a:pt x="108" y="978"/>
                    </a:lnTo>
                    <a:lnTo>
                      <a:pt x="102" y="978"/>
                    </a:lnTo>
                    <a:lnTo>
                      <a:pt x="102" y="984"/>
                    </a:lnTo>
                    <a:lnTo>
                      <a:pt x="96" y="984"/>
                    </a:lnTo>
                    <a:lnTo>
                      <a:pt x="96" y="990"/>
                    </a:lnTo>
                    <a:lnTo>
                      <a:pt x="102" y="990"/>
                    </a:lnTo>
                    <a:lnTo>
                      <a:pt x="108" y="990"/>
                    </a:lnTo>
                    <a:lnTo>
                      <a:pt x="108" y="996"/>
                    </a:lnTo>
                    <a:lnTo>
                      <a:pt x="102" y="996"/>
                    </a:lnTo>
                    <a:lnTo>
                      <a:pt x="96" y="996"/>
                    </a:lnTo>
                    <a:lnTo>
                      <a:pt x="90" y="996"/>
                    </a:lnTo>
                    <a:lnTo>
                      <a:pt x="90" y="1002"/>
                    </a:lnTo>
                    <a:lnTo>
                      <a:pt x="84" y="1002"/>
                    </a:lnTo>
                    <a:lnTo>
                      <a:pt x="84" y="1008"/>
                    </a:lnTo>
                    <a:lnTo>
                      <a:pt x="78" y="1008"/>
                    </a:lnTo>
                    <a:lnTo>
                      <a:pt x="78" y="1014"/>
                    </a:lnTo>
                    <a:lnTo>
                      <a:pt x="72" y="1014"/>
                    </a:lnTo>
                    <a:lnTo>
                      <a:pt x="72" y="1008"/>
                    </a:lnTo>
                    <a:lnTo>
                      <a:pt x="78" y="1008"/>
                    </a:lnTo>
                    <a:lnTo>
                      <a:pt x="78" y="1002"/>
                    </a:lnTo>
                    <a:lnTo>
                      <a:pt x="78" y="996"/>
                    </a:lnTo>
                    <a:lnTo>
                      <a:pt x="72" y="996"/>
                    </a:lnTo>
                    <a:lnTo>
                      <a:pt x="66" y="990"/>
                    </a:lnTo>
                    <a:lnTo>
                      <a:pt x="66" y="984"/>
                    </a:lnTo>
                    <a:lnTo>
                      <a:pt x="60" y="984"/>
                    </a:lnTo>
                    <a:lnTo>
                      <a:pt x="60" y="978"/>
                    </a:lnTo>
                    <a:lnTo>
                      <a:pt x="54" y="978"/>
                    </a:lnTo>
                    <a:lnTo>
                      <a:pt x="48" y="978"/>
                    </a:lnTo>
                    <a:lnTo>
                      <a:pt x="48" y="984"/>
                    </a:lnTo>
                    <a:lnTo>
                      <a:pt x="42" y="984"/>
                    </a:lnTo>
                    <a:lnTo>
                      <a:pt x="42" y="990"/>
                    </a:lnTo>
                    <a:lnTo>
                      <a:pt x="42" y="984"/>
                    </a:lnTo>
                    <a:lnTo>
                      <a:pt x="36" y="984"/>
                    </a:lnTo>
                    <a:lnTo>
                      <a:pt x="36" y="978"/>
                    </a:lnTo>
                    <a:lnTo>
                      <a:pt x="36" y="972"/>
                    </a:lnTo>
                    <a:lnTo>
                      <a:pt x="30" y="966"/>
                    </a:lnTo>
                    <a:lnTo>
                      <a:pt x="24" y="966"/>
                    </a:lnTo>
                    <a:lnTo>
                      <a:pt x="18" y="966"/>
                    </a:lnTo>
                    <a:lnTo>
                      <a:pt x="12" y="966"/>
                    </a:lnTo>
                    <a:lnTo>
                      <a:pt x="6" y="966"/>
                    </a:lnTo>
                    <a:lnTo>
                      <a:pt x="6" y="960"/>
                    </a:lnTo>
                    <a:lnTo>
                      <a:pt x="0" y="960"/>
                    </a:lnTo>
                    <a:lnTo>
                      <a:pt x="0" y="954"/>
                    </a:lnTo>
                    <a:lnTo>
                      <a:pt x="6" y="948"/>
                    </a:lnTo>
                    <a:lnTo>
                      <a:pt x="0" y="942"/>
                    </a:lnTo>
                    <a:lnTo>
                      <a:pt x="0" y="930"/>
                    </a:lnTo>
                    <a:lnTo>
                      <a:pt x="12" y="930"/>
                    </a:lnTo>
                    <a:lnTo>
                      <a:pt x="12" y="924"/>
                    </a:lnTo>
                    <a:lnTo>
                      <a:pt x="30" y="918"/>
                    </a:lnTo>
                    <a:lnTo>
                      <a:pt x="24" y="906"/>
                    </a:lnTo>
                    <a:lnTo>
                      <a:pt x="18" y="906"/>
                    </a:lnTo>
                    <a:lnTo>
                      <a:pt x="30" y="882"/>
                    </a:lnTo>
                    <a:lnTo>
                      <a:pt x="42" y="882"/>
                    </a:lnTo>
                    <a:lnTo>
                      <a:pt x="42" y="876"/>
                    </a:lnTo>
                    <a:lnTo>
                      <a:pt x="54" y="876"/>
                    </a:lnTo>
                    <a:lnTo>
                      <a:pt x="60" y="864"/>
                    </a:lnTo>
                    <a:lnTo>
                      <a:pt x="72" y="864"/>
                    </a:lnTo>
                    <a:lnTo>
                      <a:pt x="72" y="852"/>
                    </a:lnTo>
                    <a:lnTo>
                      <a:pt x="84" y="840"/>
                    </a:lnTo>
                    <a:lnTo>
                      <a:pt x="90" y="840"/>
                    </a:lnTo>
                    <a:lnTo>
                      <a:pt x="102" y="846"/>
                    </a:lnTo>
                    <a:lnTo>
                      <a:pt x="108" y="834"/>
                    </a:lnTo>
                    <a:lnTo>
                      <a:pt x="144" y="834"/>
                    </a:lnTo>
                    <a:lnTo>
                      <a:pt x="144" y="810"/>
                    </a:lnTo>
                    <a:lnTo>
                      <a:pt x="180" y="798"/>
                    </a:lnTo>
                    <a:lnTo>
                      <a:pt x="168" y="774"/>
                    </a:lnTo>
                    <a:lnTo>
                      <a:pt x="168" y="768"/>
                    </a:lnTo>
                    <a:lnTo>
                      <a:pt x="162" y="774"/>
                    </a:lnTo>
                    <a:lnTo>
                      <a:pt x="156" y="768"/>
                    </a:lnTo>
                    <a:lnTo>
                      <a:pt x="150" y="768"/>
                    </a:lnTo>
                    <a:lnTo>
                      <a:pt x="144" y="768"/>
                    </a:lnTo>
                    <a:lnTo>
                      <a:pt x="126" y="780"/>
                    </a:lnTo>
                    <a:lnTo>
                      <a:pt x="114" y="774"/>
                    </a:lnTo>
                    <a:lnTo>
                      <a:pt x="114" y="768"/>
                    </a:lnTo>
                    <a:lnTo>
                      <a:pt x="102" y="762"/>
                    </a:lnTo>
                    <a:lnTo>
                      <a:pt x="102" y="744"/>
                    </a:lnTo>
                    <a:lnTo>
                      <a:pt x="78" y="732"/>
                    </a:lnTo>
                    <a:lnTo>
                      <a:pt x="78" y="726"/>
                    </a:lnTo>
                    <a:lnTo>
                      <a:pt x="78" y="720"/>
                    </a:lnTo>
                    <a:lnTo>
                      <a:pt x="72" y="720"/>
                    </a:lnTo>
                    <a:lnTo>
                      <a:pt x="72" y="714"/>
                    </a:lnTo>
                    <a:lnTo>
                      <a:pt x="72" y="708"/>
                    </a:lnTo>
                    <a:lnTo>
                      <a:pt x="72" y="702"/>
                    </a:lnTo>
                    <a:lnTo>
                      <a:pt x="66" y="702"/>
                    </a:lnTo>
                    <a:lnTo>
                      <a:pt x="66" y="696"/>
                    </a:lnTo>
                    <a:lnTo>
                      <a:pt x="60" y="696"/>
                    </a:lnTo>
                    <a:lnTo>
                      <a:pt x="60" y="690"/>
                    </a:lnTo>
                    <a:lnTo>
                      <a:pt x="60" y="684"/>
                    </a:lnTo>
                    <a:lnTo>
                      <a:pt x="60" y="678"/>
                    </a:lnTo>
                    <a:lnTo>
                      <a:pt x="66" y="678"/>
                    </a:lnTo>
                    <a:lnTo>
                      <a:pt x="72" y="678"/>
                    </a:lnTo>
                    <a:lnTo>
                      <a:pt x="78" y="678"/>
                    </a:lnTo>
                    <a:lnTo>
                      <a:pt x="78" y="672"/>
                    </a:lnTo>
                    <a:lnTo>
                      <a:pt x="84" y="672"/>
                    </a:lnTo>
                    <a:lnTo>
                      <a:pt x="84" y="678"/>
                    </a:lnTo>
                    <a:lnTo>
                      <a:pt x="90" y="678"/>
                    </a:lnTo>
                    <a:lnTo>
                      <a:pt x="90" y="672"/>
                    </a:lnTo>
                    <a:lnTo>
                      <a:pt x="96" y="666"/>
                    </a:lnTo>
                    <a:lnTo>
                      <a:pt x="96" y="660"/>
                    </a:lnTo>
                    <a:lnTo>
                      <a:pt x="102" y="654"/>
                    </a:lnTo>
                    <a:lnTo>
                      <a:pt x="108" y="648"/>
                    </a:lnTo>
                    <a:lnTo>
                      <a:pt x="114" y="648"/>
                    </a:lnTo>
                    <a:lnTo>
                      <a:pt x="120" y="654"/>
                    </a:lnTo>
                    <a:lnTo>
                      <a:pt x="126" y="654"/>
                    </a:lnTo>
                    <a:lnTo>
                      <a:pt x="132" y="654"/>
                    </a:lnTo>
                    <a:lnTo>
                      <a:pt x="144" y="660"/>
                    </a:lnTo>
                    <a:lnTo>
                      <a:pt x="144" y="654"/>
                    </a:lnTo>
                    <a:lnTo>
                      <a:pt x="150" y="654"/>
                    </a:lnTo>
                    <a:lnTo>
                      <a:pt x="150" y="660"/>
                    </a:lnTo>
                    <a:lnTo>
                      <a:pt x="150" y="666"/>
                    </a:lnTo>
                    <a:lnTo>
                      <a:pt x="156" y="666"/>
                    </a:lnTo>
                    <a:lnTo>
                      <a:pt x="156" y="660"/>
                    </a:lnTo>
                    <a:lnTo>
                      <a:pt x="168" y="660"/>
                    </a:lnTo>
                    <a:lnTo>
                      <a:pt x="174" y="666"/>
                    </a:lnTo>
                    <a:lnTo>
                      <a:pt x="186" y="606"/>
                    </a:lnTo>
                    <a:lnTo>
                      <a:pt x="204" y="612"/>
                    </a:lnTo>
                    <a:lnTo>
                      <a:pt x="210" y="594"/>
                    </a:lnTo>
                    <a:lnTo>
                      <a:pt x="204" y="594"/>
                    </a:lnTo>
                    <a:lnTo>
                      <a:pt x="222" y="564"/>
                    </a:lnTo>
                    <a:lnTo>
                      <a:pt x="210" y="558"/>
                    </a:lnTo>
                    <a:lnTo>
                      <a:pt x="216" y="546"/>
                    </a:lnTo>
                    <a:lnTo>
                      <a:pt x="246" y="534"/>
                    </a:lnTo>
                    <a:lnTo>
                      <a:pt x="240" y="522"/>
                    </a:lnTo>
                    <a:lnTo>
                      <a:pt x="240" y="504"/>
                    </a:lnTo>
                    <a:lnTo>
                      <a:pt x="228" y="510"/>
                    </a:lnTo>
                    <a:lnTo>
                      <a:pt x="210" y="516"/>
                    </a:lnTo>
                    <a:lnTo>
                      <a:pt x="204" y="516"/>
                    </a:lnTo>
                    <a:lnTo>
                      <a:pt x="192" y="528"/>
                    </a:lnTo>
                    <a:lnTo>
                      <a:pt x="186" y="534"/>
                    </a:lnTo>
                    <a:lnTo>
                      <a:pt x="186" y="540"/>
                    </a:lnTo>
                    <a:lnTo>
                      <a:pt x="180" y="546"/>
                    </a:lnTo>
                    <a:lnTo>
                      <a:pt x="174" y="552"/>
                    </a:lnTo>
                    <a:lnTo>
                      <a:pt x="168" y="552"/>
                    </a:lnTo>
                    <a:lnTo>
                      <a:pt x="126" y="546"/>
                    </a:lnTo>
                    <a:lnTo>
                      <a:pt x="126" y="540"/>
                    </a:lnTo>
                    <a:lnTo>
                      <a:pt x="120" y="534"/>
                    </a:lnTo>
                    <a:lnTo>
                      <a:pt x="120" y="516"/>
                    </a:lnTo>
                    <a:lnTo>
                      <a:pt x="120" y="510"/>
                    </a:lnTo>
                    <a:lnTo>
                      <a:pt x="114" y="504"/>
                    </a:lnTo>
                    <a:lnTo>
                      <a:pt x="114" y="498"/>
                    </a:lnTo>
                    <a:lnTo>
                      <a:pt x="114" y="486"/>
                    </a:lnTo>
                    <a:lnTo>
                      <a:pt x="120" y="480"/>
                    </a:lnTo>
                    <a:lnTo>
                      <a:pt x="120" y="474"/>
                    </a:lnTo>
                    <a:lnTo>
                      <a:pt x="114" y="474"/>
                    </a:lnTo>
                    <a:lnTo>
                      <a:pt x="114" y="468"/>
                    </a:lnTo>
                    <a:lnTo>
                      <a:pt x="114" y="462"/>
                    </a:lnTo>
                    <a:lnTo>
                      <a:pt x="120" y="456"/>
                    </a:lnTo>
                    <a:lnTo>
                      <a:pt x="120" y="450"/>
                    </a:lnTo>
                    <a:lnTo>
                      <a:pt x="120" y="438"/>
                    </a:lnTo>
                    <a:lnTo>
                      <a:pt x="120" y="432"/>
                    </a:lnTo>
                    <a:lnTo>
                      <a:pt x="120" y="426"/>
                    </a:lnTo>
                    <a:lnTo>
                      <a:pt x="126" y="420"/>
                    </a:lnTo>
                    <a:lnTo>
                      <a:pt x="126" y="402"/>
                    </a:lnTo>
                    <a:lnTo>
                      <a:pt x="144" y="402"/>
                    </a:lnTo>
                    <a:lnTo>
                      <a:pt x="156" y="396"/>
                    </a:lnTo>
                    <a:lnTo>
                      <a:pt x="162" y="390"/>
                    </a:lnTo>
                    <a:lnTo>
                      <a:pt x="162" y="384"/>
                    </a:lnTo>
                    <a:lnTo>
                      <a:pt x="162" y="378"/>
                    </a:lnTo>
                    <a:lnTo>
                      <a:pt x="156" y="366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66"/>
                    </a:lnTo>
                    <a:lnTo>
                      <a:pt x="78" y="378"/>
                    </a:lnTo>
                    <a:lnTo>
                      <a:pt x="78" y="384"/>
                    </a:lnTo>
                    <a:lnTo>
                      <a:pt x="72" y="384"/>
                    </a:lnTo>
                    <a:lnTo>
                      <a:pt x="60" y="384"/>
                    </a:lnTo>
                    <a:lnTo>
                      <a:pt x="42" y="390"/>
                    </a:lnTo>
                    <a:lnTo>
                      <a:pt x="36" y="390"/>
                    </a:lnTo>
                    <a:lnTo>
                      <a:pt x="36" y="378"/>
                    </a:lnTo>
                    <a:lnTo>
                      <a:pt x="36" y="372"/>
                    </a:lnTo>
                    <a:lnTo>
                      <a:pt x="36" y="366"/>
                    </a:lnTo>
                    <a:lnTo>
                      <a:pt x="42" y="366"/>
                    </a:lnTo>
                    <a:lnTo>
                      <a:pt x="54" y="360"/>
                    </a:lnTo>
                    <a:lnTo>
                      <a:pt x="66" y="360"/>
                    </a:lnTo>
                    <a:lnTo>
                      <a:pt x="66" y="348"/>
                    </a:lnTo>
                    <a:lnTo>
                      <a:pt x="72" y="348"/>
                    </a:lnTo>
                    <a:lnTo>
                      <a:pt x="84" y="348"/>
                    </a:lnTo>
                    <a:lnTo>
                      <a:pt x="108" y="342"/>
                    </a:lnTo>
                    <a:lnTo>
                      <a:pt x="114" y="342"/>
                    </a:lnTo>
                    <a:lnTo>
                      <a:pt x="114" y="324"/>
                    </a:lnTo>
                    <a:lnTo>
                      <a:pt x="108" y="324"/>
                    </a:lnTo>
                    <a:lnTo>
                      <a:pt x="108" y="318"/>
                    </a:lnTo>
                    <a:lnTo>
                      <a:pt x="114" y="312"/>
                    </a:lnTo>
                    <a:lnTo>
                      <a:pt x="120" y="312"/>
                    </a:lnTo>
                    <a:lnTo>
                      <a:pt x="126" y="306"/>
                    </a:lnTo>
                    <a:lnTo>
                      <a:pt x="132" y="306"/>
                    </a:lnTo>
                    <a:lnTo>
                      <a:pt x="138" y="306"/>
                    </a:lnTo>
                    <a:lnTo>
                      <a:pt x="144" y="300"/>
                    </a:lnTo>
                    <a:lnTo>
                      <a:pt x="150" y="294"/>
                    </a:lnTo>
                    <a:lnTo>
                      <a:pt x="156" y="294"/>
                    </a:lnTo>
                    <a:lnTo>
                      <a:pt x="168" y="294"/>
                    </a:lnTo>
                    <a:lnTo>
                      <a:pt x="174" y="294"/>
                    </a:lnTo>
                    <a:lnTo>
                      <a:pt x="180" y="294"/>
                    </a:lnTo>
                    <a:lnTo>
                      <a:pt x="186" y="294"/>
                    </a:lnTo>
                    <a:lnTo>
                      <a:pt x="192" y="294"/>
                    </a:lnTo>
                    <a:lnTo>
                      <a:pt x="198" y="294"/>
                    </a:lnTo>
                    <a:lnTo>
                      <a:pt x="204" y="294"/>
                    </a:lnTo>
                    <a:lnTo>
                      <a:pt x="210" y="294"/>
                    </a:lnTo>
                    <a:lnTo>
                      <a:pt x="216" y="300"/>
                    </a:lnTo>
                    <a:lnTo>
                      <a:pt x="210" y="270"/>
                    </a:lnTo>
                    <a:lnTo>
                      <a:pt x="222" y="276"/>
                    </a:lnTo>
                    <a:lnTo>
                      <a:pt x="234" y="276"/>
                    </a:lnTo>
                    <a:lnTo>
                      <a:pt x="240" y="276"/>
                    </a:lnTo>
                    <a:lnTo>
                      <a:pt x="246" y="282"/>
                    </a:lnTo>
                    <a:lnTo>
                      <a:pt x="258" y="312"/>
                    </a:lnTo>
                    <a:lnTo>
                      <a:pt x="276" y="306"/>
                    </a:lnTo>
                    <a:lnTo>
                      <a:pt x="294" y="300"/>
                    </a:lnTo>
                    <a:lnTo>
                      <a:pt x="288" y="288"/>
                    </a:lnTo>
                    <a:lnTo>
                      <a:pt x="294" y="288"/>
                    </a:lnTo>
                    <a:lnTo>
                      <a:pt x="294" y="282"/>
                    </a:lnTo>
                    <a:lnTo>
                      <a:pt x="294" y="276"/>
                    </a:lnTo>
                    <a:lnTo>
                      <a:pt x="300" y="270"/>
                    </a:lnTo>
                    <a:lnTo>
                      <a:pt x="294" y="264"/>
                    </a:lnTo>
                    <a:lnTo>
                      <a:pt x="312" y="258"/>
                    </a:lnTo>
                    <a:lnTo>
                      <a:pt x="324" y="264"/>
                    </a:lnTo>
                    <a:lnTo>
                      <a:pt x="348" y="264"/>
                    </a:lnTo>
                    <a:lnTo>
                      <a:pt x="348" y="276"/>
                    </a:lnTo>
                    <a:lnTo>
                      <a:pt x="348" y="282"/>
                    </a:lnTo>
                    <a:lnTo>
                      <a:pt x="348" y="288"/>
                    </a:lnTo>
                    <a:lnTo>
                      <a:pt x="354" y="294"/>
                    </a:lnTo>
                    <a:lnTo>
                      <a:pt x="354" y="300"/>
                    </a:lnTo>
                    <a:lnTo>
                      <a:pt x="354" y="306"/>
                    </a:lnTo>
                    <a:lnTo>
                      <a:pt x="354" y="312"/>
                    </a:lnTo>
                    <a:lnTo>
                      <a:pt x="348" y="312"/>
                    </a:lnTo>
                    <a:lnTo>
                      <a:pt x="348" y="318"/>
                    </a:lnTo>
                    <a:lnTo>
                      <a:pt x="342" y="318"/>
                    </a:lnTo>
                    <a:lnTo>
                      <a:pt x="342" y="324"/>
                    </a:lnTo>
                    <a:lnTo>
                      <a:pt x="348" y="324"/>
                    </a:lnTo>
                    <a:lnTo>
                      <a:pt x="354" y="318"/>
                    </a:lnTo>
                    <a:lnTo>
                      <a:pt x="360" y="318"/>
                    </a:lnTo>
                    <a:lnTo>
                      <a:pt x="366" y="318"/>
                    </a:lnTo>
                    <a:lnTo>
                      <a:pt x="366" y="324"/>
                    </a:lnTo>
                    <a:lnTo>
                      <a:pt x="366" y="330"/>
                    </a:lnTo>
                    <a:lnTo>
                      <a:pt x="378" y="336"/>
                    </a:lnTo>
                    <a:lnTo>
                      <a:pt x="378" y="342"/>
                    </a:lnTo>
                    <a:lnTo>
                      <a:pt x="378" y="348"/>
                    </a:lnTo>
                    <a:lnTo>
                      <a:pt x="384" y="354"/>
                    </a:lnTo>
                    <a:lnTo>
                      <a:pt x="384" y="360"/>
                    </a:lnTo>
                    <a:lnTo>
                      <a:pt x="390" y="354"/>
                    </a:lnTo>
                    <a:lnTo>
                      <a:pt x="396" y="360"/>
                    </a:lnTo>
                    <a:lnTo>
                      <a:pt x="402" y="372"/>
                    </a:lnTo>
                    <a:lnTo>
                      <a:pt x="408" y="378"/>
                    </a:lnTo>
                    <a:lnTo>
                      <a:pt x="408" y="384"/>
                    </a:lnTo>
                    <a:lnTo>
                      <a:pt x="432" y="390"/>
                    </a:lnTo>
                    <a:lnTo>
                      <a:pt x="456" y="396"/>
                    </a:lnTo>
                    <a:lnTo>
                      <a:pt x="462" y="396"/>
                    </a:lnTo>
                    <a:lnTo>
                      <a:pt x="474" y="384"/>
                    </a:lnTo>
                    <a:lnTo>
                      <a:pt x="474" y="378"/>
                    </a:lnTo>
                    <a:lnTo>
                      <a:pt x="486" y="372"/>
                    </a:lnTo>
                    <a:lnTo>
                      <a:pt x="486" y="366"/>
                    </a:lnTo>
                    <a:lnTo>
                      <a:pt x="480" y="354"/>
                    </a:lnTo>
                    <a:lnTo>
                      <a:pt x="474" y="348"/>
                    </a:lnTo>
                    <a:lnTo>
                      <a:pt x="468" y="348"/>
                    </a:lnTo>
                    <a:lnTo>
                      <a:pt x="468" y="336"/>
                    </a:lnTo>
                    <a:lnTo>
                      <a:pt x="492" y="336"/>
                    </a:lnTo>
                    <a:lnTo>
                      <a:pt x="492" y="330"/>
                    </a:lnTo>
                    <a:lnTo>
                      <a:pt x="492" y="324"/>
                    </a:lnTo>
                    <a:lnTo>
                      <a:pt x="504" y="312"/>
                    </a:lnTo>
                    <a:lnTo>
                      <a:pt x="516" y="306"/>
                    </a:lnTo>
                    <a:lnTo>
                      <a:pt x="522" y="300"/>
                    </a:lnTo>
                    <a:lnTo>
                      <a:pt x="570" y="264"/>
                    </a:lnTo>
                    <a:lnTo>
                      <a:pt x="588" y="264"/>
                    </a:lnTo>
                    <a:lnTo>
                      <a:pt x="588" y="252"/>
                    </a:lnTo>
                    <a:lnTo>
                      <a:pt x="594" y="240"/>
                    </a:lnTo>
                    <a:lnTo>
                      <a:pt x="576" y="228"/>
                    </a:lnTo>
                    <a:lnTo>
                      <a:pt x="582" y="216"/>
                    </a:lnTo>
                    <a:lnTo>
                      <a:pt x="576" y="192"/>
                    </a:lnTo>
                    <a:lnTo>
                      <a:pt x="600" y="192"/>
                    </a:lnTo>
                    <a:lnTo>
                      <a:pt x="606" y="192"/>
                    </a:lnTo>
                    <a:lnTo>
                      <a:pt x="612" y="198"/>
                    </a:lnTo>
                    <a:lnTo>
                      <a:pt x="618" y="204"/>
                    </a:lnTo>
                    <a:lnTo>
                      <a:pt x="618" y="180"/>
                    </a:lnTo>
                    <a:lnTo>
                      <a:pt x="636" y="192"/>
                    </a:lnTo>
                    <a:lnTo>
                      <a:pt x="654" y="192"/>
                    </a:lnTo>
                    <a:lnTo>
                      <a:pt x="660" y="180"/>
                    </a:lnTo>
                    <a:lnTo>
                      <a:pt x="672" y="186"/>
                    </a:lnTo>
                    <a:lnTo>
                      <a:pt x="708" y="198"/>
                    </a:lnTo>
                    <a:lnTo>
                      <a:pt x="720" y="216"/>
                    </a:lnTo>
                    <a:lnTo>
                      <a:pt x="732" y="198"/>
                    </a:lnTo>
                    <a:lnTo>
                      <a:pt x="738" y="198"/>
                    </a:lnTo>
                    <a:lnTo>
                      <a:pt x="738" y="192"/>
                    </a:lnTo>
                    <a:lnTo>
                      <a:pt x="738" y="186"/>
                    </a:lnTo>
                    <a:lnTo>
                      <a:pt x="738" y="174"/>
                    </a:lnTo>
                    <a:lnTo>
                      <a:pt x="744" y="174"/>
                    </a:lnTo>
                    <a:lnTo>
                      <a:pt x="750" y="180"/>
                    </a:lnTo>
                    <a:lnTo>
                      <a:pt x="774" y="174"/>
                    </a:lnTo>
                    <a:lnTo>
                      <a:pt x="774" y="162"/>
                    </a:lnTo>
                    <a:lnTo>
                      <a:pt x="786" y="162"/>
                    </a:lnTo>
                    <a:lnTo>
                      <a:pt x="792" y="162"/>
                    </a:lnTo>
                    <a:lnTo>
                      <a:pt x="804" y="168"/>
                    </a:lnTo>
                    <a:lnTo>
                      <a:pt x="810" y="174"/>
                    </a:lnTo>
                    <a:lnTo>
                      <a:pt x="816" y="180"/>
                    </a:lnTo>
                    <a:lnTo>
                      <a:pt x="816" y="186"/>
                    </a:lnTo>
                    <a:lnTo>
                      <a:pt x="810" y="192"/>
                    </a:lnTo>
                    <a:lnTo>
                      <a:pt x="804" y="198"/>
                    </a:lnTo>
                    <a:lnTo>
                      <a:pt x="810" y="210"/>
                    </a:lnTo>
                    <a:lnTo>
                      <a:pt x="816" y="210"/>
                    </a:lnTo>
                    <a:lnTo>
                      <a:pt x="828" y="210"/>
                    </a:lnTo>
                    <a:lnTo>
                      <a:pt x="828" y="222"/>
                    </a:lnTo>
                    <a:lnTo>
                      <a:pt x="828" y="228"/>
                    </a:lnTo>
                    <a:lnTo>
                      <a:pt x="828" y="234"/>
                    </a:lnTo>
                    <a:lnTo>
                      <a:pt x="822" y="240"/>
                    </a:lnTo>
                    <a:lnTo>
                      <a:pt x="828" y="246"/>
                    </a:lnTo>
                    <a:lnTo>
                      <a:pt x="828" y="252"/>
                    </a:lnTo>
                    <a:lnTo>
                      <a:pt x="828" y="258"/>
                    </a:lnTo>
                    <a:lnTo>
                      <a:pt x="828" y="270"/>
                    </a:lnTo>
                    <a:lnTo>
                      <a:pt x="828" y="276"/>
                    </a:lnTo>
                    <a:lnTo>
                      <a:pt x="840" y="276"/>
                    </a:lnTo>
                    <a:lnTo>
                      <a:pt x="846" y="282"/>
                    </a:lnTo>
                    <a:lnTo>
                      <a:pt x="852" y="288"/>
                    </a:lnTo>
                    <a:lnTo>
                      <a:pt x="864" y="300"/>
                    </a:lnTo>
                    <a:lnTo>
                      <a:pt x="864" y="306"/>
                    </a:lnTo>
                    <a:lnTo>
                      <a:pt x="864" y="324"/>
                    </a:lnTo>
                    <a:lnTo>
                      <a:pt x="864" y="336"/>
                    </a:lnTo>
                    <a:lnTo>
                      <a:pt x="870" y="336"/>
                    </a:lnTo>
                    <a:lnTo>
                      <a:pt x="876" y="342"/>
                    </a:lnTo>
                    <a:lnTo>
                      <a:pt x="876" y="354"/>
                    </a:lnTo>
                    <a:lnTo>
                      <a:pt x="882" y="354"/>
                    </a:lnTo>
                    <a:lnTo>
                      <a:pt x="888" y="354"/>
                    </a:lnTo>
                    <a:lnTo>
                      <a:pt x="894" y="354"/>
                    </a:lnTo>
                    <a:lnTo>
                      <a:pt x="900" y="354"/>
                    </a:lnTo>
                    <a:lnTo>
                      <a:pt x="906" y="354"/>
                    </a:lnTo>
                    <a:lnTo>
                      <a:pt x="912" y="354"/>
                    </a:lnTo>
                    <a:lnTo>
                      <a:pt x="918" y="354"/>
                    </a:lnTo>
                    <a:lnTo>
                      <a:pt x="924" y="354"/>
                    </a:lnTo>
                    <a:lnTo>
                      <a:pt x="930" y="348"/>
                    </a:lnTo>
                    <a:lnTo>
                      <a:pt x="930" y="342"/>
                    </a:lnTo>
                    <a:lnTo>
                      <a:pt x="936" y="342"/>
                    </a:lnTo>
                    <a:lnTo>
                      <a:pt x="942" y="342"/>
                    </a:lnTo>
                    <a:lnTo>
                      <a:pt x="948" y="342"/>
                    </a:lnTo>
                    <a:lnTo>
                      <a:pt x="954" y="342"/>
                    </a:lnTo>
                    <a:lnTo>
                      <a:pt x="960" y="342"/>
                    </a:lnTo>
                    <a:lnTo>
                      <a:pt x="966" y="342"/>
                    </a:lnTo>
                    <a:lnTo>
                      <a:pt x="972" y="342"/>
                    </a:lnTo>
                    <a:lnTo>
                      <a:pt x="978" y="342"/>
                    </a:lnTo>
                    <a:lnTo>
                      <a:pt x="984" y="348"/>
                    </a:lnTo>
                    <a:lnTo>
                      <a:pt x="990" y="348"/>
                    </a:lnTo>
                    <a:lnTo>
                      <a:pt x="990" y="342"/>
                    </a:lnTo>
                    <a:lnTo>
                      <a:pt x="990" y="336"/>
                    </a:lnTo>
                    <a:lnTo>
                      <a:pt x="990" y="330"/>
                    </a:lnTo>
                    <a:lnTo>
                      <a:pt x="990" y="324"/>
                    </a:lnTo>
                    <a:lnTo>
                      <a:pt x="996" y="324"/>
                    </a:lnTo>
                    <a:lnTo>
                      <a:pt x="996" y="318"/>
                    </a:lnTo>
                    <a:lnTo>
                      <a:pt x="996" y="312"/>
                    </a:lnTo>
                    <a:lnTo>
                      <a:pt x="996" y="300"/>
                    </a:lnTo>
                    <a:lnTo>
                      <a:pt x="990" y="300"/>
                    </a:lnTo>
                    <a:lnTo>
                      <a:pt x="984" y="300"/>
                    </a:lnTo>
                    <a:lnTo>
                      <a:pt x="978" y="300"/>
                    </a:lnTo>
                    <a:lnTo>
                      <a:pt x="972" y="300"/>
                    </a:lnTo>
                    <a:lnTo>
                      <a:pt x="972" y="294"/>
                    </a:lnTo>
                    <a:lnTo>
                      <a:pt x="960" y="294"/>
                    </a:lnTo>
                    <a:lnTo>
                      <a:pt x="960" y="264"/>
                    </a:lnTo>
                    <a:lnTo>
                      <a:pt x="954" y="264"/>
                    </a:lnTo>
                    <a:lnTo>
                      <a:pt x="954" y="258"/>
                    </a:lnTo>
                    <a:lnTo>
                      <a:pt x="954" y="252"/>
                    </a:lnTo>
                    <a:lnTo>
                      <a:pt x="996" y="252"/>
                    </a:lnTo>
                    <a:lnTo>
                      <a:pt x="1014" y="246"/>
                    </a:lnTo>
                    <a:lnTo>
                      <a:pt x="1014" y="234"/>
                    </a:lnTo>
                    <a:lnTo>
                      <a:pt x="1020" y="234"/>
                    </a:lnTo>
                    <a:lnTo>
                      <a:pt x="1026" y="234"/>
                    </a:lnTo>
                    <a:lnTo>
                      <a:pt x="1026" y="240"/>
                    </a:lnTo>
                    <a:lnTo>
                      <a:pt x="1026" y="234"/>
                    </a:lnTo>
                    <a:lnTo>
                      <a:pt x="1038" y="234"/>
                    </a:lnTo>
                    <a:lnTo>
                      <a:pt x="1038" y="216"/>
                    </a:lnTo>
                    <a:lnTo>
                      <a:pt x="1032" y="216"/>
                    </a:lnTo>
                    <a:lnTo>
                      <a:pt x="1026" y="210"/>
                    </a:lnTo>
                    <a:lnTo>
                      <a:pt x="1020" y="210"/>
                    </a:lnTo>
                    <a:lnTo>
                      <a:pt x="1014" y="204"/>
                    </a:lnTo>
                    <a:lnTo>
                      <a:pt x="1008" y="204"/>
                    </a:lnTo>
                    <a:lnTo>
                      <a:pt x="1002" y="198"/>
                    </a:lnTo>
                    <a:lnTo>
                      <a:pt x="996" y="192"/>
                    </a:lnTo>
                    <a:lnTo>
                      <a:pt x="990" y="186"/>
                    </a:lnTo>
                    <a:lnTo>
                      <a:pt x="990" y="180"/>
                    </a:lnTo>
                    <a:lnTo>
                      <a:pt x="996" y="174"/>
                    </a:lnTo>
                    <a:lnTo>
                      <a:pt x="1002" y="168"/>
                    </a:lnTo>
                    <a:lnTo>
                      <a:pt x="990" y="168"/>
                    </a:lnTo>
                    <a:lnTo>
                      <a:pt x="984" y="168"/>
                    </a:lnTo>
                    <a:lnTo>
                      <a:pt x="978" y="168"/>
                    </a:lnTo>
                    <a:lnTo>
                      <a:pt x="978" y="162"/>
                    </a:lnTo>
                    <a:lnTo>
                      <a:pt x="984" y="156"/>
                    </a:lnTo>
                    <a:lnTo>
                      <a:pt x="972" y="150"/>
                    </a:lnTo>
                    <a:lnTo>
                      <a:pt x="966" y="150"/>
                    </a:lnTo>
                    <a:lnTo>
                      <a:pt x="966" y="144"/>
                    </a:lnTo>
                    <a:lnTo>
                      <a:pt x="978" y="138"/>
                    </a:lnTo>
                    <a:lnTo>
                      <a:pt x="978" y="126"/>
                    </a:lnTo>
                    <a:lnTo>
                      <a:pt x="984" y="120"/>
                    </a:lnTo>
                    <a:lnTo>
                      <a:pt x="990" y="114"/>
                    </a:lnTo>
                    <a:lnTo>
                      <a:pt x="996" y="114"/>
                    </a:lnTo>
                    <a:lnTo>
                      <a:pt x="996" y="108"/>
                    </a:lnTo>
                    <a:lnTo>
                      <a:pt x="996" y="102"/>
                    </a:lnTo>
                    <a:lnTo>
                      <a:pt x="996" y="96"/>
                    </a:lnTo>
                    <a:lnTo>
                      <a:pt x="996" y="90"/>
                    </a:lnTo>
                    <a:lnTo>
                      <a:pt x="996" y="84"/>
                    </a:lnTo>
                    <a:lnTo>
                      <a:pt x="996" y="72"/>
                    </a:lnTo>
                    <a:lnTo>
                      <a:pt x="1002" y="66"/>
                    </a:lnTo>
                    <a:lnTo>
                      <a:pt x="1008" y="66"/>
                    </a:lnTo>
                    <a:lnTo>
                      <a:pt x="1008" y="60"/>
                    </a:lnTo>
                    <a:lnTo>
                      <a:pt x="1014" y="42"/>
                    </a:lnTo>
                    <a:lnTo>
                      <a:pt x="942" y="42"/>
                    </a:lnTo>
                    <a:lnTo>
                      <a:pt x="942" y="36"/>
                    </a:lnTo>
                    <a:lnTo>
                      <a:pt x="948" y="36"/>
                    </a:lnTo>
                    <a:lnTo>
                      <a:pt x="948" y="30"/>
                    </a:lnTo>
                    <a:lnTo>
                      <a:pt x="954" y="30"/>
                    </a:lnTo>
                    <a:lnTo>
                      <a:pt x="954" y="36"/>
                    </a:lnTo>
                    <a:lnTo>
                      <a:pt x="960" y="36"/>
                    </a:lnTo>
                    <a:lnTo>
                      <a:pt x="966" y="36"/>
                    </a:lnTo>
                    <a:lnTo>
                      <a:pt x="972" y="30"/>
                    </a:lnTo>
                    <a:lnTo>
                      <a:pt x="978" y="30"/>
                    </a:lnTo>
                    <a:lnTo>
                      <a:pt x="978" y="24"/>
                    </a:lnTo>
                    <a:lnTo>
                      <a:pt x="984" y="30"/>
                    </a:lnTo>
                    <a:lnTo>
                      <a:pt x="990" y="30"/>
                    </a:lnTo>
                    <a:lnTo>
                      <a:pt x="996" y="24"/>
                    </a:lnTo>
                    <a:lnTo>
                      <a:pt x="996" y="18"/>
                    </a:lnTo>
                    <a:lnTo>
                      <a:pt x="1002" y="18"/>
                    </a:lnTo>
                    <a:lnTo>
                      <a:pt x="1008" y="18"/>
                    </a:lnTo>
                    <a:lnTo>
                      <a:pt x="1014" y="24"/>
                    </a:lnTo>
                    <a:lnTo>
                      <a:pt x="1020" y="24"/>
                    </a:lnTo>
                    <a:lnTo>
                      <a:pt x="1026" y="30"/>
                    </a:lnTo>
                    <a:lnTo>
                      <a:pt x="1032" y="30"/>
                    </a:lnTo>
                    <a:lnTo>
                      <a:pt x="1032" y="24"/>
                    </a:lnTo>
                    <a:lnTo>
                      <a:pt x="1038" y="24"/>
                    </a:lnTo>
                    <a:lnTo>
                      <a:pt x="1044" y="24"/>
                    </a:lnTo>
                    <a:lnTo>
                      <a:pt x="1044" y="30"/>
                    </a:lnTo>
                    <a:lnTo>
                      <a:pt x="1050" y="30"/>
                    </a:lnTo>
                    <a:lnTo>
                      <a:pt x="1050" y="24"/>
                    </a:lnTo>
                    <a:lnTo>
                      <a:pt x="1056" y="24"/>
                    </a:lnTo>
                    <a:lnTo>
                      <a:pt x="1056" y="18"/>
                    </a:lnTo>
                    <a:lnTo>
                      <a:pt x="1062" y="18"/>
                    </a:lnTo>
                    <a:lnTo>
                      <a:pt x="1068" y="18"/>
                    </a:lnTo>
                    <a:lnTo>
                      <a:pt x="1068" y="24"/>
                    </a:lnTo>
                    <a:lnTo>
                      <a:pt x="1068" y="30"/>
                    </a:lnTo>
                    <a:lnTo>
                      <a:pt x="1068" y="36"/>
                    </a:lnTo>
                    <a:lnTo>
                      <a:pt x="1074" y="36"/>
                    </a:lnTo>
                    <a:lnTo>
                      <a:pt x="1080" y="36"/>
                    </a:lnTo>
                    <a:lnTo>
                      <a:pt x="1086" y="30"/>
                    </a:lnTo>
                    <a:lnTo>
                      <a:pt x="1092" y="24"/>
                    </a:lnTo>
                    <a:lnTo>
                      <a:pt x="1092" y="18"/>
                    </a:lnTo>
                    <a:lnTo>
                      <a:pt x="1092" y="12"/>
                    </a:lnTo>
                    <a:lnTo>
                      <a:pt x="1098" y="12"/>
                    </a:lnTo>
                    <a:lnTo>
                      <a:pt x="1104" y="6"/>
                    </a:lnTo>
                    <a:lnTo>
                      <a:pt x="1110" y="6"/>
                    </a:lnTo>
                    <a:lnTo>
                      <a:pt x="1116" y="6"/>
                    </a:lnTo>
                    <a:lnTo>
                      <a:pt x="1122" y="6"/>
                    </a:lnTo>
                    <a:lnTo>
                      <a:pt x="1128" y="6"/>
                    </a:lnTo>
                    <a:lnTo>
                      <a:pt x="1134" y="6"/>
                    </a:lnTo>
                    <a:lnTo>
                      <a:pt x="1134" y="0"/>
                    </a:lnTo>
                    <a:lnTo>
                      <a:pt x="1134" y="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6" name="Freeform 11"/>
              <p:cNvSpPr>
                <a:spLocks noChangeAspect="1"/>
              </p:cNvSpPr>
              <p:nvPr/>
            </p:nvSpPr>
            <p:spPr bwMode="auto">
              <a:xfrm>
                <a:off x="3316917" y="5484127"/>
                <a:ext cx="194110" cy="122764"/>
              </a:xfrm>
              <a:custGeom>
                <a:avLst/>
                <a:gdLst>
                  <a:gd name="T0" fmla="*/ 2147483647 w 1698"/>
                  <a:gd name="T1" fmla="*/ 2147483647 h 1074"/>
                  <a:gd name="T2" fmla="*/ 2147483647 w 1698"/>
                  <a:gd name="T3" fmla="*/ 2147483647 h 1074"/>
                  <a:gd name="T4" fmla="*/ 2147483647 w 1698"/>
                  <a:gd name="T5" fmla="*/ 2147483647 h 1074"/>
                  <a:gd name="T6" fmla="*/ 2147483647 w 1698"/>
                  <a:gd name="T7" fmla="*/ 2147483647 h 1074"/>
                  <a:gd name="T8" fmla="*/ 2147483647 w 1698"/>
                  <a:gd name="T9" fmla="*/ 2147483647 h 1074"/>
                  <a:gd name="T10" fmla="*/ 2147483647 w 1698"/>
                  <a:gd name="T11" fmla="*/ 2147483647 h 1074"/>
                  <a:gd name="T12" fmla="*/ 2147483647 w 1698"/>
                  <a:gd name="T13" fmla="*/ 2147483647 h 1074"/>
                  <a:gd name="T14" fmla="*/ 2147483647 w 1698"/>
                  <a:gd name="T15" fmla="*/ 2147483647 h 1074"/>
                  <a:gd name="T16" fmla="*/ 2147483647 w 1698"/>
                  <a:gd name="T17" fmla="*/ 2147483647 h 1074"/>
                  <a:gd name="T18" fmla="*/ 2147483647 w 1698"/>
                  <a:gd name="T19" fmla="*/ 2147483647 h 1074"/>
                  <a:gd name="T20" fmla="*/ 2147483647 w 1698"/>
                  <a:gd name="T21" fmla="*/ 2147483647 h 1074"/>
                  <a:gd name="T22" fmla="*/ 2147483647 w 1698"/>
                  <a:gd name="T23" fmla="*/ 2147483647 h 1074"/>
                  <a:gd name="T24" fmla="*/ 2147483647 w 1698"/>
                  <a:gd name="T25" fmla="*/ 2147483647 h 1074"/>
                  <a:gd name="T26" fmla="*/ 2147483647 w 1698"/>
                  <a:gd name="T27" fmla="*/ 2147483647 h 1074"/>
                  <a:gd name="T28" fmla="*/ 2147483647 w 1698"/>
                  <a:gd name="T29" fmla="*/ 2147483647 h 1074"/>
                  <a:gd name="T30" fmla="*/ 2147483647 w 1698"/>
                  <a:gd name="T31" fmla="*/ 2147483647 h 1074"/>
                  <a:gd name="T32" fmla="*/ 2147483647 w 1698"/>
                  <a:gd name="T33" fmla="*/ 2147483647 h 1074"/>
                  <a:gd name="T34" fmla="*/ 2147483647 w 1698"/>
                  <a:gd name="T35" fmla="*/ 2147483647 h 1074"/>
                  <a:gd name="T36" fmla="*/ 2147483647 w 1698"/>
                  <a:gd name="T37" fmla="*/ 2147483647 h 1074"/>
                  <a:gd name="T38" fmla="*/ 2147483647 w 1698"/>
                  <a:gd name="T39" fmla="*/ 2147483647 h 1074"/>
                  <a:gd name="T40" fmla="*/ 2147483647 w 1698"/>
                  <a:gd name="T41" fmla="*/ 2147483647 h 1074"/>
                  <a:gd name="T42" fmla="*/ 2147483647 w 1698"/>
                  <a:gd name="T43" fmla="*/ 2147483647 h 1074"/>
                  <a:gd name="T44" fmla="*/ 2147483647 w 1698"/>
                  <a:gd name="T45" fmla="*/ 2147483647 h 1074"/>
                  <a:gd name="T46" fmla="*/ 2147483647 w 1698"/>
                  <a:gd name="T47" fmla="*/ 2147483647 h 1074"/>
                  <a:gd name="T48" fmla="*/ 2147483647 w 1698"/>
                  <a:gd name="T49" fmla="*/ 2147483647 h 1074"/>
                  <a:gd name="T50" fmla="*/ 2147483647 w 1698"/>
                  <a:gd name="T51" fmla="*/ 2147483647 h 1074"/>
                  <a:gd name="T52" fmla="*/ 2147483647 w 1698"/>
                  <a:gd name="T53" fmla="*/ 2147483647 h 1074"/>
                  <a:gd name="T54" fmla="*/ 2147483647 w 1698"/>
                  <a:gd name="T55" fmla="*/ 2147483647 h 1074"/>
                  <a:gd name="T56" fmla="*/ 2147483647 w 1698"/>
                  <a:gd name="T57" fmla="*/ 2147483647 h 1074"/>
                  <a:gd name="T58" fmla="*/ 2147483647 w 1698"/>
                  <a:gd name="T59" fmla="*/ 2147483647 h 1074"/>
                  <a:gd name="T60" fmla="*/ 2147483647 w 1698"/>
                  <a:gd name="T61" fmla="*/ 2147483647 h 1074"/>
                  <a:gd name="T62" fmla="*/ 2147483647 w 1698"/>
                  <a:gd name="T63" fmla="*/ 2147483647 h 1074"/>
                  <a:gd name="T64" fmla="*/ 2147483647 w 1698"/>
                  <a:gd name="T65" fmla="*/ 2147483647 h 1074"/>
                  <a:gd name="T66" fmla="*/ 2147483647 w 1698"/>
                  <a:gd name="T67" fmla="*/ 2147483647 h 1074"/>
                  <a:gd name="T68" fmla="*/ 2147483647 w 1698"/>
                  <a:gd name="T69" fmla="*/ 2147483647 h 1074"/>
                  <a:gd name="T70" fmla="*/ 2147483647 w 1698"/>
                  <a:gd name="T71" fmla="*/ 2147483647 h 1074"/>
                  <a:gd name="T72" fmla="*/ 2147483647 w 1698"/>
                  <a:gd name="T73" fmla="*/ 2147483647 h 1074"/>
                  <a:gd name="T74" fmla="*/ 2147483647 w 1698"/>
                  <a:gd name="T75" fmla="*/ 2147483647 h 1074"/>
                  <a:gd name="T76" fmla="*/ 2147483647 w 1698"/>
                  <a:gd name="T77" fmla="*/ 2147483647 h 1074"/>
                  <a:gd name="T78" fmla="*/ 2147483647 w 1698"/>
                  <a:gd name="T79" fmla="*/ 2147483647 h 1074"/>
                  <a:gd name="T80" fmla="*/ 2147483647 w 1698"/>
                  <a:gd name="T81" fmla="*/ 2147483647 h 1074"/>
                  <a:gd name="T82" fmla="*/ 2147483647 w 1698"/>
                  <a:gd name="T83" fmla="*/ 2147483647 h 1074"/>
                  <a:gd name="T84" fmla="*/ 2147483647 w 1698"/>
                  <a:gd name="T85" fmla="*/ 2147483647 h 1074"/>
                  <a:gd name="T86" fmla="*/ 2147483647 w 1698"/>
                  <a:gd name="T87" fmla="*/ 2147483647 h 1074"/>
                  <a:gd name="T88" fmla="*/ 2147483647 w 1698"/>
                  <a:gd name="T89" fmla="*/ 2147483647 h 1074"/>
                  <a:gd name="T90" fmla="*/ 2147483647 w 1698"/>
                  <a:gd name="T91" fmla="*/ 2147483647 h 1074"/>
                  <a:gd name="T92" fmla="*/ 2147483647 w 1698"/>
                  <a:gd name="T93" fmla="*/ 2147483647 h 1074"/>
                  <a:gd name="T94" fmla="*/ 2147483647 w 1698"/>
                  <a:gd name="T95" fmla="*/ 2147483647 h 1074"/>
                  <a:gd name="T96" fmla="*/ 2147483647 w 1698"/>
                  <a:gd name="T97" fmla="*/ 2147483647 h 1074"/>
                  <a:gd name="T98" fmla="*/ 2147483647 w 1698"/>
                  <a:gd name="T99" fmla="*/ 2147483647 h 1074"/>
                  <a:gd name="T100" fmla="*/ 2147483647 w 1698"/>
                  <a:gd name="T101" fmla="*/ 2147483647 h 1074"/>
                  <a:gd name="T102" fmla="*/ 2147483647 w 1698"/>
                  <a:gd name="T103" fmla="*/ 2147483647 h 1074"/>
                  <a:gd name="T104" fmla="*/ 2147483647 w 1698"/>
                  <a:gd name="T105" fmla="*/ 2147483647 h 1074"/>
                  <a:gd name="T106" fmla="*/ 2147483647 w 1698"/>
                  <a:gd name="T107" fmla="*/ 2147483647 h 1074"/>
                  <a:gd name="T108" fmla="*/ 2147483647 w 1698"/>
                  <a:gd name="T109" fmla="*/ 2147483647 h 1074"/>
                  <a:gd name="T110" fmla="*/ 2147483647 w 1698"/>
                  <a:gd name="T111" fmla="*/ 2147483647 h 1074"/>
                  <a:gd name="T112" fmla="*/ 2147483647 w 1698"/>
                  <a:gd name="T113" fmla="*/ 2147483647 h 1074"/>
                  <a:gd name="T114" fmla="*/ 2147483647 w 1698"/>
                  <a:gd name="T115" fmla="*/ 2147483647 h 1074"/>
                  <a:gd name="T116" fmla="*/ 2147483647 w 1698"/>
                  <a:gd name="T117" fmla="*/ 2147483647 h 1074"/>
                  <a:gd name="T118" fmla="*/ 2147483647 w 1698"/>
                  <a:gd name="T119" fmla="*/ 2147483647 h 107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698" h="1074">
                    <a:moveTo>
                      <a:pt x="1038" y="0"/>
                    </a:moveTo>
                    <a:lnTo>
                      <a:pt x="1038" y="6"/>
                    </a:lnTo>
                    <a:lnTo>
                      <a:pt x="1044" y="6"/>
                    </a:lnTo>
                    <a:lnTo>
                      <a:pt x="1050" y="6"/>
                    </a:lnTo>
                    <a:lnTo>
                      <a:pt x="1056" y="6"/>
                    </a:lnTo>
                    <a:lnTo>
                      <a:pt x="1062" y="6"/>
                    </a:lnTo>
                    <a:lnTo>
                      <a:pt x="1068" y="6"/>
                    </a:lnTo>
                    <a:lnTo>
                      <a:pt x="1080" y="12"/>
                    </a:lnTo>
                    <a:lnTo>
                      <a:pt x="1086" y="18"/>
                    </a:lnTo>
                    <a:lnTo>
                      <a:pt x="1092" y="18"/>
                    </a:lnTo>
                    <a:lnTo>
                      <a:pt x="1098" y="18"/>
                    </a:lnTo>
                    <a:lnTo>
                      <a:pt x="1098" y="24"/>
                    </a:lnTo>
                    <a:lnTo>
                      <a:pt x="1104" y="24"/>
                    </a:lnTo>
                    <a:lnTo>
                      <a:pt x="1110" y="24"/>
                    </a:lnTo>
                    <a:lnTo>
                      <a:pt x="1116" y="24"/>
                    </a:lnTo>
                    <a:lnTo>
                      <a:pt x="1122" y="30"/>
                    </a:lnTo>
                    <a:lnTo>
                      <a:pt x="1128" y="36"/>
                    </a:lnTo>
                    <a:lnTo>
                      <a:pt x="1134" y="36"/>
                    </a:lnTo>
                    <a:lnTo>
                      <a:pt x="1140" y="36"/>
                    </a:lnTo>
                    <a:lnTo>
                      <a:pt x="1146" y="42"/>
                    </a:lnTo>
                    <a:lnTo>
                      <a:pt x="1146" y="48"/>
                    </a:lnTo>
                    <a:lnTo>
                      <a:pt x="1152" y="48"/>
                    </a:lnTo>
                    <a:lnTo>
                      <a:pt x="1158" y="48"/>
                    </a:lnTo>
                    <a:lnTo>
                      <a:pt x="1158" y="54"/>
                    </a:lnTo>
                    <a:lnTo>
                      <a:pt x="1164" y="54"/>
                    </a:lnTo>
                    <a:lnTo>
                      <a:pt x="1170" y="60"/>
                    </a:lnTo>
                    <a:lnTo>
                      <a:pt x="1176" y="66"/>
                    </a:lnTo>
                    <a:lnTo>
                      <a:pt x="1182" y="66"/>
                    </a:lnTo>
                    <a:lnTo>
                      <a:pt x="1188" y="66"/>
                    </a:lnTo>
                    <a:lnTo>
                      <a:pt x="1194" y="66"/>
                    </a:lnTo>
                    <a:lnTo>
                      <a:pt x="1200" y="66"/>
                    </a:lnTo>
                    <a:lnTo>
                      <a:pt x="1206" y="60"/>
                    </a:lnTo>
                    <a:lnTo>
                      <a:pt x="1206" y="66"/>
                    </a:lnTo>
                    <a:lnTo>
                      <a:pt x="1212" y="66"/>
                    </a:lnTo>
                    <a:lnTo>
                      <a:pt x="1218" y="72"/>
                    </a:lnTo>
                    <a:lnTo>
                      <a:pt x="1218" y="78"/>
                    </a:lnTo>
                    <a:lnTo>
                      <a:pt x="1224" y="84"/>
                    </a:lnTo>
                    <a:lnTo>
                      <a:pt x="1230" y="84"/>
                    </a:lnTo>
                    <a:lnTo>
                      <a:pt x="1236" y="84"/>
                    </a:lnTo>
                    <a:lnTo>
                      <a:pt x="1248" y="84"/>
                    </a:lnTo>
                    <a:lnTo>
                      <a:pt x="1254" y="84"/>
                    </a:lnTo>
                    <a:lnTo>
                      <a:pt x="1266" y="84"/>
                    </a:lnTo>
                    <a:lnTo>
                      <a:pt x="1272" y="78"/>
                    </a:lnTo>
                    <a:lnTo>
                      <a:pt x="1278" y="78"/>
                    </a:lnTo>
                    <a:lnTo>
                      <a:pt x="1284" y="78"/>
                    </a:lnTo>
                    <a:lnTo>
                      <a:pt x="1284" y="72"/>
                    </a:lnTo>
                    <a:lnTo>
                      <a:pt x="1290" y="72"/>
                    </a:lnTo>
                    <a:lnTo>
                      <a:pt x="1296" y="72"/>
                    </a:lnTo>
                    <a:lnTo>
                      <a:pt x="1296" y="78"/>
                    </a:lnTo>
                    <a:lnTo>
                      <a:pt x="1302" y="78"/>
                    </a:lnTo>
                    <a:lnTo>
                      <a:pt x="1308" y="78"/>
                    </a:lnTo>
                    <a:lnTo>
                      <a:pt x="1314" y="78"/>
                    </a:lnTo>
                    <a:lnTo>
                      <a:pt x="1320" y="78"/>
                    </a:lnTo>
                    <a:lnTo>
                      <a:pt x="1326" y="78"/>
                    </a:lnTo>
                    <a:lnTo>
                      <a:pt x="1332" y="78"/>
                    </a:lnTo>
                    <a:lnTo>
                      <a:pt x="1332" y="84"/>
                    </a:lnTo>
                    <a:lnTo>
                      <a:pt x="1338" y="84"/>
                    </a:lnTo>
                    <a:lnTo>
                      <a:pt x="1338" y="78"/>
                    </a:lnTo>
                    <a:lnTo>
                      <a:pt x="1344" y="78"/>
                    </a:lnTo>
                    <a:lnTo>
                      <a:pt x="1344" y="72"/>
                    </a:lnTo>
                    <a:lnTo>
                      <a:pt x="1350" y="72"/>
                    </a:lnTo>
                    <a:lnTo>
                      <a:pt x="1350" y="78"/>
                    </a:lnTo>
                    <a:lnTo>
                      <a:pt x="1356" y="78"/>
                    </a:lnTo>
                    <a:lnTo>
                      <a:pt x="1362" y="78"/>
                    </a:lnTo>
                    <a:lnTo>
                      <a:pt x="1368" y="72"/>
                    </a:lnTo>
                    <a:lnTo>
                      <a:pt x="1380" y="72"/>
                    </a:lnTo>
                    <a:lnTo>
                      <a:pt x="1386" y="72"/>
                    </a:lnTo>
                    <a:lnTo>
                      <a:pt x="1392" y="72"/>
                    </a:lnTo>
                    <a:lnTo>
                      <a:pt x="1398" y="72"/>
                    </a:lnTo>
                    <a:lnTo>
                      <a:pt x="1404" y="72"/>
                    </a:lnTo>
                    <a:lnTo>
                      <a:pt x="1410" y="72"/>
                    </a:lnTo>
                    <a:lnTo>
                      <a:pt x="1416" y="72"/>
                    </a:lnTo>
                    <a:lnTo>
                      <a:pt x="1422" y="72"/>
                    </a:lnTo>
                    <a:lnTo>
                      <a:pt x="1428" y="72"/>
                    </a:lnTo>
                    <a:lnTo>
                      <a:pt x="1428" y="78"/>
                    </a:lnTo>
                    <a:lnTo>
                      <a:pt x="1434" y="78"/>
                    </a:lnTo>
                    <a:lnTo>
                      <a:pt x="1440" y="78"/>
                    </a:lnTo>
                    <a:lnTo>
                      <a:pt x="1446" y="84"/>
                    </a:lnTo>
                    <a:lnTo>
                      <a:pt x="1452" y="84"/>
                    </a:lnTo>
                    <a:lnTo>
                      <a:pt x="1458" y="84"/>
                    </a:lnTo>
                    <a:lnTo>
                      <a:pt x="1464" y="90"/>
                    </a:lnTo>
                    <a:lnTo>
                      <a:pt x="1470" y="90"/>
                    </a:lnTo>
                    <a:lnTo>
                      <a:pt x="1476" y="90"/>
                    </a:lnTo>
                    <a:lnTo>
                      <a:pt x="1476" y="96"/>
                    </a:lnTo>
                    <a:lnTo>
                      <a:pt x="1488" y="90"/>
                    </a:lnTo>
                    <a:lnTo>
                      <a:pt x="1494" y="90"/>
                    </a:lnTo>
                    <a:lnTo>
                      <a:pt x="1500" y="90"/>
                    </a:lnTo>
                    <a:lnTo>
                      <a:pt x="1506" y="90"/>
                    </a:lnTo>
                    <a:lnTo>
                      <a:pt x="1512" y="96"/>
                    </a:lnTo>
                    <a:lnTo>
                      <a:pt x="1512" y="102"/>
                    </a:lnTo>
                    <a:lnTo>
                      <a:pt x="1518" y="102"/>
                    </a:lnTo>
                    <a:lnTo>
                      <a:pt x="1530" y="102"/>
                    </a:lnTo>
                    <a:lnTo>
                      <a:pt x="1536" y="102"/>
                    </a:lnTo>
                    <a:lnTo>
                      <a:pt x="1536" y="108"/>
                    </a:lnTo>
                    <a:lnTo>
                      <a:pt x="1542" y="114"/>
                    </a:lnTo>
                    <a:lnTo>
                      <a:pt x="1542" y="120"/>
                    </a:lnTo>
                    <a:lnTo>
                      <a:pt x="1548" y="120"/>
                    </a:lnTo>
                    <a:lnTo>
                      <a:pt x="1548" y="126"/>
                    </a:lnTo>
                    <a:lnTo>
                      <a:pt x="1548" y="132"/>
                    </a:lnTo>
                    <a:lnTo>
                      <a:pt x="1548" y="138"/>
                    </a:lnTo>
                    <a:lnTo>
                      <a:pt x="1548" y="144"/>
                    </a:lnTo>
                    <a:lnTo>
                      <a:pt x="1554" y="144"/>
                    </a:lnTo>
                    <a:lnTo>
                      <a:pt x="1554" y="150"/>
                    </a:lnTo>
                    <a:lnTo>
                      <a:pt x="1554" y="156"/>
                    </a:lnTo>
                    <a:lnTo>
                      <a:pt x="1554" y="162"/>
                    </a:lnTo>
                    <a:lnTo>
                      <a:pt x="1560" y="168"/>
                    </a:lnTo>
                    <a:lnTo>
                      <a:pt x="1560" y="174"/>
                    </a:lnTo>
                    <a:lnTo>
                      <a:pt x="1560" y="180"/>
                    </a:lnTo>
                    <a:lnTo>
                      <a:pt x="1560" y="186"/>
                    </a:lnTo>
                    <a:lnTo>
                      <a:pt x="1560" y="192"/>
                    </a:lnTo>
                    <a:lnTo>
                      <a:pt x="1566" y="192"/>
                    </a:lnTo>
                    <a:lnTo>
                      <a:pt x="1566" y="198"/>
                    </a:lnTo>
                    <a:lnTo>
                      <a:pt x="1566" y="204"/>
                    </a:lnTo>
                    <a:lnTo>
                      <a:pt x="1566" y="210"/>
                    </a:lnTo>
                    <a:lnTo>
                      <a:pt x="1572" y="216"/>
                    </a:lnTo>
                    <a:lnTo>
                      <a:pt x="1572" y="222"/>
                    </a:lnTo>
                    <a:lnTo>
                      <a:pt x="1572" y="228"/>
                    </a:lnTo>
                    <a:lnTo>
                      <a:pt x="1572" y="234"/>
                    </a:lnTo>
                    <a:lnTo>
                      <a:pt x="1578" y="234"/>
                    </a:lnTo>
                    <a:lnTo>
                      <a:pt x="1578" y="240"/>
                    </a:lnTo>
                    <a:lnTo>
                      <a:pt x="1578" y="246"/>
                    </a:lnTo>
                    <a:lnTo>
                      <a:pt x="1578" y="252"/>
                    </a:lnTo>
                    <a:lnTo>
                      <a:pt x="1578" y="258"/>
                    </a:lnTo>
                    <a:lnTo>
                      <a:pt x="1584" y="258"/>
                    </a:lnTo>
                    <a:lnTo>
                      <a:pt x="1584" y="264"/>
                    </a:lnTo>
                    <a:lnTo>
                      <a:pt x="1584" y="270"/>
                    </a:lnTo>
                    <a:lnTo>
                      <a:pt x="1584" y="276"/>
                    </a:lnTo>
                    <a:lnTo>
                      <a:pt x="1584" y="282"/>
                    </a:lnTo>
                    <a:lnTo>
                      <a:pt x="1590" y="282"/>
                    </a:lnTo>
                    <a:lnTo>
                      <a:pt x="1590" y="288"/>
                    </a:lnTo>
                    <a:lnTo>
                      <a:pt x="1590" y="294"/>
                    </a:lnTo>
                    <a:lnTo>
                      <a:pt x="1590" y="300"/>
                    </a:lnTo>
                    <a:lnTo>
                      <a:pt x="1590" y="306"/>
                    </a:lnTo>
                    <a:lnTo>
                      <a:pt x="1596" y="306"/>
                    </a:lnTo>
                    <a:lnTo>
                      <a:pt x="1596" y="312"/>
                    </a:lnTo>
                    <a:lnTo>
                      <a:pt x="1596" y="318"/>
                    </a:lnTo>
                    <a:lnTo>
                      <a:pt x="1596" y="324"/>
                    </a:lnTo>
                    <a:lnTo>
                      <a:pt x="1602" y="330"/>
                    </a:lnTo>
                    <a:lnTo>
                      <a:pt x="1602" y="336"/>
                    </a:lnTo>
                    <a:lnTo>
                      <a:pt x="1602" y="342"/>
                    </a:lnTo>
                    <a:lnTo>
                      <a:pt x="1602" y="348"/>
                    </a:lnTo>
                    <a:lnTo>
                      <a:pt x="1608" y="348"/>
                    </a:lnTo>
                    <a:lnTo>
                      <a:pt x="1608" y="354"/>
                    </a:lnTo>
                    <a:lnTo>
                      <a:pt x="1608" y="360"/>
                    </a:lnTo>
                    <a:lnTo>
                      <a:pt x="1608" y="366"/>
                    </a:lnTo>
                    <a:lnTo>
                      <a:pt x="1608" y="372"/>
                    </a:lnTo>
                    <a:lnTo>
                      <a:pt x="1614" y="372"/>
                    </a:lnTo>
                    <a:lnTo>
                      <a:pt x="1614" y="378"/>
                    </a:lnTo>
                    <a:lnTo>
                      <a:pt x="1614" y="384"/>
                    </a:lnTo>
                    <a:lnTo>
                      <a:pt x="1614" y="390"/>
                    </a:lnTo>
                    <a:lnTo>
                      <a:pt x="1614" y="396"/>
                    </a:lnTo>
                    <a:lnTo>
                      <a:pt x="1614" y="402"/>
                    </a:lnTo>
                    <a:lnTo>
                      <a:pt x="1614" y="408"/>
                    </a:lnTo>
                    <a:lnTo>
                      <a:pt x="1614" y="414"/>
                    </a:lnTo>
                    <a:lnTo>
                      <a:pt x="1608" y="414"/>
                    </a:lnTo>
                    <a:lnTo>
                      <a:pt x="1608" y="420"/>
                    </a:lnTo>
                    <a:lnTo>
                      <a:pt x="1608" y="426"/>
                    </a:lnTo>
                    <a:lnTo>
                      <a:pt x="1608" y="432"/>
                    </a:lnTo>
                    <a:lnTo>
                      <a:pt x="1608" y="438"/>
                    </a:lnTo>
                    <a:lnTo>
                      <a:pt x="1608" y="444"/>
                    </a:lnTo>
                    <a:lnTo>
                      <a:pt x="1608" y="450"/>
                    </a:lnTo>
                    <a:lnTo>
                      <a:pt x="1608" y="456"/>
                    </a:lnTo>
                    <a:lnTo>
                      <a:pt x="1608" y="462"/>
                    </a:lnTo>
                    <a:lnTo>
                      <a:pt x="1608" y="468"/>
                    </a:lnTo>
                    <a:lnTo>
                      <a:pt x="1608" y="474"/>
                    </a:lnTo>
                    <a:lnTo>
                      <a:pt x="1608" y="480"/>
                    </a:lnTo>
                    <a:lnTo>
                      <a:pt x="1608" y="486"/>
                    </a:lnTo>
                    <a:lnTo>
                      <a:pt x="1614" y="486"/>
                    </a:lnTo>
                    <a:lnTo>
                      <a:pt x="1614" y="492"/>
                    </a:lnTo>
                    <a:lnTo>
                      <a:pt x="1620" y="492"/>
                    </a:lnTo>
                    <a:lnTo>
                      <a:pt x="1620" y="498"/>
                    </a:lnTo>
                    <a:lnTo>
                      <a:pt x="1620" y="504"/>
                    </a:lnTo>
                    <a:lnTo>
                      <a:pt x="1626" y="504"/>
                    </a:lnTo>
                    <a:lnTo>
                      <a:pt x="1626" y="510"/>
                    </a:lnTo>
                    <a:lnTo>
                      <a:pt x="1632" y="510"/>
                    </a:lnTo>
                    <a:lnTo>
                      <a:pt x="1632" y="516"/>
                    </a:lnTo>
                    <a:lnTo>
                      <a:pt x="1638" y="516"/>
                    </a:lnTo>
                    <a:lnTo>
                      <a:pt x="1638" y="522"/>
                    </a:lnTo>
                    <a:lnTo>
                      <a:pt x="1638" y="528"/>
                    </a:lnTo>
                    <a:lnTo>
                      <a:pt x="1644" y="528"/>
                    </a:lnTo>
                    <a:lnTo>
                      <a:pt x="1644" y="534"/>
                    </a:lnTo>
                    <a:lnTo>
                      <a:pt x="1650" y="534"/>
                    </a:lnTo>
                    <a:lnTo>
                      <a:pt x="1650" y="540"/>
                    </a:lnTo>
                    <a:lnTo>
                      <a:pt x="1650" y="546"/>
                    </a:lnTo>
                    <a:lnTo>
                      <a:pt x="1650" y="552"/>
                    </a:lnTo>
                    <a:lnTo>
                      <a:pt x="1650" y="558"/>
                    </a:lnTo>
                    <a:lnTo>
                      <a:pt x="1650" y="564"/>
                    </a:lnTo>
                    <a:lnTo>
                      <a:pt x="1650" y="570"/>
                    </a:lnTo>
                    <a:lnTo>
                      <a:pt x="1650" y="576"/>
                    </a:lnTo>
                    <a:lnTo>
                      <a:pt x="1650" y="582"/>
                    </a:lnTo>
                    <a:lnTo>
                      <a:pt x="1650" y="588"/>
                    </a:lnTo>
                    <a:lnTo>
                      <a:pt x="1656" y="588"/>
                    </a:lnTo>
                    <a:lnTo>
                      <a:pt x="1656" y="594"/>
                    </a:lnTo>
                    <a:lnTo>
                      <a:pt x="1656" y="600"/>
                    </a:lnTo>
                    <a:lnTo>
                      <a:pt x="1656" y="606"/>
                    </a:lnTo>
                    <a:lnTo>
                      <a:pt x="1662" y="606"/>
                    </a:lnTo>
                    <a:lnTo>
                      <a:pt x="1662" y="612"/>
                    </a:lnTo>
                    <a:lnTo>
                      <a:pt x="1662" y="618"/>
                    </a:lnTo>
                    <a:lnTo>
                      <a:pt x="1662" y="624"/>
                    </a:lnTo>
                    <a:lnTo>
                      <a:pt x="1668" y="624"/>
                    </a:lnTo>
                    <a:lnTo>
                      <a:pt x="1668" y="630"/>
                    </a:lnTo>
                    <a:lnTo>
                      <a:pt x="1674" y="630"/>
                    </a:lnTo>
                    <a:lnTo>
                      <a:pt x="1680" y="630"/>
                    </a:lnTo>
                    <a:lnTo>
                      <a:pt x="1680" y="636"/>
                    </a:lnTo>
                    <a:lnTo>
                      <a:pt x="1686" y="636"/>
                    </a:lnTo>
                    <a:lnTo>
                      <a:pt x="1686" y="642"/>
                    </a:lnTo>
                    <a:lnTo>
                      <a:pt x="1692" y="642"/>
                    </a:lnTo>
                    <a:lnTo>
                      <a:pt x="1692" y="648"/>
                    </a:lnTo>
                    <a:lnTo>
                      <a:pt x="1698" y="648"/>
                    </a:lnTo>
                    <a:lnTo>
                      <a:pt x="1698" y="654"/>
                    </a:lnTo>
                    <a:lnTo>
                      <a:pt x="1692" y="654"/>
                    </a:lnTo>
                    <a:lnTo>
                      <a:pt x="1686" y="654"/>
                    </a:lnTo>
                    <a:lnTo>
                      <a:pt x="1680" y="654"/>
                    </a:lnTo>
                    <a:lnTo>
                      <a:pt x="1674" y="654"/>
                    </a:lnTo>
                    <a:lnTo>
                      <a:pt x="1668" y="654"/>
                    </a:lnTo>
                    <a:lnTo>
                      <a:pt x="1662" y="660"/>
                    </a:lnTo>
                    <a:lnTo>
                      <a:pt x="1656" y="660"/>
                    </a:lnTo>
                    <a:lnTo>
                      <a:pt x="1656" y="666"/>
                    </a:lnTo>
                    <a:lnTo>
                      <a:pt x="1656" y="672"/>
                    </a:lnTo>
                    <a:lnTo>
                      <a:pt x="1650" y="678"/>
                    </a:lnTo>
                    <a:lnTo>
                      <a:pt x="1644" y="684"/>
                    </a:lnTo>
                    <a:lnTo>
                      <a:pt x="1638" y="684"/>
                    </a:lnTo>
                    <a:lnTo>
                      <a:pt x="1632" y="684"/>
                    </a:lnTo>
                    <a:lnTo>
                      <a:pt x="1632" y="678"/>
                    </a:lnTo>
                    <a:lnTo>
                      <a:pt x="1632" y="672"/>
                    </a:lnTo>
                    <a:lnTo>
                      <a:pt x="1632" y="666"/>
                    </a:lnTo>
                    <a:lnTo>
                      <a:pt x="1626" y="666"/>
                    </a:lnTo>
                    <a:lnTo>
                      <a:pt x="1620" y="666"/>
                    </a:lnTo>
                    <a:lnTo>
                      <a:pt x="1620" y="672"/>
                    </a:lnTo>
                    <a:lnTo>
                      <a:pt x="1614" y="672"/>
                    </a:lnTo>
                    <a:lnTo>
                      <a:pt x="1614" y="678"/>
                    </a:lnTo>
                    <a:lnTo>
                      <a:pt x="1608" y="678"/>
                    </a:lnTo>
                    <a:lnTo>
                      <a:pt x="1608" y="672"/>
                    </a:lnTo>
                    <a:lnTo>
                      <a:pt x="1602" y="672"/>
                    </a:lnTo>
                    <a:lnTo>
                      <a:pt x="1596" y="672"/>
                    </a:lnTo>
                    <a:lnTo>
                      <a:pt x="1596" y="678"/>
                    </a:lnTo>
                    <a:lnTo>
                      <a:pt x="1590" y="678"/>
                    </a:lnTo>
                    <a:lnTo>
                      <a:pt x="1584" y="672"/>
                    </a:lnTo>
                    <a:lnTo>
                      <a:pt x="1578" y="672"/>
                    </a:lnTo>
                    <a:lnTo>
                      <a:pt x="1572" y="666"/>
                    </a:lnTo>
                    <a:lnTo>
                      <a:pt x="1566" y="666"/>
                    </a:lnTo>
                    <a:lnTo>
                      <a:pt x="1560" y="666"/>
                    </a:lnTo>
                    <a:lnTo>
                      <a:pt x="1560" y="672"/>
                    </a:lnTo>
                    <a:lnTo>
                      <a:pt x="1554" y="678"/>
                    </a:lnTo>
                    <a:lnTo>
                      <a:pt x="1548" y="678"/>
                    </a:lnTo>
                    <a:lnTo>
                      <a:pt x="1542" y="672"/>
                    </a:lnTo>
                    <a:lnTo>
                      <a:pt x="1542" y="678"/>
                    </a:lnTo>
                    <a:lnTo>
                      <a:pt x="1536" y="678"/>
                    </a:lnTo>
                    <a:lnTo>
                      <a:pt x="1530" y="684"/>
                    </a:lnTo>
                    <a:lnTo>
                      <a:pt x="1524" y="684"/>
                    </a:lnTo>
                    <a:lnTo>
                      <a:pt x="1518" y="684"/>
                    </a:lnTo>
                    <a:lnTo>
                      <a:pt x="1518" y="678"/>
                    </a:lnTo>
                    <a:lnTo>
                      <a:pt x="1512" y="678"/>
                    </a:lnTo>
                    <a:lnTo>
                      <a:pt x="1512" y="684"/>
                    </a:lnTo>
                    <a:lnTo>
                      <a:pt x="1506" y="684"/>
                    </a:lnTo>
                    <a:lnTo>
                      <a:pt x="1506" y="690"/>
                    </a:lnTo>
                    <a:lnTo>
                      <a:pt x="1578" y="690"/>
                    </a:lnTo>
                    <a:lnTo>
                      <a:pt x="1572" y="708"/>
                    </a:lnTo>
                    <a:lnTo>
                      <a:pt x="1572" y="714"/>
                    </a:lnTo>
                    <a:lnTo>
                      <a:pt x="1566" y="714"/>
                    </a:lnTo>
                    <a:lnTo>
                      <a:pt x="1560" y="720"/>
                    </a:lnTo>
                    <a:lnTo>
                      <a:pt x="1560" y="732"/>
                    </a:lnTo>
                    <a:lnTo>
                      <a:pt x="1560" y="738"/>
                    </a:lnTo>
                    <a:lnTo>
                      <a:pt x="1560" y="744"/>
                    </a:lnTo>
                    <a:lnTo>
                      <a:pt x="1560" y="750"/>
                    </a:lnTo>
                    <a:lnTo>
                      <a:pt x="1560" y="756"/>
                    </a:lnTo>
                    <a:lnTo>
                      <a:pt x="1560" y="762"/>
                    </a:lnTo>
                    <a:lnTo>
                      <a:pt x="1554" y="762"/>
                    </a:lnTo>
                    <a:lnTo>
                      <a:pt x="1548" y="768"/>
                    </a:lnTo>
                    <a:lnTo>
                      <a:pt x="1542" y="774"/>
                    </a:lnTo>
                    <a:lnTo>
                      <a:pt x="1542" y="786"/>
                    </a:lnTo>
                    <a:lnTo>
                      <a:pt x="1530" y="792"/>
                    </a:lnTo>
                    <a:lnTo>
                      <a:pt x="1530" y="798"/>
                    </a:lnTo>
                    <a:lnTo>
                      <a:pt x="1536" y="798"/>
                    </a:lnTo>
                    <a:lnTo>
                      <a:pt x="1548" y="804"/>
                    </a:lnTo>
                    <a:lnTo>
                      <a:pt x="1542" y="810"/>
                    </a:lnTo>
                    <a:lnTo>
                      <a:pt x="1542" y="816"/>
                    </a:lnTo>
                    <a:lnTo>
                      <a:pt x="1548" y="816"/>
                    </a:lnTo>
                    <a:lnTo>
                      <a:pt x="1554" y="816"/>
                    </a:lnTo>
                    <a:lnTo>
                      <a:pt x="1566" y="816"/>
                    </a:lnTo>
                    <a:lnTo>
                      <a:pt x="1560" y="822"/>
                    </a:lnTo>
                    <a:lnTo>
                      <a:pt x="1554" y="828"/>
                    </a:lnTo>
                    <a:lnTo>
                      <a:pt x="1554" y="834"/>
                    </a:lnTo>
                    <a:lnTo>
                      <a:pt x="1560" y="840"/>
                    </a:lnTo>
                    <a:lnTo>
                      <a:pt x="1566" y="846"/>
                    </a:lnTo>
                    <a:lnTo>
                      <a:pt x="1572" y="852"/>
                    </a:lnTo>
                    <a:lnTo>
                      <a:pt x="1578" y="852"/>
                    </a:lnTo>
                    <a:lnTo>
                      <a:pt x="1584" y="858"/>
                    </a:lnTo>
                    <a:lnTo>
                      <a:pt x="1590" y="858"/>
                    </a:lnTo>
                    <a:lnTo>
                      <a:pt x="1596" y="864"/>
                    </a:lnTo>
                    <a:lnTo>
                      <a:pt x="1602" y="864"/>
                    </a:lnTo>
                    <a:lnTo>
                      <a:pt x="1602" y="882"/>
                    </a:lnTo>
                    <a:lnTo>
                      <a:pt x="1590" y="882"/>
                    </a:lnTo>
                    <a:lnTo>
                      <a:pt x="1590" y="888"/>
                    </a:lnTo>
                    <a:lnTo>
                      <a:pt x="1590" y="882"/>
                    </a:lnTo>
                    <a:lnTo>
                      <a:pt x="1584" y="882"/>
                    </a:lnTo>
                    <a:lnTo>
                      <a:pt x="1578" y="882"/>
                    </a:lnTo>
                    <a:lnTo>
                      <a:pt x="1578" y="894"/>
                    </a:lnTo>
                    <a:lnTo>
                      <a:pt x="1560" y="900"/>
                    </a:lnTo>
                    <a:lnTo>
                      <a:pt x="1518" y="900"/>
                    </a:lnTo>
                    <a:lnTo>
                      <a:pt x="1518" y="906"/>
                    </a:lnTo>
                    <a:lnTo>
                      <a:pt x="1518" y="912"/>
                    </a:lnTo>
                    <a:lnTo>
                      <a:pt x="1524" y="912"/>
                    </a:lnTo>
                    <a:lnTo>
                      <a:pt x="1524" y="942"/>
                    </a:lnTo>
                    <a:lnTo>
                      <a:pt x="1536" y="942"/>
                    </a:lnTo>
                    <a:lnTo>
                      <a:pt x="1536" y="948"/>
                    </a:lnTo>
                    <a:lnTo>
                      <a:pt x="1542" y="948"/>
                    </a:lnTo>
                    <a:lnTo>
                      <a:pt x="1548" y="948"/>
                    </a:lnTo>
                    <a:lnTo>
                      <a:pt x="1554" y="948"/>
                    </a:lnTo>
                    <a:lnTo>
                      <a:pt x="1560" y="948"/>
                    </a:lnTo>
                    <a:lnTo>
                      <a:pt x="1560" y="960"/>
                    </a:lnTo>
                    <a:lnTo>
                      <a:pt x="1560" y="966"/>
                    </a:lnTo>
                    <a:lnTo>
                      <a:pt x="1560" y="972"/>
                    </a:lnTo>
                    <a:lnTo>
                      <a:pt x="1554" y="972"/>
                    </a:lnTo>
                    <a:lnTo>
                      <a:pt x="1554" y="978"/>
                    </a:lnTo>
                    <a:lnTo>
                      <a:pt x="1554" y="984"/>
                    </a:lnTo>
                    <a:lnTo>
                      <a:pt x="1554" y="990"/>
                    </a:lnTo>
                    <a:lnTo>
                      <a:pt x="1554" y="996"/>
                    </a:lnTo>
                    <a:lnTo>
                      <a:pt x="1548" y="996"/>
                    </a:lnTo>
                    <a:lnTo>
                      <a:pt x="1542" y="990"/>
                    </a:lnTo>
                    <a:lnTo>
                      <a:pt x="1536" y="990"/>
                    </a:lnTo>
                    <a:lnTo>
                      <a:pt x="1530" y="990"/>
                    </a:lnTo>
                    <a:lnTo>
                      <a:pt x="1524" y="990"/>
                    </a:lnTo>
                    <a:lnTo>
                      <a:pt x="1518" y="990"/>
                    </a:lnTo>
                    <a:lnTo>
                      <a:pt x="1512" y="990"/>
                    </a:lnTo>
                    <a:lnTo>
                      <a:pt x="1506" y="990"/>
                    </a:lnTo>
                    <a:lnTo>
                      <a:pt x="1500" y="990"/>
                    </a:lnTo>
                    <a:lnTo>
                      <a:pt x="1494" y="990"/>
                    </a:lnTo>
                    <a:lnTo>
                      <a:pt x="1494" y="996"/>
                    </a:lnTo>
                    <a:lnTo>
                      <a:pt x="1488" y="1002"/>
                    </a:lnTo>
                    <a:lnTo>
                      <a:pt x="1482" y="1002"/>
                    </a:lnTo>
                    <a:lnTo>
                      <a:pt x="1476" y="1002"/>
                    </a:lnTo>
                    <a:lnTo>
                      <a:pt x="1470" y="1002"/>
                    </a:lnTo>
                    <a:lnTo>
                      <a:pt x="1464" y="1002"/>
                    </a:lnTo>
                    <a:lnTo>
                      <a:pt x="1458" y="1002"/>
                    </a:lnTo>
                    <a:lnTo>
                      <a:pt x="1452" y="1002"/>
                    </a:lnTo>
                    <a:lnTo>
                      <a:pt x="1446" y="1002"/>
                    </a:lnTo>
                    <a:lnTo>
                      <a:pt x="1440" y="1002"/>
                    </a:lnTo>
                    <a:lnTo>
                      <a:pt x="1440" y="990"/>
                    </a:lnTo>
                    <a:lnTo>
                      <a:pt x="1434" y="984"/>
                    </a:lnTo>
                    <a:lnTo>
                      <a:pt x="1428" y="984"/>
                    </a:lnTo>
                    <a:lnTo>
                      <a:pt x="1428" y="972"/>
                    </a:lnTo>
                    <a:lnTo>
                      <a:pt x="1428" y="954"/>
                    </a:lnTo>
                    <a:lnTo>
                      <a:pt x="1428" y="948"/>
                    </a:lnTo>
                    <a:lnTo>
                      <a:pt x="1416" y="936"/>
                    </a:lnTo>
                    <a:lnTo>
                      <a:pt x="1410" y="930"/>
                    </a:lnTo>
                    <a:lnTo>
                      <a:pt x="1404" y="924"/>
                    </a:lnTo>
                    <a:lnTo>
                      <a:pt x="1392" y="924"/>
                    </a:lnTo>
                    <a:lnTo>
                      <a:pt x="1392" y="918"/>
                    </a:lnTo>
                    <a:lnTo>
                      <a:pt x="1392" y="906"/>
                    </a:lnTo>
                    <a:lnTo>
                      <a:pt x="1392" y="900"/>
                    </a:lnTo>
                    <a:lnTo>
                      <a:pt x="1392" y="894"/>
                    </a:lnTo>
                    <a:lnTo>
                      <a:pt x="1386" y="888"/>
                    </a:lnTo>
                    <a:lnTo>
                      <a:pt x="1392" y="882"/>
                    </a:lnTo>
                    <a:lnTo>
                      <a:pt x="1392" y="876"/>
                    </a:lnTo>
                    <a:lnTo>
                      <a:pt x="1392" y="870"/>
                    </a:lnTo>
                    <a:lnTo>
                      <a:pt x="1392" y="858"/>
                    </a:lnTo>
                    <a:lnTo>
                      <a:pt x="1380" y="858"/>
                    </a:lnTo>
                    <a:lnTo>
                      <a:pt x="1374" y="858"/>
                    </a:lnTo>
                    <a:lnTo>
                      <a:pt x="1368" y="846"/>
                    </a:lnTo>
                    <a:lnTo>
                      <a:pt x="1374" y="840"/>
                    </a:lnTo>
                    <a:lnTo>
                      <a:pt x="1380" y="834"/>
                    </a:lnTo>
                    <a:lnTo>
                      <a:pt x="1380" y="828"/>
                    </a:lnTo>
                    <a:lnTo>
                      <a:pt x="1374" y="822"/>
                    </a:lnTo>
                    <a:lnTo>
                      <a:pt x="1368" y="816"/>
                    </a:lnTo>
                    <a:lnTo>
                      <a:pt x="1356" y="810"/>
                    </a:lnTo>
                    <a:lnTo>
                      <a:pt x="1350" y="810"/>
                    </a:lnTo>
                    <a:lnTo>
                      <a:pt x="1338" y="810"/>
                    </a:lnTo>
                    <a:lnTo>
                      <a:pt x="1338" y="822"/>
                    </a:lnTo>
                    <a:lnTo>
                      <a:pt x="1314" y="828"/>
                    </a:lnTo>
                    <a:lnTo>
                      <a:pt x="1308" y="822"/>
                    </a:lnTo>
                    <a:lnTo>
                      <a:pt x="1302" y="822"/>
                    </a:lnTo>
                    <a:lnTo>
                      <a:pt x="1302" y="834"/>
                    </a:lnTo>
                    <a:lnTo>
                      <a:pt x="1302" y="840"/>
                    </a:lnTo>
                    <a:lnTo>
                      <a:pt x="1302" y="846"/>
                    </a:lnTo>
                    <a:lnTo>
                      <a:pt x="1296" y="846"/>
                    </a:lnTo>
                    <a:lnTo>
                      <a:pt x="1284" y="864"/>
                    </a:lnTo>
                    <a:lnTo>
                      <a:pt x="1272" y="846"/>
                    </a:lnTo>
                    <a:lnTo>
                      <a:pt x="1236" y="834"/>
                    </a:lnTo>
                    <a:lnTo>
                      <a:pt x="1224" y="828"/>
                    </a:lnTo>
                    <a:lnTo>
                      <a:pt x="1218" y="840"/>
                    </a:lnTo>
                    <a:lnTo>
                      <a:pt x="1200" y="840"/>
                    </a:lnTo>
                    <a:lnTo>
                      <a:pt x="1182" y="828"/>
                    </a:lnTo>
                    <a:lnTo>
                      <a:pt x="1182" y="852"/>
                    </a:lnTo>
                    <a:lnTo>
                      <a:pt x="1176" y="846"/>
                    </a:lnTo>
                    <a:lnTo>
                      <a:pt x="1170" y="840"/>
                    </a:lnTo>
                    <a:lnTo>
                      <a:pt x="1164" y="840"/>
                    </a:lnTo>
                    <a:lnTo>
                      <a:pt x="1140" y="840"/>
                    </a:lnTo>
                    <a:lnTo>
                      <a:pt x="1146" y="864"/>
                    </a:lnTo>
                    <a:lnTo>
                      <a:pt x="1140" y="876"/>
                    </a:lnTo>
                    <a:lnTo>
                      <a:pt x="1158" y="888"/>
                    </a:lnTo>
                    <a:lnTo>
                      <a:pt x="1152" y="900"/>
                    </a:lnTo>
                    <a:lnTo>
                      <a:pt x="1152" y="912"/>
                    </a:lnTo>
                    <a:lnTo>
                      <a:pt x="1134" y="912"/>
                    </a:lnTo>
                    <a:lnTo>
                      <a:pt x="1086" y="948"/>
                    </a:lnTo>
                    <a:lnTo>
                      <a:pt x="1080" y="954"/>
                    </a:lnTo>
                    <a:lnTo>
                      <a:pt x="1068" y="960"/>
                    </a:lnTo>
                    <a:lnTo>
                      <a:pt x="1056" y="972"/>
                    </a:lnTo>
                    <a:lnTo>
                      <a:pt x="1056" y="978"/>
                    </a:lnTo>
                    <a:lnTo>
                      <a:pt x="1056" y="984"/>
                    </a:lnTo>
                    <a:lnTo>
                      <a:pt x="1032" y="984"/>
                    </a:lnTo>
                    <a:lnTo>
                      <a:pt x="1032" y="996"/>
                    </a:lnTo>
                    <a:lnTo>
                      <a:pt x="1038" y="996"/>
                    </a:lnTo>
                    <a:lnTo>
                      <a:pt x="1044" y="1002"/>
                    </a:lnTo>
                    <a:lnTo>
                      <a:pt x="1050" y="1014"/>
                    </a:lnTo>
                    <a:lnTo>
                      <a:pt x="1050" y="1020"/>
                    </a:lnTo>
                    <a:lnTo>
                      <a:pt x="1038" y="1026"/>
                    </a:lnTo>
                    <a:lnTo>
                      <a:pt x="1038" y="1032"/>
                    </a:lnTo>
                    <a:lnTo>
                      <a:pt x="1026" y="1044"/>
                    </a:lnTo>
                    <a:lnTo>
                      <a:pt x="1020" y="1044"/>
                    </a:lnTo>
                    <a:lnTo>
                      <a:pt x="996" y="1038"/>
                    </a:lnTo>
                    <a:lnTo>
                      <a:pt x="972" y="1032"/>
                    </a:lnTo>
                    <a:lnTo>
                      <a:pt x="972" y="1026"/>
                    </a:lnTo>
                    <a:lnTo>
                      <a:pt x="966" y="1020"/>
                    </a:lnTo>
                    <a:lnTo>
                      <a:pt x="960" y="1008"/>
                    </a:lnTo>
                    <a:lnTo>
                      <a:pt x="954" y="1002"/>
                    </a:lnTo>
                    <a:lnTo>
                      <a:pt x="948" y="1008"/>
                    </a:lnTo>
                    <a:lnTo>
                      <a:pt x="948" y="1002"/>
                    </a:lnTo>
                    <a:lnTo>
                      <a:pt x="942" y="996"/>
                    </a:lnTo>
                    <a:lnTo>
                      <a:pt x="942" y="990"/>
                    </a:lnTo>
                    <a:lnTo>
                      <a:pt x="942" y="984"/>
                    </a:lnTo>
                    <a:lnTo>
                      <a:pt x="930" y="978"/>
                    </a:lnTo>
                    <a:lnTo>
                      <a:pt x="930" y="972"/>
                    </a:lnTo>
                    <a:lnTo>
                      <a:pt x="930" y="966"/>
                    </a:lnTo>
                    <a:lnTo>
                      <a:pt x="924" y="966"/>
                    </a:lnTo>
                    <a:lnTo>
                      <a:pt x="918" y="966"/>
                    </a:lnTo>
                    <a:lnTo>
                      <a:pt x="912" y="972"/>
                    </a:lnTo>
                    <a:lnTo>
                      <a:pt x="906" y="972"/>
                    </a:lnTo>
                    <a:lnTo>
                      <a:pt x="906" y="966"/>
                    </a:lnTo>
                    <a:lnTo>
                      <a:pt x="912" y="966"/>
                    </a:lnTo>
                    <a:lnTo>
                      <a:pt x="912" y="960"/>
                    </a:lnTo>
                    <a:lnTo>
                      <a:pt x="918" y="960"/>
                    </a:lnTo>
                    <a:lnTo>
                      <a:pt x="918" y="954"/>
                    </a:lnTo>
                    <a:lnTo>
                      <a:pt x="918" y="948"/>
                    </a:lnTo>
                    <a:lnTo>
                      <a:pt x="918" y="942"/>
                    </a:lnTo>
                    <a:lnTo>
                      <a:pt x="912" y="936"/>
                    </a:lnTo>
                    <a:lnTo>
                      <a:pt x="912" y="930"/>
                    </a:lnTo>
                    <a:lnTo>
                      <a:pt x="912" y="924"/>
                    </a:lnTo>
                    <a:lnTo>
                      <a:pt x="912" y="912"/>
                    </a:lnTo>
                    <a:lnTo>
                      <a:pt x="888" y="912"/>
                    </a:lnTo>
                    <a:lnTo>
                      <a:pt x="876" y="906"/>
                    </a:lnTo>
                    <a:lnTo>
                      <a:pt x="858" y="912"/>
                    </a:lnTo>
                    <a:lnTo>
                      <a:pt x="864" y="918"/>
                    </a:lnTo>
                    <a:lnTo>
                      <a:pt x="858" y="924"/>
                    </a:lnTo>
                    <a:lnTo>
                      <a:pt x="858" y="930"/>
                    </a:lnTo>
                    <a:lnTo>
                      <a:pt x="858" y="936"/>
                    </a:lnTo>
                    <a:lnTo>
                      <a:pt x="852" y="936"/>
                    </a:lnTo>
                    <a:lnTo>
                      <a:pt x="858" y="948"/>
                    </a:lnTo>
                    <a:lnTo>
                      <a:pt x="840" y="954"/>
                    </a:lnTo>
                    <a:lnTo>
                      <a:pt x="822" y="960"/>
                    </a:lnTo>
                    <a:lnTo>
                      <a:pt x="810" y="930"/>
                    </a:lnTo>
                    <a:lnTo>
                      <a:pt x="804" y="924"/>
                    </a:lnTo>
                    <a:lnTo>
                      <a:pt x="798" y="924"/>
                    </a:lnTo>
                    <a:lnTo>
                      <a:pt x="786" y="924"/>
                    </a:lnTo>
                    <a:lnTo>
                      <a:pt x="774" y="918"/>
                    </a:lnTo>
                    <a:lnTo>
                      <a:pt x="780" y="948"/>
                    </a:lnTo>
                    <a:lnTo>
                      <a:pt x="774" y="942"/>
                    </a:lnTo>
                    <a:lnTo>
                      <a:pt x="768" y="942"/>
                    </a:lnTo>
                    <a:lnTo>
                      <a:pt x="762" y="942"/>
                    </a:lnTo>
                    <a:lnTo>
                      <a:pt x="756" y="942"/>
                    </a:lnTo>
                    <a:lnTo>
                      <a:pt x="750" y="942"/>
                    </a:lnTo>
                    <a:lnTo>
                      <a:pt x="744" y="942"/>
                    </a:lnTo>
                    <a:lnTo>
                      <a:pt x="738" y="942"/>
                    </a:lnTo>
                    <a:lnTo>
                      <a:pt x="732" y="942"/>
                    </a:lnTo>
                    <a:lnTo>
                      <a:pt x="720" y="942"/>
                    </a:lnTo>
                    <a:lnTo>
                      <a:pt x="714" y="942"/>
                    </a:lnTo>
                    <a:lnTo>
                      <a:pt x="708" y="948"/>
                    </a:lnTo>
                    <a:lnTo>
                      <a:pt x="702" y="954"/>
                    </a:lnTo>
                    <a:lnTo>
                      <a:pt x="696" y="954"/>
                    </a:lnTo>
                    <a:lnTo>
                      <a:pt x="690" y="954"/>
                    </a:lnTo>
                    <a:lnTo>
                      <a:pt x="684" y="960"/>
                    </a:lnTo>
                    <a:lnTo>
                      <a:pt x="678" y="960"/>
                    </a:lnTo>
                    <a:lnTo>
                      <a:pt x="672" y="966"/>
                    </a:lnTo>
                    <a:lnTo>
                      <a:pt x="672" y="972"/>
                    </a:lnTo>
                    <a:lnTo>
                      <a:pt x="678" y="972"/>
                    </a:lnTo>
                    <a:lnTo>
                      <a:pt x="678" y="990"/>
                    </a:lnTo>
                    <a:lnTo>
                      <a:pt x="672" y="990"/>
                    </a:lnTo>
                    <a:lnTo>
                      <a:pt x="648" y="996"/>
                    </a:lnTo>
                    <a:lnTo>
                      <a:pt x="636" y="996"/>
                    </a:lnTo>
                    <a:lnTo>
                      <a:pt x="630" y="996"/>
                    </a:lnTo>
                    <a:lnTo>
                      <a:pt x="630" y="1008"/>
                    </a:lnTo>
                    <a:lnTo>
                      <a:pt x="618" y="1008"/>
                    </a:lnTo>
                    <a:lnTo>
                      <a:pt x="606" y="1014"/>
                    </a:lnTo>
                    <a:lnTo>
                      <a:pt x="600" y="1014"/>
                    </a:lnTo>
                    <a:lnTo>
                      <a:pt x="600" y="1020"/>
                    </a:lnTo>
                    <a:lnTo>
                      <a:pt x="600" y="1026"/>
                    </a:lnTo>
                    <a:lnTo>
                      <a:pt x="600" y="1038"/>
                    </a:lnTo>
                    <a:lnTo>
                      <a:pt x="606" y="1038"/>
                    </a:lnTo>
                    <a:lnTo>
                      <a:pt x="624" y="1032"/>
                    </a:lnTo>
                    <a:lnTo>
                      <a:pt x="636" y="1032"/>
                    </a:lnTo>
                    <a:lnTo>
                      <a:pt x="642" y="1032"/>
                    </a:lnTo>
                    <a:lnTo>
                      <a:pt x="642" y="1026"/>
                    </a:lnTo>
                    <a:lnTo>
                      <a:pt x="678" y="1014"/>
                    </a:lnTo>
                    <a:lnTo>
                      <a:pt x="678" y="1026"/>
                    </a:lnTo>
                    <a:lnTo>
                      <a:pt x="684" y="1038"/>
                    </a:lnTo>
                    <a:lnTo>
                      <a:pt x="696" y="1038"/>
                    </a:lnTo>
                    <a:lnTo>
                      <a:pt x="690" y="1050"/>
                    </a:lnTo>
                    <a:lnTo>
                      <a:pt x="678" y="1056"/>
                    </a:lnTo>
                    <a:lnTo>
                      <a:pt x="672" y="1050"/>
                    </a:lnTo>
                    <a:lnTo>
                      <a:pt x="642" y="1050"/>
                    </a:lnTo>
                    <a:lnTo>
                      <a:pt x="642" y="1056"/>
                    </a:lnTo>
                    <a:lnTo>
                      <a:pt x="642" y="1068"/>
                    </a:lnTo>
                    <a:lnTo>
                      <a:pt x="636" y="1068"/>
                    </a:lnTo>
                    <a:lnTo>
                      <a:pt x="624" y="1068"/>
                    </a:lnTo>
                    <a:lnTo>
                      <a:pt x="618" y="1068"/>
                    </a:lnTo>
                    <a:lnTo>
                      <a:pt x="612" y="1068"/>
                    </a:lnTo>
                    <a:lnTo>
                      <a:pt x="606" y="1074"/>
                    </a:lnTo>
                    <a:lnTo>
                      <a:pt x="600" y="1062"/>
                    </a:lnTo>
                    <a:lnTo>
                      <a:pt x="582" y="1068"/>
                    </a:lnTo>
                    <a:lnTo>
                      <a:pt x="576" y="1056"/>
                    </a:lnTo>
                    <a:lnTo>
                      <a:pt x="570" y="1056"/>
                    </a:lnTo>
                    <a:lnTo>
                      <a:pt x="570" y="1050"/>
                    </a:lnTo>
                    <a:lnTo>
                      <a:pt x="570" y="1044"/>
                    </a:lnTo>
                    <a:lnTo>
                      <a:pt x="564" y="1038"/>
                    </a:lnTo>
                    <a:lnTo>
                      <a:pt x="558" y="1026"/>
                    </a:lnTo>
                    <a:lnTo>
                      <a:pt x="552" y="1026"/>
                    </a:lnTo>
                    <a:lnTo>
                      <a:pt x="534" y="1032"/>
                    </a:lnTo>
                    <a:lnTo>
                      <a:pt x="528" y="1032"/>
                    </a:lnTo>
                    <a:lnTo>
                      <a:pt x="528" y="1026"/>
                    </a:lnTo>
                    <a:lnTo>
                      <a:pt x="528" y="1014"/>
                    </a:lnTo>
                    <a:lnTo>
                      <a:pt x="510" y="1008"/>
                    </a:lnTo>
                    <a:lnTo>
                      <a:pt x="510" y="1002"/>
                    </a:lnTo>
                    <a:lnTo>
                      <a:pt x="516" y="996"/>
                    </a:lnTo>
                    <a:lnTo>
                      <a:pt x="528" y="990"/>
                    </a:lnTo>
                    <a:lnTo>
                      <a:pt x="534" y="996"/>
                    </a:lnTo>
                    <a:lnTo>
                      <a:pt x="540" y="1002"/>
                    </a:lnTo>
                    <a:lnTo>
                      <a:pt x="552" y="1002"/>
                    </a:lnTo>
                    <a:lnTo>
                      <a:pt x="558" y="1002"/>
                    </a:lnTo>
                    <a:lnTo>
                      <a:pt x="558" y="996"/>
                    </a:lnTo>
                    <a:lnTo>
                      <a:pt x="564" y="984"/>
                    </a:lnTo>
                    <a:lnTo>
                      <a:pt x="564" y="978"/>
                    </a:lnTo>
                    <a:lnTo>
                      <a:pt x="558" y="978"/>
                    </a:lnTo>
                    <a:lnTo>
                      <a:pt x="552" y="972"/>
                    </a:lnTo>
                    <a:lnTo>
                      <a:pt x="546" y="972"/>
                    </a:lnTo>
                    <a:lnTo>
                      <a:pt x="534" y="966"/>
                    </a:lnTo>
                    <a:lnTo>
                      <a:pt x="522" y="960"/>
                    </a:lnTo>
                    <a:lnTo>
                      <a:pt x="516" y="960"/>
                    </a:lnTo>
                    <a:lnTo>
                      <a:pt x="492" y="954"/>
                    </a:lnTo>
                    <a:lnTo>
                      <a:pt x="486" y="954"/>
                    </a:lnTo>
                    <a:lnTo>
                      <a:pt x="480" y="948"/>
                    </a:lnTo>
                    <a:lnTo>
                      <a:pt x="474" y="948"/>
                    </a:lnTo>
                    <a:lnTo>
                      <a:pt x="468" y="954"/>
                    </a:lnTo>
                    <a:lnTo>
                      <a:pt x="468" y="960"/>
                    </a:lnTo>
                    <a:lnTo>
                      <a:pt x="462" y="960"/>
                    </a:lnTo>
                    <a:lnTo>
                      <a:pt x="456" y="954"/>
                    </a:lnTo>
                    <a:lnTo>
                      <a:pt x="456" y="948"/>
                    </a:lnTo>
                    <a:lnTo>
                      <a:pt x="462" y="948"/>
                    </a:lnTo>
                    <a:lnTo>
                      <a:pt x="462" y="936"/>
                    </a:lnTo>
                    <a:lnTo>
                      <a:pt x="456" y="936"/>
                    </a:lnTo>
                    <a:lnTo>
                      <a:pt x="450" y="936"/>
                    </a:lnTo>
                    <a:lnTo>
                      <a:pt x="444" y="936"/>
                    </a:lnTo>
                    <a:lnTo>
                      <a:pt x="438" y="930"/>
                    </a:lnTo>
                    <a:lnTo>
                      <a:pt x="438" y="954"/>
                    </a:lnTo>
                    <a:lnTo>
                      <a:pt x="432" y="948"/>
                    </a:lnTo>
                    <a:lnTo>
                      <a:pt x="426" y="948"/>
                    </a:lnTo>
                    <a:lnTo>
                      <a:pt x="414" y="948"/>
                    </a:lnTo>
                    <a:lnTo>
                      <a:pt x="408" y="948"/>
                    </a:lnTo>
                    <a:lnTo>
                      <a:pt x="402" y="954"/>
                    </a:lnTo>
                    <a:lnTo>
                      <a:pt x="396" y="948"/>
                    </a:lnTo>
                    <a:lnTo>
                      <a:pt x="390" y="942"/>
                    </a:lnTo>
                    <a:lnTo>
                      <a:pt x="384" y="948"/>
                    </a:lnTo>
                    <a:lnTo>
                      <a:pt x="372" y="942"/>
                    </a:lnTo>
                    <a:lnTo>
                      <a:pt x="366" y="948"/>
                    </a:lnTo>
                    <a:lnTo>
                      <a:pt x="366" y="954"/>
                    </a:lnTo>
                    <a:lnTo>
                      <a:pt x="366" y="960"/>
                    </a:lnTo>
                    <a:lnTo>
                      <a:pt x="366" y="966"/>
                    </a:lnTo>
                    <a:lnTo>
                      <a:pt x="366" y="972"/>
                    </a:lnTo>
                    <a:lnTo>
                      <a:pt x="360" y="972"/>
                    </a:lnTo>
                    <a:lnTo>
                      <a:pt x="354" y="978"/>
                    </a:lnTo>
                    <a:lnTo>
                      <a:pt x="360" y="978"/>
                    </a:lnTo>
                    <a:lnTo>
                      <a:pt x="348" y="990"/>
                    </a:lnTo>
                    <a:lnTo>
                      <a:pt x="342" y="990"/>
                    </a:lnTo>
                    <a:lnTo>
                      <a:pt x="342" y="984"/>
                    </a:lnTo>
                    <a:lnTo>
                      <a:pt x="336" y="984"/>
                    </a:lnTo>
                    <a:lnTo>
                      <a:pt x="336" y="978"/>
                    </a:lnTo>
                    <a:lnTo>
                      <a:pt x="336" y="972"/>
                    </a:lnTo>
                    <a:lnTo>
                      <a:pt x="318" y="972"/>
                    </a:lnTo>
                    <a:lnTo>
                      <a:pt x="312" y="972"/>
                    </a:lnTo>
                    <a:lnTo>
                      <a:pt x="300" y="978"/>
                    </a:lnTo>
                    <a:lnTo>
                      <a:pt x="294" y="978"/>
                    </a:lnTo>
                    <a:lnTo>
                      <a:pt x="288" y="972"/>
                    </a:lnTo>
                    <a:lnTo>
                      <a:pt x="282" y="954"/>
                    </a:lnTo>
                    <a:lnTo>
                      <a:pt x="276" y="954"/>
                    </a:lnTo>
                    <a:lnTo>
                      <a:pt x="234" y="948"/>
                    </a:lnTo>
                    <a:lnTo>
                      <a:pt x="234" y="942"/>
                    </a:lnTo>
                    <a:lnTo>
                      <a:pt x="234" y="936"/>
                    </a:lnTo>
                    <a:lnTo>
                      <a:pt x="228" y="930"/>
                    </a:lnTo>
                    <a:lnTo>
                      <a:pt x="228" y="924"/>
                    </a:lnTo>
                    <a:lnTo>
                      <a:pt x="222" y="918"/>
                    </a:lnTo>
                    <a:lnTo>
                      <a:pt x="210" y="918"/>
                    </a:lnTo>
                    <a:lnTo>
                      <a:pt x="204" y="912"/>
                    </a:lnTo>
                    <a:lnTo>
                      <a:pt x="204" y="900"/>
                    </a:lnTo>
                    <a:lnTo>
                      <a:pt x="198" y="894"/>
                    </a:lnTo>
                    <a:lnTo>
                      <a:pt x="198" y="876"/>
                    </a:lnTo>
                    <a:lnTo>
                      <a:pt x="198" y="858"/>
                    </a:lnTo>
                    <a:lnTo>
                      <a:pt x="192" y="858"/>
                    </a:lnTo>
                    <a:lnTo>
                      <a:pt x="186" y="858"/>
                    </a:lnTo>
                    <a:lnTo>
                      <a:pt x="180" y="876"/>
                    </a:lnTo>
                    <a:lnTo>
                      <a:pt x="174" y="870"/>
                    </a:lnTo>
                    <a:lnTo>
                      <a:pt x="174" y="876"/>
                    </a:lnTo>
                    <a:lnTo>
                      <a:pt x="168" y="882"/>
                    </a:lnTo>
                    <a:lnTo>
                      <a:pt x="150" y="888"/>
                    </a:lnTo>
                    <a:lnTo>
                      <a:pt x="120" y="894"/>
                    </a:lnTo>
                    <a:lnTo>
                      <a:pt x="120" y="900"/>
                    </a:lnTo>
                    <a:lnTo>
                      <a:pt x="114" y="906"/>
                    </a:lnTo>
                    <a:lnTo>
                      <a:pt x="108" y="906"/>
                    </a:lnTo>
                    <a:lnTo>
                      <a:pt x="96" y="900"/>
                    </a:lnTo>
                    <a:lnTo>
                      <a:pt x="96" y="906"/>
                    </a:lnTo>
                    <a:lnTo>
                      <a:pt x="90" y="900"/>
                    </a:lnTo>
                    <a:lnTo>
                      <a:pt x="72" y="888"/>
                    </a:lnTo>
                    <a:lnTo>
                      <a:pt x="66" y="888"/>
                    </a:lnTo>
                    <a:lnTo>
                      <a:pt x="60" y="888"/>
                    </a:lnTo>
                    <a:lnTo>
                      <a:pt x="54" y="888"/>
                    </a:lnTo>
                    <a:lnTo>
                      <a:pt x="48" y="888"/>
                    </a:lnTo>
                    <a:lnTo>
                      <a:pt x="18" y="882"/>
                    </a:lnTo>
                    <a:lnTo>
                      <a:pt x="12" y="882"/>
                    </a:lnTo>
                    <a:lnTo>
                      <a:pt x="0" y="858"/>
                    </a:lnTo>
                    <a:lnTo>
                      <a:pt x="0" y="822"/>
                    </a:lnTo>
                    <a:lnTo>
                      <a:pt x="6" y="822"/>
                    </a:lnTo>
                    <a:lnTo>
                      <a:pt x="12" y="816"/>
                    </a:lnTo>
                    <a:lnTo>
                      <a:pt x="18" y="816"/>
                    </a:lnTo>
                    <a:lnTo>
                      <a:pt x="24" y="810"/>
                    </a:lnTo>
                    <a:lnTo>
                      <a:pt x="24" y="804"/>
                    </a:lnTo>
                    <a:lnTo>
                      <a:pt x="30" y="786"/>
                    </a:lnTo>
                    <a:lnTo>
                      <a:pt x="36" y="780"/>
                    </a:lnTo>
                    <a:lnTo>
                      <a:pt x="36" y="774"/>
                    </a:lnTo>
                    <a:lnTo>
                      <a:pt x="42" y="768"/>
                    </a:lnTo>
                    <a:lnTo>
                      <a:pt x="48" y="762"/>
                    </a:lnTo>
                    <a:lnTo>
                      <a:pt x="54" y="762"/>
                    </a:lnTo>
                    <a:lnTo>
                      <a:pt x="54" y="756"/>
                    </a:lnTo>
                    <a:lnTo>
                      <a:pt x="60" y="756"/>
                    </a:lnTo>
                    <a:lnTo>
                      <a:pt x="60" y="750"/>
                    </a:lnTo>
                    <a:lnTo>
                      <a:pt x="60" y="744"/>
                    </a:lnTo>
                    <a:lnTo>
                      <a:pt x="66" y="744"/>
                    </a:lnTo>
                    <a:lnTo>
                      <a:pt x="72" y="744"/>
                    </a:lnTo>
                    <a:lnTo>
                      <a:pt x="78" y="744"/>
                    </a:lnTo>
                    <a:lnTo>
                      <a:pt x="78" y="738"/>
                    </a:lnTo>
                    <a:lnTo>
                      <a:pt x="84" y="744"/>
                    </a:lnTo>
                    <a:lnTo>
                      <a:pt x="84" y="738"/>
                    </a:lnTo>
                    <a:lnTo>
                      <a:pt x="84" y="732"/>
                    </a:lnTo>
                    <a:lnTo>
                      <a:pt x="84" y="726"/>
                    </a:lnTo>
                    <a:lnTo>
                      <a:pt x="90" y="726"/>
                    </a:lnTo>
                    <a:lnTo>
                      <a:pt x="90" y="720"/>
                    </a:lnTo>
                    <a:lnTo>
                      <a:pt x="96" y="720"/>
                    </a:lnTo>
                    <a:lnTo>
                      <a:pt x="96" y="714"/>
                    </a:lnTo>
                    <a:lnTo>
                      <a:pt x="102" y="720"/>
                    </a:lnTo>
                    <a:lnTo>
                      <a:pt x="102" y="714"/>
                    </a:lnTo>
                    <a:lnTo>
                      <a:pt x="108" y="714"/>
                    </a:lnTo>
                    <a:lnTo>
                      <a:pt x="114" y="714"/>
                    </a:lnTo>
                    <a:lnTo>
                      <a:pt x="120" y="714"/>
                    </a:lnTo>
                    <a:lnTo>
                      <a:pt x="126" y="708"/>
                    </a:lnTo>
                    <a:lnTo>
                      <a:pt x="132" y="708"/>
                    </a:lnTo>
                    <a:lnTo>
                      <a:pt x="132" y="702"/>
                    </a:lnTo>
                    <a:lnTo>
                      <a:pt x="138" y="702"/>
                    </a:lnTo>
                    <a:lnTo>
                      <a:pt x="144" y="702"/>
                    </a:lnTo>
                    <a:lnTo>
                      <a:pt x="144" y="696"/>
                    </a:lnTo>
                    <a:lnTo>
                      <a:pt x="150" y="696"/>
                    </a:lnTo>
                    <a:lnTo>
                      <a:pt x="144" y="690"/>
                    </a:lnTo>
                    <a:lnTo>
                      <a:pt x="144" y="684"/>
                    </a:lnTo>
                    <a:lnTo>
                      <a:pt x="150" y="678"/>
                    </a:lnTo>
                    <a:lnTo>
                      <a:pt x="144" y="672"/>
                    </a:lnTo>
                    <a:lnTo>
                      <a:pt x="150" y="666"/>
                    </a:lnTo>
                    <a:lnTo>
                      <a:pt x="150" y="660"/>
                    </a:lnTo>
                    <a:lnTo>
                      <a:pt x="144" y="654"/>
                    </a:lnTo>
                    <a:lnTo>
                      <a:pt x="150" y="654"/>
                    </a:lnTo>
                    <a:lnTo>
                      <a:pt x="150" y="642"/>
                    </a:lnTo>
                    <a:lnTo>
                      <a:pt x="156" y="642"/>
                    </a:lnTo>
                    <a:lnTo>
                      <a:pt x="156" y="636"/>
                    </a:lnTo>
                    <a:lnTo>
                      <a:pt x="156" y="630"/>
                    </a:lnTo>
                    <a:lnTo>
                      <a:pt x="162" y="618"/>
                    </a:lnTo>
                    <a:lnTo>
                      <a:pt x="162" y="612"/>
                    </a:lnTo>
                    <a:lnTo>
                      <a:pt x="162" y="606"/>
                    </a:lnTo>
                    <a:lnTo>
                      <a:pt x="162" y="600"/>
                    </a:lnTo>
                    <a:lnTo>
                      <a:pt x="168" y="600"/>
                    </a:lnTo>
                    <a:lnTo>
                      <a:pt x="168" y="594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74" y="576"/>
                    </a:lnTo>
                    <a:lnTo>
                      <a:pt x="174" y="570"/>
                    </a:lnTo>
                    <a:lnTo>
                      <a:pt x="174" y="564"/>
                    </a:lnTo>
                    <a:lnTo>
                      <a:pt x="168" y="564"/>
                    </a:lnTo>
                    <a:lnTo>
                      <a:pt x="168" y="558"/>
                    </a:lnTo>
                    <a:lnTo>
                      <a:pt x="174" y="558"/>
                    </a:lnTo>
                    <a:lnTo>
                      <a:pt x="174" y="552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80" y="540"/>
                    </a:lnTo>
                    <a:lnTo>
                      <a:pt x="180" y="534"/>
                    </a:lnTo>
                    <a:lnTo>
                      <a:pt x="180" y="528"/>
                    </a:lnTo>
                    <a:lnTo>
                      <a:pt x="180" y="522"/>
                    </a:lnTo>
                    <a:lnTo>
                      <a:pt x="180" y="510"/>
                    </a:lnTo>
                    <a:lnTo>
                      <a:pt x="186" y="510"/>
                    </a:lnTo>
                    <a:lnTo>
                      <a:pt x="192" y="504"/>
                    </a:lnTo>
                    <a:lnTo>
                      <a:pt x="192" y="498"/>
                    </a:lnTo>
                    <a:lnTo>
                      <a:pt x="192" y="492"/>
                    </a:lnTo>
                    <a:lnTo>
                      <a:pt x="198" y="492"/>
                    </a:lnTo>
                    <a:lnTo>
                      <a:pt x="198" y="498"/>
                    </a:lnTo>
                    <a:lnTo>
                      <a:pt x="204" y="498"/>
                    </a:lnTo>
                    <a:lnTo>
                      <a:pt x="198" y="498"/>
                    </a:lnTo>
                    <a:lnTo>
                      <a:pt x="198" y="504"/>
                    </a:lnTo>
                    <a:lnTo>
                      <a:pt x="204" y="504"/>
                    </a:lnTo>
                    <a:lnTo>
                      <a:pt x="210" y="498"/>
                    </a:lnTo>
                    <a:lnTo>
                      <a:pt x="216" y="498"/>
                    </a:lnTo>
                    <a:lnTo>
                      <a:pt x="216" y="492"/>
                    </a:lnTo>
                    <a:lnTo>
                      <a:pt x="216" y="486"/>
                    </a:lnTo>
                    <a:lnTo>
                      <a:pt x="210" y="486"/>
                    </a:lnTo>
                    <a:lnTo>
                      <a:pt x="210" y="480"/>
                    </a:lnTo>
                    <a:lnTo>
                      <a:pt x="216" y="480"/>
                    </a:lnTo>
                    <a:lnTo>
                      <a:pt x="216" y="474"/>
                    </a:lnTo>
                    <a:lnTo>
                      <a:pt x="222" y="474"/>
                    </a:lnTo>
                    <a:lnTo>
                      <a:pt x="222" y="468"/>
                    </a:lnTo>
                    <a:lnTo>
                      <a:pt x="228" y="468"/>
                    </a:lnTo>
                    <a:lnTo>
                      <a:pt x="234" y="468"/>
                    </a:lnTo>
                    <a:lnTo>
                      <a:pt x="240" y="468"/>
                    </a:lnTo>
                    <a:lnTo>
                      <a:pt x="240" y="462"/>
                    </a:lnTo>
                    <a:lnTo>
                      <a:pt x="234" y="462"/>
                    </a:lnTo>
                    <a:lnTo>
                      <a:pt x="234" y="456"/>
                    </a:lnTo>
                    <a:lnTo>
                      <a:pt x="234" y="450"/>
                    </a:lnTo>
                    <a:lnTo>
                      <a:pt x="240" y="450"/>
                    </a:lnTo>
                    <a:lnTo>
                      <a:pt x="240" y="456"/>
                    </a:lnTo>
                    <a:lnTo>
                      <a:pt x="246" y="450"/>
                    </a:lnTo>
                    <a:lnTo>
                      <a:pt x="246" y="456"/>
                    </a:lnTo>
                    <a:lnTo>
                      <a:pt x="252" y="456"/>
                    </a:lnTo>
                    <a:lnTo>
                      <a:pt x="258" y="456"/>
                    </a:lnTo>
                    <a:lnTo>
                      <a:pt x="258" y="450"/>
                    </a:lnTo>
                    <a:lnTo>
                      <a:pt x="252" y="450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58" y="438"/>
                    </a:lnTo>
                    <a:lnTo>
                      <a:pt x="264" y="444"/>
                    </a:lnTo>
                    <a:lnTo>
                      <a:pt x="264" y="438"/>
                    </a:lnTo>
                    <a:lnTo>
                      <a:pt x="270" y="438"/>
                    </a:lnTo>
                    <a:lnTo>
                      <a:pt x="276" y="438"/>
                    </a:lnTo>
                    <a:lnTo>
                      <a:pt x="276" y="432"/>
                    </a:lnTo>
                    <a:lnTo>
                      <a:pt x="282" y="432"/>
                    </a:lnTo>
                    <a:lnTo>
                      <a:pt x="288" y="426"/>
                    </a:lnTo>
                    <a:lnTo>
                      <a:pt x="288" y="420"/>
                    </a:lnTo>
                    <a:lnTo>
                      <a:pt x="294" y="414"/>
                    </a:lnTo>
                    <a:lnTo>
                      <a:pt x="300" y="408"/>
                    </a:lnTo>
                    <a:lnTo>
                      <a:pt x="300" y="414"/>
                    </a:lnTo>
                    <a:lnTo>
                      <a:pt x="300" y="420"/>
                    </a:lnTo>
                    <a:lnTo>
                      <a:pt x="306" y="420"/>
                    </a:lnTo>
                    <a:lnTo>
                      <a:pt x="312" y="420"/>
                    </a:lnTo>
                    <a:lnTo>
                      <a:pt x="312" y="414"/>
                    </a:lnTo>
                    <a:lnTo>
                      <a:pt x="312" y="408"/>
                    </a:lnTo>
                    <a:lnTo>
                      <a:pt x="318" y="408"/>
                    </a:lnTo>
                    <a:lnTo>
                      <a:pt x="318" y="414"/>
                    </a:lnTo>
                    <a:lnTo>
                      <a:pt x="318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24" y="408"/>
                    </a:lnTo>
                    <a:lnTo>
                      <a:pt x="330" y="408"/>
                    </a:lnTo>
                    <a:lnTo>
                      <a:pt x="336" y="408"/>
                    </a:lnTo>
                    <a:lnTo>
                      <a:pt x="354" y="408"/>
                    </a:lnTo>
                    <a:lnTo>
                      <a:pt x="360" y="402"/>
                    </a:lnTo>
                    <a:lnTo>
                      <a:pt x="366" y="396"/>
                    </a:lnTo>
                    <a:lnTo>
                      <a:pt x="366" y="390"/>
                    </a:lnTo>
                    <a:lnTo>
                      <a:pt x="372" y="384"/>
                    </a:lnTo>
                    <a:lnTo>
                      <a:pt x="366" y="384"/>
                    </a:lnTo>
                    <a:lnTo>
                      <a:pt x="372" y="378"/>
                    </a:lnTo>
                    <a:lnTo>
                      <a:pt x="372" y="372"/>
                    </a:lnTo>
                    <a:lnTo>
                      <a:pt x="372" y="366"/>
                    </a:lnTo>
                    <a:lnTo>
                      <a:pt x="378" y="366"/>
                    </a:lnTo>
                    <a:lnTo>
                      <a:pt x="378" y="360"/>
                    </a:lnTo>
                    <a:lnTo>
                      <a:pt x="378" y="354"/>
                    </a:lnTo>
                    <a:lnTo>
                      <a:pt x="384" y="348"/>
                    </a:lnTo>
                    <a:lnTo>
                      <a:pt x="384" y="354"/>
                    </a:lnTo>
                    <a:lnTo>
                      <a:pt x="390" y="354"/>
                    </a:lnTo>
                    <a:lnTo>
                      <a:pt x="396" y="354"/>
                    </a:lnTo>
                    <a:lnTo>
                      <a:pt x="402" y="354"/>
                    </a:lnTo>
                    <a:lnTo>
                      <a:pt x="402" y="348"/>
                    </a:lnTo>
                    <a:lnTo>
                      <a:pt x="408" y="348"/>
                    </a:lnTo>
                    <a:lnTo>
                      <a:pt x="414" y="354"/>
                    </a:lnTo>
                    <a:lnTo>
                      <a:pt x="414" y="360"/>
                    </a:lnTo>
                    <a:lnTo>
                      <a:pt x="420" y="360"/>
                    </a:lnTo>
                    <a:lnTo>
                      <a:pt x="426" y="354"/>
                    </a:lnTo>
                    <a:lnTo>
                      <a:pt x="426" y="348"/>
                    </a:lnTo>
                    <a:lnTo>
                      <a:pt x="432" y="342"/>
                    </a:lnTo>
                    <a:lnTo>
                      <a:pt x="438" y="336"/>
                    </a:lnTo>
                    <a:lnTo>
                      <a:pt x="438" y="330"/>
                    </a:lnTo>
                    <a:lnTo>
                      <a:pt x="432" y="330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38" y="330"/>
                    </a:lnTo>
                    <a:lnTo>
                      <a:pt x="444" y="324"/>
                    </a:lnTo>
                    <a:lnTo>
                      <a:pt x="450" y="324"/>
                    </a:lnTo>
                    <a:lnTo>
                      <a:pt x="450" y="318"/>
                    </a:lnTo>
                    <a:lnTo>
                      <a:pt x="456" y="318"/>
                    </a:lnTo>
                    <a:lnTo>
                      <a:pt x="462" y="312"/>
                    </a:lnTo>
                    <a:lnTo>
                      <a:pt x="468" y="312"/>
                    </a:lnTo>
                    <a:lnTo>
                      <a:pt x="474" y="306"/>
                    </a:lnTo>
                    <a:lnTo>
                      <a:pt x="480" y="306"/>
                    </a:lnTo>
                    <a:lnTo>
                      <a:pt x="480" y="300"/>
                    </a:lnTo>
                    <a:lnTo>
                      <a:pt x="486" y="300"/>
                    </a:lnTo>
                    <a:lnTo>
                      <a:pt x="486" y="294"/>
                    </a:lnTo>
                    <a:lnTo>
                      <a:pt x="486" y="288"/>
                    </a:lnTo>
                    <a:lnTo>
                      <a:pt x="486" y="282"/>
                    </a:lnTo>
                    <a:lnTo>
                      <a:pt x="492" y="276"/>
                    </a:lnTo>
                    <a:lnTo>
                      <a:pt x="486" y="264"/>
                    </a:lnTo>
                    <a:lnTo>
                      <a:pt x="492" y="264"/>
                    </a:lnTo>
                    <a:lnTo>
                      <a:pt x="498" y="264"/>
                    </a:lnTo>
                    <a:lnTo>
                      <a:pt x="504" y="258"/>
                    </a:lnTo>
                    <a:lnTo>
                      <a:pt x="510" y="252"/>
                    </a:lnTo>
                    <a:lnTo>
                      <a:pt x="516" y="252"/>
                    </a:lnTo>
                    <a:lnTo>
                      <a:pt x="522" y="246"/>
                    </a:lnTo>
                    <a:lnTo>
                      <a:pt x="522" y="240"/>
                    </a:lnTo>
                    <a:lnTo>
                      <a:pt x="522" y="234"/>
                    </a:lnTo>
                    <a:lnTo>
                      <a:pt x="522" y="228"/>
                    </a:lnTo>
                    <a:lnTo>
                      <a:pt x="522" y="222"/>
                    </a:lnTo>
                    <a:lnTo>
                      <a:pt x="534" y="222"/>
                    </a:lnTo>
                    <a:lnTo>
                      <a:pt x="540" y="216"/>
                    </a:lnTo>
                    <a:lnTo>
                      <a:pt x="540" y="210"/>
                    </a:lnTo>
                    <a:lnTo>
                      <a:pt x="546" y="210"/>
                    </a:lnTo>
                    <a:lnTo>
                      <a:pt x="558" y="204"/>
                    </a:lnTo>
                    <a:lnTo>
                      <a:pt x="558" y="198"/>
                    </a:lnTo>
                    <a:lnTo>
                      <a:pt x="558" y="180"/>
                    </a:lnTo>
                    <a:lnTo>
                      <a:pt x="564" y="180"/>
                    </a:lnTo>
                    <a:lnTo>
                      <a:pt x="564" y="174"/>
                    </a:lnTo>
                    <a:lnTo>
                      <a:pt x="570" y="168"/>
                    </a:lnTo>
                    <a:lnTo>
                      <a:pt x="582" y="168"/>
                    </a:lnTo>
                    <a:lnTo>
                      <a:pt x="588" y="162"/>
                    </a:lnTo>
                    <a:lnTo>
                      <a:pt x="594" y="162"/>
                    </a:lnTo>
                    <a:lnTo>
                      <a:pt x="594" y="156"/>
                    </a:lnTo>
                    <a:lnTo>
                      <a:pt x="594" y="150"/>
                    </a:lnTo>
                    <a:lnTo>
                      <a:pt x="606" y="150"/>
                    </a:lnTo>
                    <a:lnTo>
                      <a:pt x="612" y="144"/>
                    </a:lnTo>
                    <a:lnTo>
                      <a:pt x="618" y="138"/>
                    </a:lnTo>
                    <a:lnTo>
                      <a:pt x="624" y="138"/>
                    </a:lnTo>
                    <a:lnTo>
                      <a:pt x="636" y="138"/>
                    </a:lnTo>
                    <a:lnTo>
                      <a:pt x="648" y="138"/>
                    </a:lnTo>
                    <a:lnTo>
                      <a:pt x="654" y="138"/>
                    </a:lnTo>
                    <a:lnTo>
                      <a:pt x="666" y="138"/>
                    </a:lnTo>
                    <a:lnTo>
                      <a:pt x="666" y="144"/>
                    </a:lnTo>
                    <a:lnTo>
                      <a:pt x="672" y="144"/>
                    </a:lnTo>
                    <a:lnTo>
                      <a:pt x="672" y="138"/>
                    </a:lnTo>
                    <a:lnTo>
                      <a:pt x="678" y="138"/>
                    </a:lnTo>
                    <a:lnTo>
                      <a:pt x="684" y="138"/>
                    </a:lnTo>
                    <a:lnTo>
                      <a:pt x="690" y="132"/>
                    </a:lnTo>
                    <a:lnTo>
                      <a:pt x="690" y="138"/>
                    </a:lnTo>
                    <a:lnTo>
                      <a:pt x="696" y="138"/>
                    </a:lnTo>
                    <a:lnTo>
                      <a:pt x="702" y="132"/>
                    </a:lnTo>
                    <a:lnTo>
                      <a:pt x="708" y="132"/>
                    </a:lnTo>
                    <a:lnTo>
                      <a:pt x="714" y="132"/>
                    </a:lnTo>
                    <a:lnTo>
                      <a:pt x="720" y="126"/>
                    </a:lnTo>
                    <a:lnTo>
                      <a:pt x="726" y="126"/>
                    </a:lnTo>
                    <a:lnTo>
                      <a:pt x="732" y="120"/>
                    </a:lnTo>
                    <a:lnTo>
                      <a:pt x="738" y="120"/>
                    </a:lnTo>
                    <a:lnTo>
                      <a:pt x="744" y="114"/>
                    </a:lnTo>
                    <a:lnTo>
                      <a:pt x="750" y="114"/>
                    </a:lnTo>
                    <a:lnTo>
                      <a:pt x="768" y="114"/>
                    </a:lnTo>
                    <a:lnTo>
                      <a:pt x="768" y="108"/>
                    </a:lnTo>
                    <a:lnTo>
                      <a:pt x="768" y="102"/>
                    </a:lnTo>
                    <a:lnTo>
                      <a:pt x="774" y="102"/>
                    </a:lnTo>
                    <a:lnTo>
                      <a:pt x="780" y="96"/>
                    </a:lnTo>
                    <a:lnTo>
                      <a:pt x="786" y="96"/>
                    </a:lnTo>
                    <a:lnTo>
                      <a:pt x="786" y="102"/>
                    </a:lnTo>
                    <a:lnTo>
                      <a:pt x="792" y="102"/>
                    </a:lnTo>
                    <a:lnTo>
                      <a:pt x="798" y="102"/>
                    </a:lnTo>
                    <a:lnTo>
                      <a:pt x="804" y="96"/>
                    </a:lnTo>
                    <a:lnTo>
                      <a:pt x="810" y="84"/>
                    </a:lnTo>
                    <a:lnTo>
                      <a:pt x="816" y="78"/>
                    </a:lnTo>
                    <a:lnTo>
                      <a:pt x="816" y="72"/>
                    </a:lnTo>
                    <a:lnTo>
                      <a:pt x="810" y="60"/>
                    </a:lnTo>
                    <a:lnTo>
                      <a:pt x="810" y="54"/>
                    </a:lnTo>
                    <a:lnTo>
                      <a:pt x="816" y="54"/>
                    </a:lnTo>
                    <a:lnTo>
                      <a:pt x="816" y="48"/>
                    </a:lnTo>
                    <a:lnTo>
                      <a:pt x="822" y="42"/>
                    </a:lnTo>
                    <a:lnTo>
                      <a:pt x="828" y="42"/>
                    </a:lnTo>
                    <a:lnTo>
                      <a:pt x="828" y="36"/>
                    </a:lnTo>
                    <a:lnTo>
                      <a:pt x="828" y="30"/>
                    </a:lnTo>
                    <a:lnTo>
                      <a:pt x="834" y="24"/>
                    </a:lnTo>
                    <a:lnTo>
                      <a:pt x="840" y="24"/>
                    </a:lnTo>
                    <a:lnTo>
                      <a:pt x="846" y="24"/>
                    </a:lnTo>
                    <a:lnTo>
                      <a:pt x="852" y="24"/>
                    </a:lnTo>
                    <a:lnTo>
                      <a:pt x="858" y="24"/>
                    </a:lnTo>
                    <a:lnTo>
                      <a:pt x="864" y="24"/>
                    </a:lnTo>
                    <a:lnTo>
                      <a:pt x="870" y="24"/>
                    </a:lnTo>
                    <a:lnTo>
                      <a:pt x="876" y="24"/>
                    </a:lnTo>
                    <a:lnTo>
                      <a:pt x="888" y="12"/>
                    </a:lnTo>
                    <a:lnTo>
                      <a:pt x="894" y="12"/>
                    </a:lnTo>
                    <a:lnTo>
                      <a:pt x="900" y="12"/>
                    </a:lnTo>
                    <a:lnTo>
                      <a:pt x="906" y="18"/>
                    </a:lnTo>
                    <a:lnTo>
                      <a:pt x="912" y="18"/>
                    </a:lnTo>
                    <a:lnTo>
                      <a:pt x="918" y="18"/>
                    </a:lnTo>
                    <a:lnTo>
                      <a:pt x="924" y="18"/>
                    </a:lnTo>
                    <a:lnTo>
                      <a:pt x="930" y="24"/>
                    </a:lnTo>
                    <a:lnTo>
                      <a:pt x="936" y="18"/>
                    </a:lnTo>
                    <a:lnTo>
                      <a:pt x="942" y="18"/>
                    </a:lnTo>
                    <a:lnTo>
                      <a:pt x="948" y="18"/>
                    </a:lnTo>
                    <a:lnTo>
                      <a:pt x="954" y="12"/>
                    </a:lnTo>
                    <a:lnTo>
                      <a:pt x="960" y="12"/>
                    </a:lnTo>
                    <a:lnTo>
                      <a:pt x="966" y="12"/>
                    </a:lnTo>
                    <a:lnTo>
                      <a:pt x="972" y="12"/>
                    </a:lnTo>
                    <a:lnTo>
                      <a:pt x="978" y="12"/>
                    </a:lnTo>
                    <a:lnTo>
                      <a:pt x="990" y="12"/>
                    </a:lnTo>
                    <a:lnTo>
                      <a:pt x="996" y="6"/>
                    </a:lnTo>
                    <a:lnTo>
                      <a:pt x="1002" y="6"/>
                    </a:lnTo>
                    <a:lnTo>
                      <a:pt x="1008" y="6"/>
                    </a:lnTo>
                    <a:lnTo>
                      <a:pt x="1014" y="6"/>
                    </a:lnTo>
                    <a:lnTo>
                      <a:pt x="1020" y="6"/>
                    </a:lnTo>
                    <a:lnTo>
                      <a:pt x="1020" y="0"/>
                    </a:lnTo>
                    <a:lnTo>
                      <a:pt x="1026" y="0"/>
                    </a:lnTo>
                    <a:lnTo>
                      <a:pt x="1032" y="0"/>
                    </a:lnTo>
                    <a:lnTo>
                      <a:pt x="103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7" name="Freeform 12"/>
              <p:cNvSpPr>
                <a:spLocks noChangeAspect="1" noEditPoints="1"/>
              </p:cNvSpPr>
              <p:nvPr/>
            </p:nvSpPr>
            <p:spPr bwMode="auto">
              <a:xfrm>
                <a:off x="2976710" y="5586316"/>
                <a:ext cx="308656" cy="316855"/>
              </a:xfrm>
              <a:custGeom>
                <a:avLst/>
                <a:gdLst>
                  <a:gd name="T0" fmla="*/ 2147483647 w 2700"/>
                  <a:gd name="T1" fmla="*/ 2147483647 h 2772"/>
                  <a:gd name="T2" fmla="*/ 2147483647 w 2700"/>
                  <a:gd name="T3" fmla="*/ 2147483647 h 2772"/>
                  <a:gd name="T4" fmla="*/ 2147483647 w 2700"/>
                  <a:gd name="T5" fmla="*/ 2147483647 h 2772"/>
                  <a:gd name="T6" fmla="*/ 2147483647 w 2700"/>
                  <a:gd name="T7" fmla="*/ 2147483647 h 2772"/>
                  <a:gd name="T8" fmla="*/ 2147483647 w 2700"/>
                  <a:gd name="T9" fmla="*/ 2147483647 h 2772"/>
                  <a:gd name="T10" fmla="*/ 2147483647 w 2700"/>
                  <a:gd name="T11" fmla="*/ 2147483647 h 2772"/>
                  <a:gd name="T12" fmla="*/ 2147483647 w 2700"/>
                  <a:gd name="T13" fmla="*/ 2147483647 h 2772"/>
                  <a:gd name="T14" fmla="*/ 2147483647 w 2700"/>
                  <a:gd name="T15" fmla="*/ 2147483647 h 2772"/>
                  <a:gd name="T16" fmla="*/ 2147483647 w 2700"/>
                  <a:gd name="T17" fmla="*/ 2147483647 h 2772"/>
                  <a:gd name="T18" fmla="*/ 2147483647 w 2700"/>
                  <a:gd name="T19" fmla="*/ 2147483647 h 2772"/>
                  <a:gd name="T20" fmla="*/ 2147483647 w 2700"/>
                  <a:gd name="T21" fmla="*/ 2147483647 h 2772"/>
                  <a:gd name="T22" fmla="*/ 2147483647 w 2700"/>
                  <a:gd name="T23" fmla="*/ 2147483647 h 2772"/>
                  <a:gd name="T24" fmla="*/ 2147483647 w 2700"/>
                  <a:gd name="T25" fmla="*/ 2147483647 h 2772"/>
                  <a:gd name="T26" fmla="*/ 2147483647 w 2700"/>
                  <a:gd name="T27" fmla="*/ 2147483647 h 2772"/>
                  <a:gd name="T28" fmla="*/ 2147483647 w 2700"/>
                  <a:gd name="T29" fmla="*/ 2147483647 h 2772"/>
                  <a:gd name="T30" fmla="*/ 2147483647 w 2700"/>
                  <a:gd name="T31" fmla="*/ 2147483647 h 2772"/>
                  <a:gd name="T32" fmla="*/ 2147483647 w 2700"/>
                  <a:gd name="T33" fmla="*/ 2147483647 h 2772"/>
                  <a:gd name="T34" fmla="*/ 2147483647 w 2700"/>
                  <a:gd name="T35" fmla="*/ 2147483647 h 2772"/>
                  <a:gd name="T36" fmla="*/ 2147483647 w 2700"/>
                  <a:gd name="T37" fmla="*/ 2147483647 h 2772"/>
                  <a:gd name="T38" fmla="*/ 2147483647 w 2700"/>
                  <a:gd name="T39" fmla="*/ 2147483647 h 2772"/>
                  <a:gd name="T40" fmla="*/ 2147483647 w 2700"/>
                  <a:gd name="T41" fmla="*/ 2147483647 h 2772"/>
                  <a:gd name="T42" fmla="*/ 2147483647 w 2700"/>
                  <a:gd name="T43" fmla="*/ 2147483647 h 2772"/>
                  <a:gd name="T44" fmla="*/ 2147483647 w 2700"/>
                  <a:gd name="T45" fmla="*/ 2147483647 h 2772"/>
                  <a:gd name="T46" fmla="*/ 2147483647 w 2700"/>
                  <a:gd name="T47" fmla="*/ 2147483647 h 2772"/>
                  <a:gd name="T48" fmla="*/ 2147483647 w 2700"/>
                  <a:gd name="T49" fmla="*/ 2147483647 h 2772"/>
                  <a:gd name="T50" fmla="*/ 2147483647 w 2700"/>
                  <a:gd name="T51" fmla="*/ 2147483647 h 2772"/>
                  <a:gd name="T52" fmla="*/ 2147483647 w 2700"/>
                  <a:gd name="T53" fmla="*/ 2147483647 h 2772"/>
                  <a:gd name="T54" fmla="*/ 2147483647 w 2700"/>
                  <a:gd name="T55" fmla="*/ 2147483647 h 2772"/>
                  <a:gd name="T56" fmla="*/ 2147483647 w 2700"/>
                  <a:gd name="T57" fmla="*/ 2147483647 h 2772"/>
                  <a:gd name="T58" fmla="*/ 2147483647 w 2700"/>
                  <a:gd name="T59" fmla="*/ 2147483647 h 2772"/>
                  <a:gd name="T60" fmla="*/ 2147483647 w 2700"/>
                  <a:gd name="T61" fmla="*/ 2147483647 h 2772"/>
                  <a:gd name="T62" fmla="*/ 2147483647 w 2700"/>
                  <a:gd name="T63" fmla="*/ 2147483647 h 2772"/>
                  <a:gd name="T64" fmla="*/ 2147483647 w 2700"/>
                  <a:gd name="T65" fmla="*/ 2147483647 h 2772"/>
                  <a:gd name="T66" fmla="*/ 2147483647 w 2700"/>
                  <a:gd name="T67" fmla="*/ 2147483647 h 2772"/>
                  <a:gd name="T68" fmla="*/ 2147483647 w 2700"/>
                  <a:gd name="T69" fmla="*/ 2147483647 h 2772"/>
                  <a:gd name="T70" fmla="*/ 2147483647 w 2700"/>
                  <a:gd name="T71" fmla="*/ 2147483647 h 2772"/>
                  <a:gd name="T72" fmla="*/ 2147483647 w 2700"/>
                  <a:gd name="T73" fmla="*/ 2147483647 h 2772"/>
                  <a:gd name="T74" fmla="*/ 2147483647 w 2700"/>
                  <a:gd name="T75" fmla="*/ 2147483647 h 2772"/>
                  <a:gd name="T76" fmla="*/ 2147483647 w 2700"/>
                  <a:gd name="T77" fmla="*/ 2147483647 h 2772"/>
                  <a:gd name="T78" fmla="*/ 2147483647 w 2700"/>
                  <a:gd name="T79" fmla="*/ 2147483647 h 2772"/>
                  <a:gd name="T80" fmla="*/ 2147483647 w 2700"/>
                  <a:gd name="T81" fmla="*/ 2147483647 h 2772"/>
                  <a:gd name="T82" fmla="*/ 2147483647 w 2700"/>
                  <a:gd name="T83" fmla="*/ 2147483647 h 2772"/>
                  <a:gd name="T84" fmla="*/ 2147483647 w 2700"/>
                  <a:gd name="T85" fmla="*/ 2147483647 h 2772"/>
                  <a:gd name="T86" fmla="*/ 2147483647 w 2700"/>
                  <a:gd name="T87" fmla="*/ 2147483647 h 2772"/>
                  <a:gd name="T88" fmla="*/ 2147483647 w 2700"/>
                  <a:gd name="T89" fmla="*/ 2147483647 h 2772"/>
                  <a:gd name="T90" fmla="*/ 2147483647 w 2700"/>
                  <a:gd name="T91" fmla="*/ 2147483647 h 2772"/>
                  <a:gd name="T92" fmla="*/ 2147483647 w 2700"/>
                  <a:gd name="T93" fmla="*/ 2147483647 h 2772"/>
                  <a:gd name="T94" fmla="*/ 2147483647 w 2700"/>
                  <a:gd name="T95" fmla="*/ 2147483647 h 2772"/>
                  <a:gd name="T96" fmla="*/ 2147483647 w 2700"/>
                  <a:gd name="T97" fmla="*/ 2147483647 h 2772"/>
                  <a:gd name="T98" fmla="*/ 2147483647 w 2700"/>
                  <a:gd name="T99" fmla="*/ 2147483647 h 2772"/>
                  <a:gd name="T100" fmla="*/ 2147483647 w 2700"/>
                  <a:gd name="T101" fmla="*/ 2147483647 h 2772"/>
                  <a:gd name="T102" fmla="*/ 2147483647 w 2700"/>
                  <a:gd name="T103" fmla="*/ 2147483647 h 2772"/>
                  <a:gd name="T104" fmla="*/ 2147483647 w 2700"/>
                  <a:gd name="T105" fmla="*/ 2147483647 h 2772"/>
                  <a:gd name="T106" fmla="*/ 2147483647 w 2700"/>
                  <a:gd name="T107" fmla="*/ 2147483647 h 2772"/>
                  <a:gd name="T108" fmla="*/ 2147483647 w 2700"/>
                  <a:gd name="T109" fmla="*/ 2147483647 h 2772"/>
                  <a:gd name="T110" fmla="*/ 2147483647 w 2700"/>
                  <a:gd name="T111" fmla="*/ 2147483647 h 2772"/>
                  <a:gd name="T112" fmla="*/ 2147483647 w 2700"/>
                  <a:gd name="T113" fmla="*/ 2147483647 h 2772"/>
                  <a:gd name="T114" fmla="*/ 2147483647 w 2700"/>
                  <a:gd name="T115" fmla="*/ 2147483647 h 2772"/>
                  <a:gd name="T116" fmla="*/ 2147483647 w 2700"/>
                  <a:gd name="T117" fmla="*/ 2147483647 h 2772"/>
                  <a:gd name="T118" fmla="*/ 2147483647 w 2700"/>
                  <a:gd name="T119" fmla="*/ 2147483647 h 2772"/>
                  <a:gd name="T120" fmla="*/ 2147483647 w 2700"/>
                  <a:gd name="T121" fmla="*/ 2147483647 h 2772"/>
                  <a:gd name="T122" fmla="*/ 2147483647 w 2700"/>
                  <a:gd name="T123" fmla="*/ 2147483647 h 27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700" h="2772">
                    <a:moveTo>
                      <a:pt x="156" y="1614"/>
                    </a:moveTo>
                    <a:lnTo>
                      <a:pt x="162" y="1614"/>
                    </a:lnTo>
                    <a:lnTo>
                      <a:pt x="162" y="1620"/>
                    </a:lnTo>
                    <a:lnTo>
                      <a:pt x="156" y="1620"/>
                    </a:lnTo>
                    <a:lnTo>
                      <a:pt x="156" y="1614"/>
                    </a:lnTo>
                    <a:close/>
                    <a:moveTo>
                      <a:pt x="156" y="1608"/>
                    </a:moveTo>
                    <a:lnTo>
                      <a:pt x="156" y="1614"/>
                    </a:lnTo>
                    <a:lnTo>
                      <a:pt x="157" y="1614"/>
                    </a:lnTo>
                    <a:lnTo>
                      <a:pt x="156" y="1608"/>
                    </a:lnTo>
                    <a:close/>
                    <a:moveTo>
                      <a:pt x="150" y="1608"/>
                    </a:moveTo>
                    <a:lnTo>
                      <a:pt x="156" y="1608"/>
                    </a:lnTo>
                    <a:lnTo>
                      <a:pt x="150" y="1608"/>
                    </a:lnTo>
                    <a:close/>
                    <a:moveTo>
                      <a:pt x="150" y="1602"/>
                    </a:moveTo>
                    <a:lnTo>
                      <a:pt x="150" y="1608"/>
                    </a:lnTo>
                    <a:lnTo>
                      <a:pt x="151" y="1608"/>
                    </a:lnTo>
                    <a:lnTo>
                      <a:pt x="150" y="1602"/>
                    </a:lnTo>
                    <a:close/>
                    <a:moveTo>
                      <a:pt x="1032" y="36"/>
                    </a:moveTo>
                    <a:lnTo>
                      <a:pt x="1038" y="42"/>
                    </a:lnTo>
                    <a:lnTo>
                      <a:pt x="1050" y="42"/>
                    </a:lnTo>
                    <a:lnTo>
                      <a:pt x="1056" y="48"/>
                    </a:lnTo>
                    <a:lnTo>
                      <a:pt x="1062" y="48"/>
                    </a:lnTo>
                    <a:lnTo>
                      <a:pt x="1068" y="48"/>
                    </a:lnTo>
                    <a:lnTo>
                      <a:pt x="1068" y="54"/>
                    </a:lnTo>
                    <a:lnTo>
                      <a:pt x="1074" y="54"/>
                    </a:lnTo>
                    <a:lnTo>
                      <a:pt x="1080" y="54"/>
                    </a:lnTo>
                    <a:lnTo>
                      <a:pt x="1086" y="54"/>
                    </a:lnTo>
                    <a:lnTo>
                      <a:pt x="1086" y="60"/>
                    </a:lnTo>
                    <a:lnTo>
                      <a:pt x="1092" y="66"/>
                    </a:lnTo>
                    <a:lnTo>
                      <a:pt x="1092" y="72"/>
                    </a:lnTo>
                    <a:lnTo>
                      <a:pt x="1104" y="78"/>
                    </a:lnTo>
                    <a:lnTo>
                      <a:pt x="1110" y="84"/>
                    </a:lnTo>
                    <a:lnTo>
                      <a:pt x="1116" y="84"/>
                    </a:lnTo>
                    <a:lnTo>
                      <a:pt x="1122" y="90"/>
                    </a:lnTo>
                    <a:lnTo>
                      <a:pt x="1122" y="96"/>
                    </a:lnTo>
                    <a:lnTo>
                      <a:pt x="1128" y="102"/>
                    </a:lnTo>
                    <a:lnTo>
                      <a:pt x="1134" y="108"/>
                    </a:lnTo>
                    <a:lnTo>
                      <a:pt x="1134" y="114"/>
                    </a:lnTo>
                    <a:lnTo>
                      <a:pt x="1134" y="120"/>
                    </a:lnTo>
                    <a:lnTo>
                      <a:pt x="1140" y="126"/>
                    </a:lnTo>
                    <a:lnTo>
                      <a:pt x="1140" y="132"/>
                    </a:lnTo>
                    <a:lnTo>
                      <a:pt x="1140" y="126"/>
                    </a:lnTo>
                    <a:lnTo>
                      <a:pt x="1146" y="126"/>
                    </a:lnTo>
                    <a:lnTo>
                      <a:pt x="1146" y="132"/>
                    </a:lnTo>
                    <a:lnTo>
                      <a:pt x="1152" y="132"/>
                    </a:lnTo>
                    <a:lnTo>
                      <a:pt x="1146" y="138"/>
                    </a:lnTo>
                    <a:lnTo>
                      <a:pt x="1146" y="144"/>
                    </a:lnTo>
                    <a:lnTo>
                      <a:pt x="1146" y="150"/>
                    </a:lnTo>
                    <a:lnTo>
                      <a:pt x="1152" y="150"/>
                    </a:lnTo>
                    <a:lnTo>
                      <a:pt x="1158" y="156"/>
                    </a:lnTo>
                    <a:lnTo>
                      <a:pt x="1158" y="162"/>
                    </a:lnTo>
                    <a:lnTo>
                      <a:pt x="1158" y="168"/>
                    </a:lnTo>
                    <a:lnTo>
                      <a:pt x="1164" y="168"/>
                    </a:lnTo>
                    <a:lnTo>
                      <a:pt x="1170" y="174"/>
                    </a:lnTo>
                    <a:lnTo>
                      <a:pt x="1170" y="180"/>
                    </a:lnTo>
                    <a:lnTo>
                      <a:pt x="1164" y="180"/>
                    </a:lnTo>
                    <a:lnTo>
                      <a:pt x="1170" y="186"/>
                    </a:lnTo>
                    <a:lnTo>
                      <a:pt x="1176" y="186"/>
                    </a:lnTo>
                    <a:lnTo>
                      <a:pt x="1176" y="192"/>
                    </a:lnTo>
                    <a:lnTo>
                      <a:pt x="1182" y="198"/>
                    </a:lnTo>
                    <a:lnTo>
                      <a:pt x="1182" y="204"/>
                    </a:lnTo>
                    <a:lnTo>
                      <a:pt x="1182" y="210"/>
                    </a:lnTo>
                    <a:lnTo>
                      <a:pt x="1188" y="210"/>
                    </a:lnTo>
                    <a:lnTo>
                      <a:pt x="1194" y="210"/>
                    </a:lnTo>
                    <a:lnTo>
                      <a:pt x="1194" y="216"/>
                    </a:lnTo>
                    <a:lnTo>
                      <a:pt x="1194" y="222"/>
                    </a:lnTo>
                    <a:lnTo>
                      <a:pt x="1200" y="222"/>
                    </a:lnTo>
                    <a:lnTo>
                      <a:pt x="1200" y="216"/>
                    </a:lnTo>
                    <a:lnTo>
                      <a:pt x="1200" y="222"/>
                    </a:lnTo>
                    <a:lnTo>
                      <a:pt x="1200" y="228"/>
                    </a:lnTo>
                    <a:lnTo>
                      <a:pt x="1200" y="234"/>
                    </a:lnTo>
                    <a:lnTo>
                      <a:pt x="1206" y="228"/>
                    </a:lnTo>
                    <a:lnTo>
                      <a:pt x="1212" y="228"/>
                    </a:lnTo>
                    <a:lnTo>
                      <a:pt x="1218" y="228"/>
                    </a:lnTo>
                    <a:lnTo>
                      <a:pt x="1218" y="234"/>
                    </a:lnTo>
                    <a:lnTo>
                      <a:pt x="1212" y="234"/>
                    </a:lnTo>
                    <a:lnTo>
                      <a:pt x="1206" y="234"/>
                    </a:lnTo>
                    <a:lnTo>
                      <a:pt x="1206" y="246"/>
                    </a:lnTo>
                    <a:lnTo>
                      <a:pt x="1206" y="252"/>
                    </a:lnTo>
                    <a:lnTo>
                      <a:pt x="1212" y="258"/>
                    </a:lnTo>
                    <a:lnTo>
                      <a:pt x="1224" y="270"/>
                    </a:lnTo>
                    <a:lnTo>
                      <a:pt x="1224" y="276"/>
                    </a:lnTo>
                    <a:lnTo>
                      <a:pt x="1218" y="276"/>
                    </a:lnTo>
                    <a:lnTo>
                      <a:pt x="1218" y="282"/>
                    </a:lnTo>
                    <a:lnTo>
                      <a:pt x="1212" y="282"/>
                    </a:lnTo>
                    <a:lnTo>
                      <a:pt x="1212" y="288"/>
                    </a:lnTo>
                    <a:lnTo>
                      <a:pt x="1218" y="288"/>
                    </a:lnTo>
                    <a:lnTo>
                      <a:pt x="1224" y="294"/>
                    </a:lnTo>
                    <a:lnTo>
                      <a:pt x="1218" y="306"/>
                    </a:lnTo>
                    <a:lnTo>
                      <a:pt x="1218" y="312"/>
                    </a:lnTo>
                    <a:lnTo>
                      <a:pt x="1224" y="312"/>
                    </a:lnTo>
                    <a:lnTo>
                      <a:pt x="1230" y="318"/>
                    </a:lnTo>
                    <a:lnTo>
                      <a:pt x="1236" y="324"/>
                    </a:lnTo>
                    <a:lnTo>
                      <a:pt x="1236" y="336"/>
                    </a:lnTo>
                    <a:lnTo>
                      <a:pt x="1242" y="336"/>
                    </a:lnTo>
                    <a:lnTo>
                      <a:pt x="1242" y="342"/>
                    </a:lnTo>
                    <a:lnTo>
                      <a:pt x="1242" y="348"/>
                    </a:lnTo>
                    <a:lnTo>
                      <a:pt x="1242" y="354"/>
                    </a:lnTo>
                    <a:lnTo>
                      <a:pt x="1254" y="348"/>
                    </a:lnTo>
                    <a:lnTo>
                      <a:pt x="1254" y="360"/>
                    </a:lnTo>
                    <a:lnTo>
                      <a:pt x="1254" y="366"/>
                    </a:lnTo>
                    <a:lnTo>
                      <a:pt x="1260" y="366"/>
                    </a:lnTo>
                    <a:lnTo>
                      <a:pt x="1260" y="372"/>
                    </a:lnTo>
                    <a:lnTo>
                      <a:pt x="1260" y="378"/>
                    </a:lnTo>
                    <a:lnTo>
                      <a:pt x="1260" y="384"/>
                    </a:lnTo>
                    <a:lnTo>
                      <a:pt x="1260" y="390"/>
                    </a:lnTo>
                    <a:lnTo>
                      <a:pt x="1266" y="390"/>
                    </a:lnTo>
                    <a:lnTo>
                      <a:pt x="1266" y="396"/>
                    </a:lnTo>
                    <a:lnTo>
                      <a:pt x="1272" y="396"/>
                    </a:lnTo>
                    <a:lnTo>
                      <a:pt x="1272" y="402"/>
                    </a:lnTo>
                    <a:lnTo>
                      <a:pt x="1266" y="408"/>
                    </a:lnTo>
                    <a:lnTo>
                      <a:pt x="1266" y="414"/>
                    </a:lnTo>
                    <a:lnTo>
                      <a:pt x="1272" y="426"/>
                    </a:lnTo>
                    <a:lnTo>
                      <a:pt x="1266" y="432"/>
                    </a:lnTo>
                    <a:lnTo>
                      <a:pt x="1272" y="438"/>
                    </a:lnTo>
                    <a:lnTo>
                      <a:pt x="1272" y="444"/>
                    </a:lnTo>
                    <a:lnTo>
                      <a:pt x="1272" y="450"/>
                    </a:lnTo>
                    <a:lnTo>
                      <a:pt x="1266" y="450"/>
                    </a:lnTo>
                    <a:lnTo>
                      <a:pt x="1272" y="456"/>
                    </a:lnTo>
                    <a:lnTo>
                      <a:pt x="1278" y="456"/>
                    </a:lnTo>
                    <a:lnTo>
                      <a:pt x="1278" y="462"/>
                    </a:lnTo>
                    <a:lnTo>
                      <a:pt x="1278" y="468"/>
                    </a:lnTo>
                    <a:lnTo>
                      <a:pt x="1272" y="468"/>
                    </a:lnTo>
                    <a:lnTo>
                      <a:pt x="1272" y="474"/>
                    </a:lnTo>
                    <a:lnTo>
                      <a:pt x="1266" y="474"/>
                    </a:lnTo>
                    <a:lnTo>
                      <a:pt x="1266" y="480"/>
                    </a:lnTo>
                    <a:lnTo>
                      <a:pt x="1266" y="492"/>
                    </a:lnTo>
                    <a:lnTo>
                      <a:pt x="1260" y="498"/>
                    </a:lnTo>
                    <a:lnTo>
                      <a:pt x="1260" y="504"/>
                    </a:lnTo>
                    <a:lnTo>
                      <a:pt x="1254" y="510"/>
                    </a:lnTo>
                    <a:lnTo>
                      <a:pt x="1248" y="510"/>
                    </a:lnTo>
                    <a:lnTo>
                      <a:pt x="1248" y="516"/>
                    </a:lnTo>
                    <a:lnTo>
                      <a:pt x="1242" y="522"/>
                    </a:lnTo>
                    <a:lnTo>
                      <a:pt x="1236" y="528"/>
                    </a:lnTo>
                    <a:lnTo>
                      <a:pt x="1236" y="534"/>
                    </a:lnTo>
                    <a:lnTo>
                      <a:pt x="1236" y="540"/>
                    </a:lnTo>
                    <a:lnTo>
                      <a:pt x="1230" y="540"/>
                    </a:lnTo>
                    <a:lnTo>
                      <a:pt x="1230" y="552"/>
                    </a:lnTo>
                    <a:lnTo>
                      <a:pt x="1224" y="552"/>
                    </a:lnTo>
                    <a:lnTo>
                      <a:pt x="1224" y="558"/>
                    </a:lnTo>
                    <a:lnTo>
                      <a:pt x="1218" y="558"/>
                    </a:lnTo>
                    <a:lnTo>
                      <a:pt x="1218" y="564"/>
                    </a:lnTo>
                    <a:lnTo>
                      <a:pt x="1212" y="564"/>
                    </a:lnTo>
                    <a:lnTo>
                      <a:pt x="1206" y="576"/>
                    </a:lnTo>
                    <a:lnTo>
                      <a:pt x="1206" y="588"/>
                    </a:lnTo>
                    <a:lnTo>
                      <a:pt x="1206" y="594"/>
                    </a:lnTo>
                    <a:lnTo>
                      <a:pt x="1206" y="606"/>
                    </a:lnTo>
                    <a:lnTo>
                      <a:pt x="1212" y="612"/>
                    </a:lnTo>
                    <a:lnTo>
                      <a:pt x="1212" y="618"/>
                    </a:lnTo>
                    <a:lnTo>
                      <a:pt x="1218" y="624"/>
                    </a:lnTo>
                    <a:lnTo>
                      <a:pt x="1218" y="630"/>
                    </a:lnTo>
                    <a:lnTo>
                      <a:pt x="1218" y="642"/>
                    </a:lnTo>
                    <a:lnTo>
                      <a:pt x="1212" y="648"/>
                    </a:lnTo>
                    <a:lnTo>
                      <a:pt x="1212" y="654"/>
                    </a:lnTo>
                    <a:lnTo>
                      <a:pt x="1218" y="666"/>
                    </a:lnTo>
                    <a:lnTo>
                      <a:pt x="1218" y="672"/>
                    </a:lnTo>
                    <a:lnTo>
                      <a:pt x="1218" y="678"/>
                    </a:lnTo>
                    <a:lnTo>
                      <a:pt x="1218" y="684"/>
                    </a:lnTo>
                    <a:lnTo>
                      <a:pt x="1218" y="690"/>
                    </a:lnTo>
                    <a:lnTo>
                      <a:pt x="1224" y="690"/>
                    </a:lnTo>
                    <a:lnTo>
                      <a:pt x="1224" y="696"/>
                    </a:lnTo>
                    <a:lnTo>
                      <a:pt x="1224" y="702"/>
                    </a:lnTo>
                    <a:lnTo>
                      <a:pt x="1230" y="702"/>
                    </a:lnTo>
                    <a:lnTo>
                      <a:pt x="1236" y="702"/>
                    </a:lnTo>
                    <a:lnTo>
                      <a:pt x="1236" y="714"/>
                    </a:lnTo>
                    <a:lnTo>
                      <a:pt x="1236" y="720"/>
                    </a:lnTo>
                    <a:lnTo>
                      <a:pt x="1242" y="720"/>
                    </a:lnTo>
                    <a:lnTo>
                      <a:pt x="1242" y="714"/>
                    </a:lnTo>
                    <a:lnTo>
                      <a:pt x="1248" y="708"/>
                    </a:lnTo>
                    <a:lnTo>
                      <a:pt x="1254" y="708"/>
                    </a:lnTo>
                    <a:lnTo>
                      <a:pt x="1260" y="708"/>
                    </a:lnTo>
                    <a:lnTo>
                      <a:pt x="1260" y="702"/>
                    </a:lnTo>
                    <a:lnTo>
                      <a:pt x="1266" y="702"/>
                    </a:lnTo>
                    <a:lnTo>
                      <a:pt x="1266" y="696"/>
                    </a:lnTo>
                    <a:lnTo>
                      <a:pt x="1272" y="696"/>
                    </a:lnTo>
                    <a:lnTo>
                      <a:pt x="1278" y="690"/>
                    </a:lnTo>
                    <a:lnTo>
                      <a:pt x="1284" y="690"/>
                    </a:lnTo>
                    <a:lnTo>
                      <a:pt x="1290" y="684"/>
                    </a:lnTo>
                    <a:lnTo>
                      <a:pt x="1296" y="684"/>
                    </a:lnTo>
                    <a:lnTo>
                      <a:pt x="1302" y="684"/>
                    </a:lnTo>
                    <a:lnTo>
                      <a:pt x="1308" y="684"/>
                    </a:lnTo>
                    <a:lnTo>
                      <a:pt x="1314" y="684"/>
                    </a:lnTo>
                    <a:lnTo>
                      <a:pt x="1320" y="684"/>
                    </a:lnTo>
                    <a:lnTo>
                      <a:pt x="1326" y="690"/>
                    </a:lnTo>
                    <a:lnTo>
                      <a:pt x="1326" y="696"/>
                    </a:lnTo>
                    <a:lnTo>
                      <a:pt x="1332" y="696"/>
                    </a:lnTo>
                    <a:lnTo>
                      <a:pt x="1338" y="702"/>
                    </a:lnTo>
                    <a:lnTo>
                      <a:pt x="1344" y="702"/>
                    </a:lnTo>
                    <a:lnTo>
                      <a:pt x="1356" y="702"/>
                    </a:lnTo>
                    <a:lnTo>
                      <a:pt x="1374" y="708"/>
                    </a:lnTo>
                    <a:lnTo>
                      <a:pt x="1380" y="708"/>
                    </a:lnTo>
                    <a:lnTo>
                      <a:pt x="1380" y="702"/>
                    </a:lnTo>
                    <a:lnTo>
                      <a:pt x="1392" y="696"/>
                    </a:lnTo>
                    <a:lnTo>
                      <a:pt x="1398" y="696"/>
                    </a:lnTo>
                    <a:lnTo>
                      <a:pt x="1404" y="696"/>
                    </a:lnTo>
                    <a:lnTo>
                      <a:pt x="1410" y="696"/>
                    </a:lnTo>
                    <a:lnTo>
                      <a:pt x="1416" y="696"/>
                    </a:lnTo>
                    <a:lnTo>
                      <a:pt x="1422" y="696"/>
                    </a:lnTo>
                    <a:lnTo>
                      <a:pt x="1428" y="690"/>
                    </a:lnTo>
                    <a:lnTo>
                      <a:pt x="1434" y="690"/>
                    </a:lnTo>
                    <a:lnTo>
                      <a:pt x="1440" y="690"/>
                    </a:lnTo>
                    <a:lnTo>
                      <a:pt x="1446" y="690"/>
                    </a:lnTo>
                    <a:lnTo>
                      <a:pt x="1452" y="690"/>
                    </a:lnTo>
                    <a:lnTo>
                      <a:pt x="1458" y="690"/>
                    </a:lnTo>
                    <a:lnTo>
                      <a:pt x="1464" y="690"/>
                    </a:lnTo>
                    <a:lnTo>
                      <a:pt x="1470" y="696"/>
                    </a:lnTo>
                    <a:lnTo>
                      <a:pt x="1476" y="696"/>
                    </a:lnTo>
                    <a:lnTo>
                      <a:pt x="1482" y="696"/>
                    </a:lnTo>
                    <a:lnTo>
                      <a:pt x="1488" y="696"/>
                    </a:lnTo>
                    <a:lnTo>
                      <a:pt x="1494" y="696"/>
                    </a:lnTo>
                    <a:lnTo>
                      <a:pt x="1500" y="696"/>
                    </a:lnTo>
                    <a:lnTo>
                      <a:pt x="1506" y="696"/>
                    </a:lnTo>
                    <a:lnTo>
                      <a:pt x="1512" y="696"/>
                    </a:lnTo>
                    <a:lnTo>
                      <a:pt x="1518" y="702"/>
                    </a:lnTo>
                    <a:lnTo>
                      <a:pt x="1524" y="702"/>
                    </a:lnTo>
                    <a:lnTo>
                      <a:pt x="1524" y="696"/>
                    </a:lnTo>
                    <a:lnTo>
                      <a:pt x="1530" y="702"/>
                    </a:lnTo>
                    <a:lnTo>
                      <a:pt x="1530" y="696"/>
                    </a:lnTo>
                    <a:lnTo>
                      <a:pt x="1536" y="696"/>
                    </a:lnTo>
                    <a:lnTo>
                      <a:pt x="1542" y="696"/>
                    </a:lnTo>
                    <a:lnTo>
                      <a:pt x="1554" y="684"/>
                    </a:lnTo>
                    <a:lnTo>
                      <a:pt x="1560" y="684"/>
                    </a:lnTo>
                    <a:lnTo>
                      <a:pt x="1560" y="678"/>
                    </a:lnTo>
                    <a:lnTo>
                      <a:pt x="1566" y="678"/>
                    </a:lnTo>
                    <a:lnTo>
                      <a:pt x="1566" y="672"/>
                    </a:lnTo>
                    <a:lnTo>
                      <a:pt x="1566" y="666"/>
                    </a:lnTo>
                    <a:lnTo>
                      <a:pt x="1566" y="660"/>
                    </a:lnTo>
                    <a:lnTo>
                      <a:pt x="1566" y="648"/>
                    </a:lnTo>
                    <a:lnTo>
                      <a:pt x="1560" y="648"/>
                    </a:lnTo>
                    <a:lnTo>
                      <a:pt x="1560" y="642"/>
                    </a:lnTo>
                    <a:lnTo>
                      <a:pt x="1566" y="636"/>
                    </a:lnTo>
                    <a:lnTo>
                      <a:pt x="1572" y="630"/>
                    </a:lnTo>
                    <a:lnTo>
                      <a:pt x="1578" y="630"/>
                    </a:lnTo>
                    <a:lnTo>
                      <a:pt x="1584" y="630"/>
                    </a:lnTo>
                    <a:lnTo>
                      <a:pt x="1590" y="630"/>
                    </a:lnTo>
                    <a:lnTo>
                      <a:pt x="1602" y="630"/>
                    </a:lnTo>
                    <a:lnTo>
                      <a:pt x="1608" y="630"/>
                    </a:lnTo>
                    <a:lnTo>
                      <a:pt x="1614" y="630"/>
                    </a:lnTo>
                    <a:lnTo>
                      <a:pt x="1620" y="630"/>
                    </a:lnTo>
                    <a:lnTo>
                      <a:pt x="1632" y="624"/>
                    </a:lnTo>
                    <a:lnTo>
                      <a:pt x="1638" y="618"/>
                    </a:lnTo>
                    <a:lnTo>
                      <a:pt x="1644" y="618"/>
                    </a:lnTo>
                    <a:lnTo>
                      <a:pt x="1650" y="612"/>
                    </a:lnTo>
                    <a:lnTo>
                      <a:pt x="1650" y="606"/>
                    </a:lnTo>
                    <a:lnTo>
                      <a:pt x="1656" y="600"/>
                    </a:lnTo>
                    <a:lnTo>
                      <a:pt x="1662" y="588"/>
                    </a:lnTo>
                    <a:lnTo>
                      <a:pt x="1668" y="588"/>
                    </a:lnTo>
                    <a:lnTo>
                      <a:pt x="1668" y="582"/>
                    </a:lnTo>
                    <a:lnTo>
                      <a:pt x="1674" y="582"/>
                    </a:lnTo>
                    <a:lnTo>
                      <a:pt x="1674" y="576"/>
                    </a:lnTo>
                    <a:lnTo>
                      <a:pt x="1680" y="576"/>
                    </a:lnTo>
                    <a:lnTo>
                      <a:pt x="1680" y="570"/>
                    </a:lnTo>
                    <a:lnTo>
                      <a:pt x="1680" y="564"/>
                    </a:lnTo>
                    <a:lnTo>
                      <a:pt x="1686" y="564"/>
                    </a:lnTo>
                    <a:lnTo>
                      <a:pt x="1686" y="558"/>
                    </a:lnTo>
                    <a:lnTo>
                      <a:pt x="1686" y="552"/>
                    </a:lnTo>
                    <a:lnTo>
                      <a:pt x="1686" y="546"/>
                    </a:lnTo>
                    <a:lnTo>
                      <a:pt x="1692" y="546"/>
                    </a:lnTo>
                    <a:lnTo>
                      <a:pt x="1686" y="540"/>
                    </a:lnTo>
                    <a:lnTo>
                      <a:pt x="1692" y="534"/>
                    </a:lnTo>
                    <a:lnTo>
                      <a:pt x="1698" y="534"/>
                    </a:lnTo>
                    <a:lnTo>
                      <a:pt x="1698" y="528"/>
                    </a:lnTo>
                    <a:lnTo>
                      <a:pt x="1704" y="522"/>
                    </a:lnTo>
                    <a:lnTo>
                      <a:pt x="1710" y="522"/>
                    </a:lnTo>
                    <a:lnTo>
                      <a:pt x="1716" y="516"/>
                    </a:lnTo>
                    <a:lnTo>
                      <a:pt x="1722" y="516"/>
                    </a:lnTo>
                    <a:lnTo>
                      <a:pt x="1728" y="510"/>
                    </a:lnTo>
                    <a:lnTo>
                      <a:pt x="1734" y="510"/>
                    </a:lnTo>
                    <a:lnTo>
                      <a:pt x="1740" y="510"/>
                    </a:lnTo>
                    <a:lnTo>
                      <a:pt x="1740" y="504"/>
                    </a:lnTo>
                    <a:lnTo>
                      <a:pt x="1740" y="498"/>
                    </a:lnTo>
                    <a:lnTo>
                      <a:pt x="1746" y="498"/>
                    </a:lnTo>
                    <a:lnTo>
                      <a:pt x="1752" y="492"/>
                    </a:lnTo>
                    <a:lnTo>
                      <a:pt x="1746" y="486"/>
                    </a:lnTo>
                    <a:lnTo>
                      <a:pt x="1752" y="486"/>
                    </a:lnTo>
                    <a:lnTo>
                      <a:pt x="1752" y="480"/>
                    </a:lnTo>
                    <a:lnTo>
                      <a:pt x="1758" y="474"/>
                    </a:lnTo>
                    <a:lnTo>
                      <a:pt x="1764" y="480"/>
                    </a:lnTo>
                    <a:lnTo>
                      <a:pt x="1770" y="474"/>
                    </a:lnTo>
                    <a:lnTo>
                      <a:pt x="1770" y="468"/>
                    </a:lnTo>
                    <a:lnTo>
                      <a:pt x="1782" y="474"/>
                    </a:lnTo>
                    <a:lnTo>
                      <a:pt x="1788" y="474"/>
                    </a:lnTo>
                    <a:lnTo>
                      <a:pt x="1794" y="474"/>
                    </a:lnTo>
                    <a:lnTo>
                      <a:pt x="1800" y="474"/>
                    </a:lnTo>
                    <a:lnTo>
                      <a:pt x="1800" y="468"/>
                    </a:lnTo>
                    <a:lnTo>
                      <a:pt x="1806" y="462"/>
                    </a:lnTo>
                    <a:lnTo>
                      <a:pt x="1806" y="456"/>
                    </a:lnTo>
                    <a:lnTo>
                      <a:pt x="1806" y="450"/>
                    </a:lnTo>
                    <a:lnTo>
                      <a:pt x="1812" y="450"/>
                    </a:lnTo>
                    <a:lnTo>
                      <a:pt x="1812" y="444"/>
                    </a:lnTo>
                    <a:lnTo>
                      <a:pt x="1818" y="444"/>
                    </a:lnTo>
                    <a:lnTo>
                      <a:pt x="1818" y="438"/>
                    </a:lnTo>
                    <a:lnTo>
                      <a:pt x="1836" y="438"/>
                    </a:lnTo>
                    <a:lnTo>
                      <a:pt x="1842" y="540"/>
                    </a:lnTo>
                    <a:lnTo>
                      <a:pt x="1836" y="546"/>
                    </a:lnTo>
                    <a:lnTo>
                      <a:pt x="1836" y="564"/>
                    </a:lnTo>
                    <a:lnTo>
                      <a:pt x="1842" y="570"/>
                    </a:lnTo>
                    <a:lnTo>
                      <a:pt x="1842" y="588"/>
                    </a:lnTo>
                    <a:lnTo>
                      <a:pt x="1842" y="594"/>
                    </a:lnTo>
                    <a:lnTo>
                      <a:pt x="1848" y="594"/>
                    </a:lnTo>
                    <a:lnTo>
                      <a:pt x="1854" y="594"/>
                    </a:lnTo>
                    <a:lnTo>
                      <a:pt x="1860" y="594"/>
                    </a:lnTo>
                    <a:lnTo>
                      <a:pt x="1860" y="588"/>
                    </a:lnTo>
                    <a:lnTo>
                      <a:pt x="1866" y="588"/>
                    </a:lnTo>
                    <a:lnTo>
                      <a:pt x="1872" y="588"/>
                    </a:lnTo>
                    <a:lnTo>
                      <a:pt x="1872" y="594"/>
                    </a:lnTo>
                    <a:lnTo>
                      <a:pt x="1884" y="588"/>
                    </a:lnTo>
                    <a:lnTo>
                      <a:pt x="1890" y="594"/>
                    </a:lnTo>
                    <a:lnTo>
                      <a:pt x="1890" y="600"/>
                    </a:lnTo>
                    <a:lnTo>
                      <a:pt x="1896" y="600"/>
                    </a:lnTo>
                    <a:lnTo>
                      <a:pt x="1902" y="600"/>
                    </a:lnTo>
                    <a:lnTo>
                      <a:pt x="1908" y="600"/>
                    </a:lnTo>
                    <a:lnTo>
                      <a:pt x="1914" y="600"/>
                    </a:lnTo>
                    <a:lnTo>
                      <a:pt x="1914" y="612"/>
                    </a:lnTo>
                    <a:lnTo>
                      <a:pt x="1920" y="612"/>
                    </a:lnTo>
                    <a:lnTo>
                      <a:pt x="1920" y="606"/>
                    </a:lnTo>
                    <a:lnTo>
                      <a:pt x="1926" y="606"/>
                    </a:lnTo>
                    <a:lnTo>
                      <a:pt x="1932" y="618"/>
                    </a:lnTo>
                    <a:lnTo>
                      <a:pt x="1938" y="624"/>
                    </a:lnTo>
                    <a:lnTo>
                      <a:pt x="1944" y="624"/>
                    </a:lnTo>
                    <a:lnTo>
                      <a:pt x="1950" y="624"/>
                    </a:lnTo>
                    <a:lnTo>
                      <a:pt x="1950" y="630"/>
                    </a:lnTo>
                    <a:lnTo>
                      <a:pt x="1944" y="642"/>
                    </a:lnTo>
                    <a:lnTo>
                      <a:pt x="1938" y="654"/>
                    </a:lnTo>
                    <a:lnTo>
                      <a:pt x="1944" y="660"/>
                    </a:lnTo>
                    <a:lnTo>
                      <a:pt x="1950" y="666"/>
                    </a:lnTo>
                    <a:lnTo>
                      <a:pt x="1938" y="672"/>
                    </a:lnTo>
                    <a:lnTo>
                      <a:pt x="1938" y="690"/>
                    </a:lnTo>
                    <a:lnTo>
                      <a:pt x="1944" y="702"/>
                    </a:lnTo>
                    <a:lnTo>
                      <a:pt x="1944" y="708"/>
                    </a:lnTo>
                    <a:lnTo>
                      <a:pt x="1944" y="720"/>
                    </a:lnTo>
                    <a:lnTo>
                      <a:pt x="1956" y="732"/>
                    </a:lnTo>
                    <a:lnTo>
                      <a:pt x="1956" y="738"/>
                    </a:lnTo>
                    <a:lnTo>
                      <a:pt x="1950" y="744"/>
                    </a:lnTo>
                    <a:lnTo>
                      <a:pt x="1938" y="744"/>
                    </a:lnTo>
                    <a:lnTo>
                      <a:pt x="1932" y="750"/>
                    </a:lnTo>
                    <a:lnTo>
                      <a:pt x="1932" y="762"/>
                    </a:lnTo>
                    <a:lnTo>
                      <a:pt x="1932" y="774"/>
                    </a:lnTo>
                    <a:lnTo>
                      <a:pt x="1938" y="792"/>
                    </a:lnTo>
                    <a:lnTo>
                      <a:pt x="1938" y="798"/>
                    </a:lnTo>
                    <a:lnTo>
                      <a:pt x="1944" y="804"/>
                    </a:lnTo>
                    <a:lnTo>
                      <a:pt x="1944" y="810"/>
                    </a:lnTo>
                    <a:lnTo>
                      <a:pt x="1956" y="804"/>
                    </a:lnTo>
                    <a:lnTo>
                      <a:pt x="1962" y="804"/>
                    </a:lnTo>
                    <a:lnTo>
                      <a:pt x="1968" y="804"/>
                    </a:lnTo>
                    <a:lnTo>
                      <a:pt x="1968" y="816"/>
                    </a:lnTo>
                    <a:lnTo>
                      <a:pt x="1974" y="816"/>
                    </a:lnTo>
                    <a:lnTo>
                      <a:pt x="1980" y="822"/>
                    </a:lnTo>
                    <a:lnTo>
                      <a:pt x="1986" y="828"/>
                    </a:lnTo>
                    <a:lnTo>
                      <a:pt x="1998" y="840"/>
                    </a:lnTo>
                    <a:lnTo>
                      <a:pt x="2004" y="852"/>
                    </a:lnTo>
                    <a:lnTo>
                      <a:pt x="2010" y="852"/>
                    </a:lnTo>
                    <a:lnTo>
                      <a:pt x="2016" y="852"/>
                    </a:lnTo>
                    <a:lnTo>
                      <a:pt x="2028" y="852"/>
                    </a:lnTo>
                    <a:lnTo>
                      <a:pt x="2040" y="858"/>
                    </a:lnTo>
                    <a:lnTo>
                      <a:pt x="2046" y="864"/>
                    </a:lnTo>
                    <a:lnTo>
                      <a:pt x="2058" y="870"/>
                    </a:lnTo>
                    <a:lnTo>
                      <a:pt x="2064" y="876"/>
                    </a:lnTo>
                    <a:lnTo>
                      <a:pt x="2070" y="870"/>
                    </a:lnTo>
                    <a:lnTo>
                      <a:pt x="2076" y="870"/>
                    </a:lnTo>
                    <a:lnTo>
                      <a:pt x="2082" y="876"/>
                    </a:lnTo>
                    <a:lnTo>
                      <a:pt x="2082" y="882"/>
                    </a:lnTo>
                    <a:lnTo>
                      <a:pt x="2082" y="888"/>
                    </a:lnTo>
                    <a:lnTo>
                      <a:pt x="2082" y="894"/>
                    </a:lnTo>
                    <a:lnTo>
                      <a:pt x="2100" y="894"/>
                    </a:lnTo>
                    <a:lnTo>
                      <a:pt x="2112" y="894"/>
                    </a:lnTo>
                    <a:lnTo>
                      <a:pt x="2118" y="894"/>
                    </a:lnTo>
                    <a:lnTo>
                      <a:pt x="2130" y="906"/>
                    </a:lnTo>
                    <a:lnTo>
                      <a:pt x="2148" y="912"/>
                    </a:lnTo>
                    <a:lnTo>
                      <a:pt x="2160" y="918"/>
                    </a:lnTo>
                    <a:lnTo>
                      <a:pt x="2166" y="918"/>
                    </a:lnTo>
                    <a:lnTo>
                      <a:pt x="2178" y="894"/>
                    </a:lnTo>
                    <a:lnTo>
                      <a:pt x="2184" y="894"/>
                    </a:lnTo>
                    <a:lnTo>
                      <a:pt x="2202" y="900"/>
                    </a:lnTo>
                    <a:lnTo>
                      <a:pt x="2208" y="900"/>
                    </a:lnTo>
                    <a:lnTo>
                      <a:pt x="2208" y="894"/>
                    </a:lnTo>
                    <a:lnTo>
                      <a:pt x="2214" y="894"/>
                    </a:lnTo>
                    <a:lnTo>
                      <a:pt x="2214" y="888"/>
                    </a:lnTo>
                    <a:lnTo>
                      <a:pt x="2202" y="888"/>
                    </a:lnTo>
                    <a:lnTo>
                      <a:pt x="2202" y="882"/>
                    </a:lnTo>
                    <a:lnTo>
                      <a:pt x="2202" y="876"/>
                    </a:lnTo>
                    <a:lnTo>
                      <a:pt x="2208" y="870"/>
                    </a:lnTo>
                    <a:lnTo>
                      <a:pt x="2226" y="876"/>
                    </a:lnTo>
                    <a:lnTo>
                      <a:pt x="2232" y="876"/>
                    </a:lnTo>
                    <a:lnTo>
                      <a:pt x="2238" y="876"/>
                    </a:lnTo>
                    <a:lnTo>
                      <a:pt x="2238" y="870"/>
                    </a:lnTo>
                    <a:lnTo>
                      <a:pt x="2232" y="870"/>
                    </a:lnTo>
                    <a:lnTo>
                      <a:pt x="2232" y="864"/>
                    </a:lnTo>
                    <a:lnTo>
                      <a:pt x="2232" y="858"/>
                    </a:lnTo>
                    <a:lnTo>
                      <a:pt x="2232" y="852"/>
                    </a:lnTo>
                    <a:lnTo>
                      <a:pt x="2238" y="846"/>
                    </a:lnTo>
                    <a:lnTo>
                      <a:pt x="2238" y="840"/>
                    </a:lnTo>
                    <a:lnTo>
                      <a:pt x="2262" y="852"/>
                    </a:lnTo>
                    <a:lnTo>
                      <a:pt x="2250" y="876"/>
                    </a:lnTo>
                    <a:lnTo>
                      <a:pt x="2250" y="936"/>
                    </a:lnTo>
                    <a:lnTo>
                      <a:pt x="2268" y="942"/>
                    </a:lnTo>
                    <a:lnTo>
                      <a:pt x="2262" y="978"/>
                    </a:lnTo>
                    <a:lnTo>
                      <a:pt x="2274" y="984"/>
                    </a:lnTo>
                    <a:lnTo>
                      <a:pt x="2316" y="972"/>
                    </a:lnTo>
                    <a:lnTo>
                      <a:pt x="2364" y="966"/>
                    </a:lnTo>
                    <a:lnTo>
                      <a:pt x="2370" y="972"/>
                    </a:lnTo>
                    <a:lnTo>
                      <a:pt x="2370" y="978"/>
                    </a:lnTo>
                    <a:lnTo>
                      <a:pt x="2370" y="984"/>
                    </a:lnTo>
                    <a:lnTo>
                      <a:pt x="2370" y="996"/>
                    </a:lnTo>
                    <a:lnTo>
                      <a:pt x="2370" y="1002"/>
                    </a:lnTo>
                    <a:lnTo>
                      <a:pt x="2370" y="1008"/>
                    </a:lnTo>
                    <a:lnTo>
                      <a:pt x="2370" y="1014"/>
                    </a:lnTo>
                    <a:lnTo>
                      <a:pt x="2358" y="1020"/>
                    </a:lnTo>
                    <a:lnTo>
                      <a:pt x="2358" y="1026"/>
                    </a:lnTo>
                    <a:lnTo>
                      <a:pt x="2346" y="1038"/>
                    </a:lnTo>
                    <a:lnTo>
                      <a:pt x="2352" y="1044"/>
                    </a:lnTo>
                    <a:lnTo>
                      <a:pt x="2358" y="1050"/>
                    </a:lnTo>
                    <a:lnTo>
                      <a:pt x="2364" y="1050"/>
                    </a:lnTo>
                    <a:lnTo>
                      <a:pt x="2370" y="1050"/>
                    </a:lnTo>
                    <a:lnTo>
                      <a:pt x="2370" y="1056"/>
                    </a:lnTo>
                    <a:lnTo>
                      <a:pt x="2382" y="1062"/>
                    </a:lnTo>
                    <a:lnTo>
                      <a:pt x="2382" y="1068"/>
                    </a:lnTo>
                    <a:lnTo>
                      <a:pt x="2376" y="1068"/>
                    </a:lnTo>
                    <a:lnTo>
                      <a:pt x="2370" y="1080"/>
                    </a:lnTo>
                    <a:lnTo>
                      <a:pt x="2370" y="1086"/>
                    </a:lnTo>
                    <a:lnTo>
                      <a:pt x="2376" y="1086"/>
                    </a:lnTo>
                    <a:lnTo>
                      <a:pt x="2388" y="1098"/>
                    </a:lnTo>
                    <a:lnTo>
                      <a:pt x="2394" y="1104"/>
                    </a:lnTo>
                    <a:lnTo>
                      <a:pt x="2400" y="1104"/>
                    </a:lnTo>
                    <a:lnTo>
                      <a:pt x="2406" y="1098"/>
                    </a:lnTo>
                    <a:lnTo>
                      <a:pt x="2406" y="1092"/>
                    </a:lnTo>
                    <a:lnTo>
                      <a:pt x="2412" y="1092"/>
                    </a:lnTo>
                    <a:lnTo>
                      <a:pt x="2412" y="1086"/>
                    </a:lnTo>
                    <a:lnTo>
                      <a:pt x="2412" y="1080"/>
                    </a:lnTo>
                    <a:lnTo>
                      <a:pt x="2418" y="1080"/>
                    </a:lnTo>
                    <a:lnTo>
                      <a:pt x="2424" y="1080"/>
                    </a:lnTo>
                    <a:lnTo>
                      <a:pt x="2424" y="1074"/>
                    </a:lnTo>
                    <a:lnTo>
                      <a:pt x="2424" y="1068"/>
                    </a:lnTo>
                    <a:lnTo>
                      <a:pt x="2430" y="1068"/>
                    </a:lnTo>
                    <a:lnTo>
                      <a:pt x="2430" y="1062"/>
                    </a:lnTo>
                    <a:lnTo>
                      <a:pt x="2430" y="1056"/>
                    </a:lnTo>
                    <a:lnTo>
                      <a:pt x="2430" y="1050"/>
                    </a:lnTo>
                    <a:lnTo>
                      <a:pt x="2424" y="1044"/>
                    </a:lnTo>
                    <a:lnTo>
                      <a:pt x="2430" y="1038"/>
                    </a:lnTo>
                    <a:lnTo>
                      <a:pt x="2430" y="1032"/>
                    </a:lnTo>
                    <a:lnTo>
                      <a:pt x="2436" y="1032"/>
                    </a:lnTo>
                    <a:lnTo>
                      <a:pt x="2436" y="1026"/>
                    </a:lnTo>
                    <a:lnTo>
                      <a:pt x="2436" y="1020"/>
                    </a:lnTo>
                    <a:lnTo>
                      <a:pt x="2442" y="1020"/>
                    </a:lnTo>
                    <a:lnTo>
                      <a:pt x="2448" y="1020"/>
                    </a:lnTo>
                    <a:lnTo>
                      <a:pt x="2448" y="1014"/>
                    </a:lnTo>
                    <a:lnTo>
                      <a:pt x="2454" y="1008"/>
                    </a:lnTo>
                    <a:lnTo>
                      <a:pt x="2448" y="1002"/>
                    </a:lnTo>
                    <a:lnTo>
                      <a:pt x="2448" y="996"/>
                    </a:lnTo>
                    <a:lnTo>
                      <a:pt x="2454" y="996"/>
                    </a:lnTo>
                    <a:lnTo>
                      <a:pt x="2454" y="990"/>
                    </a:lnTo>
                    <a:lnTo>
                      <a:pt x="2454" y="984"/>
                    </a:lnTo>
                    <a:lnTo>
                      <a:pt x="2454" y="978"/>
                    </a:lnTo>
                    <a:lnTo>
                      <a:pt x="2448" y="978"/>
                    </a:lnTo>
                    <a:lnTo>
                      <a:pt x="2448" y="972"/>
                    </a:lnTo>
                    <a:lnTo>
                      <a:pt x="2442" y="966"/>
                    </a:lnTo>
                    <a:lnTo>
                      <a:pt x="2442" y="960"/>
                    </a:lnTo>
                    <a:lnTo>
                      <a:pt x="2448" y="954"/>
                    </a:lnTo>
                    <a:lnTo>
                      <a:pt x="2448" y="948"/>
                    </a:lnTo>
                    <a:lnTo>
                      <a:pt x="2454" y="948"/>
                    </a:lnTo>
                    <a:lnTo>
                      <a:pt x="2466" y="948"/>
                    </a:lnTo>
                    <a:lnTo>
                      <a:pt x="2466" y="942"/>
                    </a:lnTo>
                    <a:lnTo>
                      <a:pt x="2472" y="936"/>
                    </a:lnTo>
                    <a:lnTo>
                      <a:pt x="2472" y="942"/>
                    </a:lnTo>
                    <a:lnTo>
                      <a:pt x="2472" y="948"/>
                    </a:lnTo>
                    <a:lnTo>
                      <a:pt x="2478" y="954"/>
                    </a:lnTo>
                    <a:lnTo>
                      <a:pt x="2478" y="960"/>
                    </a:lnTo>
                    <a:lnTo>
                      <a:pt x="2478" y="966"/>
                    </a:lnTo>
                    <a:lnTo>
                      <a:pt x="2484" y="966"/>
                    </a:lnTo>
                    <a:lnTo>
                      <a:pt x="2496" y="966"/>
                    </a:lnTo>
                    <a:lnTo>
                      <a:pt x="2514" y="966"/>
                    </a:lnTo>
                    <a:lnTo>
                      <a:pt x="2538" y="966"/>
                    </a:lnTo>
                    <a:lnTo>
                      <a:pt x="2550" y="966"/>
                    </a:lnTo>
                    <a:lnTo>
                      <a:pt x="2550" y="972"/>
                    </a:lnTo>
                    <a:lnTo>
                      <a:pt x="2544" y="978"/>
                    </a:lnTo>
                    <a:lnTo>
                      <a:pt x="2538" y="984"/>
                    </a:lnTo>
                    <a:lnTo>
                      <a:pt x="2538" y="990"/>
                    </a:lnTo>
                    <a:lnTo>
                      <a:pt x="2532" y="996"/>
                    </a:lnTo>
                    <a:lnTo>
                      <a:pt x="2526" y="1002"/>
                    </a:lnTo>
                    <a:lnTo>
                      <a:pt x="2520" y="1008"/>
                    </a:lnTo>
                    <a:lnTo>
                      <a:pt x="2514" y="1014"/>
                    </a:lnTo>
                    <a:lnTo>
                      <a:pt x="2514" y="1020"/>
                    </a:lnTo>
                    <a:lnTo>
                      <a:pt x="2508" y="1026"/>
                    </a:lnTo>
                    <a:lnTo>
                      <a:pt x="2502" y="1026"/>
                    </a:lnTo>
                    <a:lnTo>
                      <a:pt x="2502" y="1032"/>
                    </a:lnTo>
                    <a:lnTo>
                      <a:pt x="2496" y="1038"/>
                    </a:lnTo>
                    <a:lnTo>
                      <a:pt x="2490" y="1038"/>
                    </a:lnTo>
                    <a:lnTo>
                      <a:pt x="2490" y="1044"/>
                    </a:lnTo>
                    <a:lnTo>
                      <a:pt x="2496" y="1050"/>
                    </a:lnTo>
                    <a:lnTo>
                      <a:pt x="2496" y="1056"/>
                    </a:lnTo>
                    <a:lnTo>
                      <a:pt x="2502" y="1056"/>
                    </a:lnTo>
                    <a:lnTo>
                      <a:pt x="2502" y="1062"/>
                    </a:lnTo>
                    <a:lnTo>
                      <a:pt x="2502" y="1068"/>
                    </a:lnTo>
                    <a:lnTo>
                      <a:pt x="2508" y="1074"/>
                    </a:lnTo>
                    <a:lnTo>
                      <a:pt x="2508" y="1080"/>
                    </a:lnTo>
                    <a:lnTo>
                      <a:pt x="2514" y="1080"/>
                    </a:lnTo>
                    <a:lnTo>
                      <a:pt x="2514" y="1086"/>
                    </a:lnTo>
                    <a:lnTo>
                      <a:pt x="2514" y="1092"/>
                    </a:lnTo>
                    <a:lnTo>
                      <a:pt x="2520" y="1098"/>
                    </a:lnTo>
                    <a:lnTo>
                      <a:pt x="2526" y="1104"/>
                    </a:lnTo>
                    <a:lnTo>
                      <a:pt x="2532" y="1104"/>
                    </a:lnTo>
                    <a:lnTo>
                      <a:pt x="2532" y="1098"/>
                    </a:lnTo>
                    <a:lnTo>
                      <a:pt x="2538" y="1098"/>
                    </a:lnTo>
                    <a:lnTo>
                      <a:pt x="2544" y="1110"/>
                    </a:lnTo>
                    <a:lnTo>
                      <a:pt x="2544" y="1116"/>
                    </a:lnTo>
                    <a:lnTo>
                      <a:pt x="2544" y="1122"/>
                    </a:lnTo>
                    <a:lnTo>
                      <a:pt x="2538" y="1122"/>
                    </a:lnTo>
                    <a:lnTo>
                      <a:pt x="2538" y="1128"/>
                    </a:lnTo>
                    <a:lnTo>
                      <a:pt x="2538" y="1134"/>
                    </a:lnTo>
                    <a:lnTo>
                      <a:pt x="2538" y="1140"/>
                    </a:lnTo>
                    <a:lnTo>
                      <a:pt x="2532" y="1146"/>
                    </a:lnTo>
                    <a:lnTo>
                      <a:pt x="2532" y="1152"/>
                    </a:lnTo>
                    <a:lnTo>
                      <a:pt x="2520" y="1152"/>
                    </a:lnTo>
                    <a:lnTo>
                      <a:pt x="2520" y="1164"/>
                    </a:lnTo>
                    <a:lnTo>
                      <a:pt x="2508" y="1164"/>
                    </a:lnTo>
                    <a:lnTo>
                      <a:pt x="2508" y="1170"/>
                    </a:lnTo>
                    <a:lnTo>
                      <a:pt x="2514" y="1170"/>
                    </a:lnTo>
                    <a:lnTo>
                      <a:pt x="2514" y="1176"/>
                    </a:lnTo>
                    <a:lnTo>
                      <a:pt x="2520" y="1176"/>
                    </a:lnTo>
                    <a:lnTo>
                      <a:pt x="2520" y="1182"/>
                    </a:lnTo>
                    <a:lnTo>
                      <a:pt x="2520" y="1188"/>
                    </a:lnTo>
                    <a:lnTo>
                      <a:pt x="2514" y="1194"/>
                    </a:lnTo>
                    <a:lnTo>
                      <a:pt x="2514" y="1200"/>
                    </a:lnTo>
                    <a:lnTo>
                      <a:pt x="2514" y="1206"/>
                    </a:lnTo>
                    <a:lnTo>
                      <a:pt x="2514" y="1212"/>
                    </a:lnTo>
                    <a:lnTo>
                      <a:pt x="2514" y="1218"/>
                    </a:lnTo>
                    <a:lnTo>
                      <a:pt x="2508" y="1218"/>
                    </a:lnTo>
                    <a:lnTo>
                      <a:pt x="2508" y="1224"/>
                    </a:lnTo>
                    <a:lnTo>
                      <a:pt x="2502" y="1230"/>
                    </a:lnTo>
                    <a:lnTo>
                      <a:pt x="2496" y="1236"/>
                    </a:lnTo>
                    <a:lnTo>
                      <a:pt x="2502" y="1242"/>
                    </a:lnTo>
                    <a:lnTo>
                      <a:pt x="2496" y="1248"/>
                    </a:lnTo>
                    <a:lnTo>
                      <a:pt x="2496" y="1254"/>
                    </a:lnTo>
                    <a:lnTo>
                      <a:pt x="2496" y="1260"/>
                    </a:lnTo>
                    <a:lnTo>
                      <a:pt x="2496" y="1266"/>
                    </a:lnTo>
                    <a:lnTo>
                      <a:pt x="2496" y="1272"/>
                    </a:lnTo>
                    <a:lnTo>
                      <a:pt x="2490" y="1278"/>
                    </a:lnTo>
                    <a:lnTo>
                      <a:pt x="2496" y="1284"/>
                    </a:lnTo>
                    <a:lnTo>
                      <a:pt x="2502" y="1284"/>
                    </a:lnTo>
                    <a:lnTo>
                      <a:pt x="2508" y="1284"/>
                    </a:lnTo>
                    <a:lnTo>
                      <a:pt x="2508" y="1290"/>
                    </a:lnTo>
                    <a:lnTo>
                      <a:pt x="2502" y="1296"/>
                    </a:lnTo>
                    <a:lnTo>
                      <a:pt x="2502" y="1302"/>
                    </a:lnTo>
                    <a:lnTo>
                      <a:pt x="2502" y="1308"/>
                    </a:lnTo>
                    <a:lnTo>
                      <a:pt x="2496" y="1308"/>
                    </a:lnTo>
                    <a:lnTo>
                      <a:pt x="2496" y="1314"/>
                    </a:lnTo>
                    <a:lnTo>
                      <a:pt x="2490" y="1320"/>
                    </a:lnTo>
                    <a:lnTo>
                      <a:pt x="2490" y="1326"/>
                    </a:lnTo>
                    <a:lnTo>
                      <a:pt x="2490" y="1332"/>
                    </a:lnTo>
                    <a:lnTo>
                      <a:pt x="2484" y="1332"/>
                    </a:lnTo>
                    <a:lnTo>
                      <a:pt x="2484" y="1338"/>
                    </a:lnTo>
                    <a:lnTo>
                      <a:pt x="2484" y="1344"/>
                    </a:lnTo>
                    <a:lnTo>
                      <a:pt x="2478" y="1350"/>
                    </a:lnTo>
                    <a:lnTo>
                      <a:pt x="2478" y="1356"/>
                    </a:lnTo>
                    <a:lnTo>
                      <a:pt x="2472" y="1362"/>
                    </a:lnTo>
                    <a:lnTo>
                      <a:pt x="2472" y="1368"/>
                    </a:lnTo>
                    <a:lnTo>
                      <a:pt x="2472" y="1374"/>
                    </a:lnTo>
                    <a:lnTo>
                      <a:pt x="2466" y="1374"/>
                    </a:lnTo>
                    <a:lnTo>
                      <a:pt x="2466" y="1380"/>
                    </a:lnTo>
                    <a:lnTo>
                      <a:pt x="2460" y="1386"/>
                    </a:lnTo>
                    <a:lnTo>
                      <a:pt x="2460" y="1392"/>
                    </a:lnTo>
                    <a:lnTo>
                      <a:pt x="2454" y="1398"/>
                    </a:lnTo>
                    <a:lnTo>
                      <a:pt x="2454" y="1404"/>
                    </a:lnTo>
                    <a:lnTo>
                      <a:pt x="2454" y="1410"/>
                    </a:lnTo>
                    <a:lnTo>
                      <a:pt x="2448" y="1416"/>
                    </a:lnTo>
                    <a:lnTo>
                      <a:pt x="2448" y="1422"/>
                    </a:lnTo>
                    <a:lnTo>
                      <a:pt x="2442" y="1428"/>
                    </a:lnTo>
                    <a:lnTo>
                      <a:pt x="2442" y="1434"/>
                    </a:lnTo>
                    <a:lnTo>
                      <a:pt x="2436" y="1440"/>
                    </a:lnTo>
                    <a:lnTo>
                      <a:pt x="2436" y="1446"/>
                    </a:lnTo>
                    <a:lnTo>
                      <a:pt x="2430" y="1452"/>
                    </a:lnTo>
                    <a:lnTo>
                      <a:pt x="2430" y="1458"/>
                    </a:lnTo>
                    <a:lnTo>
                      <a:pt x="2430" y="1464"/>
                    </a:lnTo>
                    <a:lnTo>
                      <a:pt x="2424" y="1470"/>
                    </a:lnTo>
                    <a:lnTo>
                      <a:pt x="2418" y="1476"/>
                    </a:lnTo>
                    <a:lnTo>
                      <a:pt x="2418" y="1482"/>
                    </a:lnTo>
                    <a:lnTo>
                      <a:pt x="2418" y="1488"/>
                    </a:lnTo>
                    <a:lnTo>
                      <a:pt x="2412" y="1488"/>
                    </a:lnTo>
                    <a:lnTo>
                      <a:pt x="2412" y="1494"/>
                    </a:lnTo>
                    <a:lnTo>
                      <a:pt x="2412" y="1500"/>
                    </a:lnTo>
                    <a:lnTo>
                      <a:pt x="2406" y="1506"/>
                    </a:lnTo>
                    <a:lnTo>
                      <a:pt x="2406" y="1512"/>
                    </a:lnTo>
                    <a:lnTo>
                      <a:pt x="2400" y="1512"/>
                    </a:lnTo>
                    <a:lnTo>
                      <a:pt x="2400" y="1518"/>
                    </a:lnTo>
                    <a:lnTo>
                      <a:pt x="2400" y="1524"/>
                    </a:lnTo>
                    <a:lnTo>
                      <a:pt x="2394" y="1530"/>
                    </a:lnTo>
                    <a:lnTo>
                      <a:pt x="2394" y="1536"/>
                    </a:lnTo>
                    <a:lnTo>
                      <a:pt x="2388" y="1542"/>
                    </a:lnTo>
                    <a:lnTo>
                      <a:pt x="2388" y="1548"/>
                    </a:lnTo>
                    <a:lnTo>
                      <a:pt x="2388" y="1554"/>
                    </a:lnTo>
                    <a:lnTo>
                      <a:pt x="2382" y="1554"/>
                    </a:lnTo>
                    <a:lnTo>
                      <a:pt x="2382" y="1560"/>
                    </a:lnTo>
                    <a:lnTo>
                      <a:pt x="2376" y="1566"/>
                    </a:lnTo>
                    <a:lnTo>
                      <a:pt x="2376" y="1572"/>
                    </a:lnTo>
                    <a:lnTo>
                      <a:pt x="2376" y="1578"/>
                    </a:lnTo>
                    <a:lnTo>
                      <a:pt x="2370" y="1578"/>
                    </a:lnTo>
                    <a:lnTo>
                      <a:pt x="2370" y="1584"/>
                    </a:lnTo>
                    <a:lnTo>
                      <a:pt x="2370" y="1590"/>
                    </a:lnTo>
                    <a:lnTo>
                      <a:pt x="2364" y="1596"/>
                    </a:lnTo>
                    <a:lnTo>
                      <a:pt x="2364" y="1602"/>
                    </a:lnTo>
                    <a:lnTo>
                      <a:pt x="2358" y="1608"/>
                    </a:lnTo>
                    <a:lnTo>
                      <a:pt x="2358" y="1614"/>
                    </a:lnTo>
                    <a:lnTo>
                      <a:pt x="2358" y="1620"/>
                    </a:lnTo>
                    <a:lnTo>
                      <a:pt x="2352" y="1620"/>
                    </a:lnTo>
                    <a:lnTo>
                      <a:pt x="2352" y="1626"/>
                    </a:lnTo>
                    <a:lnTo>
                      <a:pt x="2346" y="1632"/>
                    </a:lnTo>
                    <a:lnTo>
                      <a:pt x="2352" y="1638"/>
                    </a:lnTo>
                    <a:lnTo>
                      <a:pt x="2352" y="1644"/>
                    </a:lnTo>
                    <a:lnTo>
                      <a:pt x="2352" y="1650"/>
                    </a:lnTo>
                    <a:lnTo>
                      <a:pt x="2352" y="1656"/>
                    </a:lnTo>
                    <a:lnTo>
                      <a:pt x="2358" y="1656"/>
                    </a:lnTo>
                    <a:lnTo>
                      <a:pt x="2358" y="1662"/>
                    </a:lnTo>
                    <a:lnTo>
                      <a:pt x="2364" y="1662"/>
                    </a:lnTo>
                    <a:lnTo>
                      <a:pt x="2364" y="1668"/>
                    </a:lnTo>
                    <a:lnTo>
                      <a:pt x="2364" y="1674"/>
                    </a:lnTo>
                    <a:lnTo>
                      <a:pt x="2370" y="1674"/>
                    </a:lnTo>
                    <a:lnTo>
                      <a:pt x="2370" y="1680"/>
                    </a:lnTo>
                    <a:lnTo>
                      <a:pt x="2376" y="1680"/>
                    </a:lnTo>
                    <a:lnTo>
                      <a:pt x="2382" y="1680"/>
                    </a:lnTo>
                    <a:lnTo>
                      <a:pt x="2388" y="1680"/>
                    </a:lnTo>
                    <a:lnTo>
                      <a:pt x="2388" y="1686"/>
                    </a:lnTo>
                    <a:lnTo>
                      <a:pt x="2394" y="1686"/>
                    </a:lnTo>
                    <a:lnTo>
                      <a:pt x="2394" y="1692"/>
                    </a:lnTo>
                    <a:lnTo>
                      <a:pt x="2400" y="1692"/>
                    </a:lnTo>
                    <a:lnTo>
                      <a:pt x="2406" y="1692"/>
                    </a:lnTo>
                    <a:lnTo>
                      <a:pt x="2412" y="1698"/>
                    </a:lnTo>
                    <a:lnTo>
                      <a:pt x="2412" y="1704"/>
                    </a:lnTo>
                    <a:lnTo>
                      <a:pt x="2418" y="1704"/>
                    </a:lnTo>
                    <a:lnTo>
                      <a:pt x="2418" y="1710"/>
                    </a:lnTo>
                    <a:lnTo>
                      <a:pt x="2424" y="1710"/>
                    </a:lnTo>
                    <a:lnTo>
                      <a:pt x="2424" y="1716"/>
                    </a:lnTo>
                    <a:lnTo>
                      <a:pt x="2430" y="1716"/>
                    </a:lnTo>
                    <a:lnTo>
                      <a:pt x="2436" y="1716"/>
                    </a:lnTo>
                    <a:lnTo>
                      <a:pt x="2442" y="1716"/>
                    </a:lnTo>
                    <a:lnTo>
                      <a:pt x="2442" y="1722"/>
                    </a:lnTo>
                    <a:lnTo>
                      <a:pt x="2442" y="1728"/>
                    </a:lnTo>
                    <a:lnTo>
                      <a:pt x="2442" y="1734"/>
                    </a:lnTo>
                    <a:lnTo>
                      <a:pt x="2448" y="1734"/>
                    </a:lnTo>
                    <a:lnTo>
                      <a:pt x="2448" y="1740"/>
                    </a:lnTo>
                    <a:lnTo>
                      <a:pt x="2454" y="1740"/>
                    </a:lnTo>
                    <a:lnTo>
                      <a:pt x="2454" y="1746"/>
                    </a:lnTo>
                    <a:lnTo>
                      <a:pt x="2460" y="1746"/>
                    </a:lnTo>
                    <a:lnTo>
                      <a:pt x="2466" y="1746"/>
                    </a:lnTo>
                    <a:lnTo>
                      <a:pt x="2472" y="1746"/>
                    </a:lnTo>
                    <a:lnTo>
                      <a:pt x="2478" y="1746"/>
                    </a:lnTo>
                    <a:lnTo>
                      <a:pt x="2484" y="1752"/>
                    </a:lnTo>
                    <a:lnTo>
                      <a:pt x="2484" y="1758"/>
                    </a:lnTo>
                    <a:lnTo>
                      <a:pt x="2484" y="1764"/>
                    </a:lnTo>
                    <a:lnTo>
                      <a:pt x="2490" y="1764"/>
                    </a:lnTo>
                    <a:lnTo>
                      <a:pt x="2490" y="1770"/>
                    </a:lnTo>
                    <a:lnTo>
                      <a:pt x="2490" y="1776"/>
                    </a:lnTo>
                    <a:lnTo>
                      <a:pt x="2496" y="1776"/>
                    </a:lnTo>
                    <a:lnTo>
                      <a:pt x="2496" y="1782"/>
                    </a:lnTo>
                    <a:lnTo>
                      <a:pt x="2496" y="1788"/>
                    </a:lnTo>
                    <a:lnTo>
                      <a:pt x="2502" y="1788"/>
                    </a:lnTo>
                    <a:lnTo>
                      <a:pt x="2502" y="1794"/>
                    </a:lnTo>
                    <a:lnTo>
                      <a:pt x="2502" y="1800"/>
                    </a:lnTo>
                    <a:lnTo>
                      <a:pt x="2508" y="1800"/>
                    </a:lnTo>
                    <a:lnTo>
                      <a:pt x="2508" y="1806"/>
                    </a:lnTo>
                    <a:lnTo>
                      <a:pt x="2508" y="1812"/>
                    </a:lnTo>
                    <a:lnTo>
                      <a:pt x="2514" y="1812"/>
                    </a:lnTo>
                    <a:lnTo>
                      <a:pt x="2520" y="1812"/>
                    </a:lnTo>
                    <a:lnTo>
                      <a:pt x="2520" y="1818"/>
                    </a:lnTo>
                    <a:lnTo>
                      <a:pt x="2526" y="1818"/>
                    </a:lnTo>
                    <a:lnTo>
                      <a:pt x="2526" y="1824"/>
                    </a:lnTo>
                    <a:lnTo>
                      <a:pt x="2526" y="1830"/>
                    </a:lnTo>
                    <a:lnTo>
                      <a:pt x="2532" y="1830"/>
                    </a:lnTo>
                    <a:lnTo>
                      <a:pt x="2532" y="1836"/>
                    </a:lnTo>
                    <a:lnTo>
                      <a:pt x="2538" y="1842"/>
                    </a:lnTo>
                    <a:lnTo>
                      <a:pt x="2544" y="1842"/>
                    </a:lnTo>
                    <a:lnTo>
                      <a:pt x="2544" y="1848"/>
                    </a:lnTo>
                    <a:lnTo>
                      <a:pt x="2550" y="1848"/>
                    </a:lnTo>
                    <a:lnTo>
                      <a:pt x="2550" y="1854"/>
                    </a:lnTo>
                    <a:lnTo>
                      <a:pt x="2556" y="1860"/>
                    </a:lnTo>
                    <a:lnTo>
                      <a:pt x="2556" y="1866"/>
                    </a:lnTo>
                    <a:lnTo>
                      <a:pt x="2562" y="1866"/>
                    </a:lnTo>
                    <a:lnTo>
                      <a:pt x="2562" y="1872"/>
                    </a:lnTo>
                    <a:lnTo>
                      <a:pt x="2568" y="1872"/>
                    </a:lnTo>
                    <a:lnTo>
                      <a:pt x="2568" y="1878"/>
                    </a:lnTo>
                    <a:lnTo>
                      <a:pt x="2574" y="1878"/>
                    </a:lnTo>
                    <a:lnTo>
                      <a:pt x="2574" y="1884"/>
                    </a:lnTo>
                    <a:lnTo>
                      <a:pt x="2580" y="1884"/>
                    </a:lnTo>
                    <a:lnTo>
                      <a:pt x="2586" y="1884"/>
                    </a:lnTo>
                    <a:lnTo>
                      <a:pt x="2586" y="1890"/>
                    </a:lnTo>
                    <a:lnTo>
                      <a:pt x="2586" y="1896"/>
                    </a:lnTo>
                    <a:lnTo>
                      <a:pt x="2592" y="1902"/>
                    </a:lnTo>
                    <a:lnTo>
                      <a:pt x="2592" y="1908"/>
                    </a:lnTo>
                    <a:lnTo>
                      <a:pt x="2598" y="1908"/>
                    </a:lnTo>
                    <a:lnTo>
                      <a:pt x="2604" y="1908"/>
                    </a:lnTo>
                    <a:lnTo>
                      <a:pt x="2604" y="1914"/>
                    </a:lnTo>
                    <a:lnTo>
                      <a:pt x="2610" y="1914"/>
                    </a:lnTo>
                    <a:lnTo>
                      <a:pt x="2616" y="1920"/>
                    </a:lnTo>
                    <a:lnTo>
                      <a:pt x="2622" y="1920"/>
                    </a:lnTo>
                    <a:lnTo>
                      <a:pt x="2622" y="1926"/>
                    </a:lnTo>
                    <a:lnTo>
                      <a:pt x="2622" y="1932"/>
                    </a:lnTo>
                    <a:lnTo>
                      <a:pt x="2628" y="1932"/>
                    </a:lnTo>
                    <a:lnTo>
                      <a:pt x="2628" y="1938"/>
                    </a:lnTo>
                    <a:lnTo>
                      <a:pt x="2634" y="1938"/>
                    </a:lnTo>
                    <a:lnTo>
                      <a:pt x="2640" y="1938"/>
                    </a:lnTo>
                    <a:lnTo>
                      <a:pt x="2646" y="1938"/>
                    </a:lnTo>
                    <a:lnTo>
                      <a:pt x="2652" y="1938"/>
                    </a:lnTo>
                    <a:lnTo>
                      <a:pt x="2658" y="1938"/>
                    </a:lnTo>
                    <a:lnTo>
                      <a:pt x="2658" y="1944"/>
                    </a:lnTo>
                    <a:lnTo>
                      <a:pt x="2664" y="1944"/>
                    </a:lnTo>
                    <a:lnTo>
                      <a:pt x="2664" y="1950"/>
                    </a:lnTo>
                    <a:lnTo>
                      <a:pt x="2670" y="1950"/>
                    </a:lnTo>
                    <a:lnTo>
                      <a:pt x="2670" y="1956"/>
                    </a:lnTo>
                    <a:lnTo>
                      <a:pt x="2676" y="1956"/>
                    </a:lnTo>
                    <a:lnTo>
                      <a:pt x="2676" y="1962"/>
                    </a:lnTo>
                    <a:lnTo>
                      <a:pt x="2682" y="2016"/>
                    </a:lnTo>
                    <a:lnTo>
                      <a:pt x="2700" y="2022"/>
                    </a:lnTo>
                    <a:lnTo>
                      <a:pt x="2694" y="2034"/>
                    </a:lnTo>
                    <a:lnTo>
                      <a:pt x="2688" y="2040"/>
                    </a:lnTo>
                    <a:lnTo>
                      <a:pt x="2682" y="2040"/>
                    </a:lnTo>
                    <a:lnTo>
                      <a:pt x="2682" y="2046"/>
                    </a:lnTo>
                    <a:lnTo>
                      <a:pt x="2694" y="2058"/>
                    </a:lnTo>
                    <a:lnTo>
                      <a:pt x="2694" y="2064"/>
                    </a:lnTo>
                    <a:lnTo>
                      <a:pt x="2694" y="2070"/>
                    </a:lnTo>
                    <a:lnTo>
                      <a:pt x="2688" y="2076"/>
                    </a:lnTo>
                    <a:lnTo>
                      <a:pt x="2682" y="2088"/>
                    </a:lnTo>
                    <a:lnTo>
                      <a:pt x="2688" y="2100"/>
                    </a:lnTo>
                    <a:lnTo>
                      <a:pt x="2676" y="2112"/>
                    </a:lnTo>
                    <a:lnTo>
                      <a:pt x="2670" y="2112"/>
                    </a:lnTo>
                    <a:lnTo>
                      <a:pt x="2676" y="2124"/>
                    </a:lnTo>
                    <a:lnTo>
                      <a:pt x="2664" y="2136"/>
                    </a:lnTo>
                    <a:lnTo>
                      <a:pt x="2658" y="2136"/>
                    </a:lnTo>
                    <a:lnTo>
                      <a:pt x="2652" y="2142"/>
                    </a:lnTo>
                    <a:lnTo>
                      <a:pt x="2652" y="2160"/>
                    </a:lnTo>
                    <a:lnTo>
                      <a:pt x="2646" y="2166"/>
                    </a:lnTo>
                    <a:lnTo>
                      <a:pt x="2604" y="2160"/>
                    </a:lnTo>
                    <a:lnTo>
                      <a:pt x="2598" y="2166"/>
                    </a:lnTo>
                    <a:lnTo>
                      <a:pt x="2556" y="2184"/>
                    </a:lnTo>
                    <a:lnTo>
                      <a:pt x="2532" y="2184"/>
                    </a:lnTo>
                    <a:lnTo>
                      <a:pt x="2526" y="2196"/>
                    </a:lnTo>
                    <a:lnTo>
                      <a:pt x="2502" y="2202"/>
                    </a:lnTo>
                    <a:lnTo>
                      <a:pt x="2502" y="2220"/>
                    </a:lnTo>
                    <a:lnTo>
                      <a:pt x="2490" y="2214"/>
                    </a:lnTo>
                    <a:lnTo>
                      <a:pt x="2478" y="2226"/>
                    </a:lnTo>
                    <a:lnTo>
                      <a:pt x="2460" y="2226"/>
                    </a:lnTo>
                    <a:lnTo>
                      <a:pt x="2454" y="2232"/>
                    </a:lnTo>
                    <a:lnTo>
                      <a:pt x="2436" y="2226"/>
                    </a:lnTo>
                    <a:lnTo>
                      <a:pt x="2412" y="2226"/>
                    </a:lnTo>
                    <a:lnTo>
                      <a:pt x="2412" y="2232"/>
                    </a:lnTo>
                    <a:lnTo>
                      <a:pt x="2412" y="2250"/>
                    </a:lnTo>
                    <a:lnTo>
                      <a:pt x="2400" y="2256"/>
                    </a:lnTo>
                    <a:lnTo>
                      <a:pt x="2406" y="2262"/>
                    </a:lnTo>
                    <a:lnTo>
                      <a:pt x="2400" y="2280"/>
                    </a:lnTo>
                    <a:lnTo>
                      <a:pt x="2400" y="2286"/>
                    </a:lnTo>
                    <a:lnTo>
                      <a:pt x="2400" y="2292"/>
                    </a:lnTo>
                    <a:lnTo>
                      <a:pt x="2400" y="2304"/>
                    </a:lnTo>
                    <a:lnTo>
                      <a:pt x="2400" y="2328"/>
                    </a:lnTo>
                    <a:lnTo>
                      <a:pt x="2394" y="2334"/>
                    </a:lnTo>
                    <a:lnTo>
                      <a:pt x="2340" y="2334"/>
                    </a:lnTo>
                    <a:lnTo>
                      <a:pt x="2340" y="2340"/>
                    </a:lnTo>
                    <a:lnTo>
                      <a:pt x="2334" y="2346"/>
                    </a:lnTo>
                    <a:lnTo>
                      <a:pt x="2328" y="2352"/>
                    </a:lnTo>
                    <a:lnTo>
                      <a:pt x="2322" y="2352"/>
                    </a:lnTo>
                    <a:lnTo>
                      <a:pt x="2298" y="2340"/>
                    </a:lnTo>
                    <a:lnTo>
                      <a:pt x="2292" y="2346"/>
                    </a:lnTo>
                    <a:lnTo>
                      <a:pt x="2292" y="2352"/>
                    </a:lnTo>
                    <a:lnTo>
                      <a:pt x="2298" y="2358"/>
                    </a:lnTo>
                    <a:lnTo>
                      <a:pt x="2274" y="2364"/>
                    </a:lnTo>
                    <a:lnTo>
                      <a:pt x="2262" y="2340"/>
                    </a:lnTo>
                    <a:lnTo>
                      <a:pt x="2262" y="2334"/>
                    </a:lnTo>
                    <a:lnTo>
                      <a:pt x="2238" y="2334"/>
                    </a:lnTo>
                    <a:lnTo>
                      <a:pt x="2238" y="2352"/>
                    </a:lnTo>
                    <a:lnTo>
                      <a:pt x="2226" y="2358"/>
                    </a:lnTo>
                    <a:lnTo>
                      <a:pt x="2220" y="2370"/>
                    </a:lnTo>
                    <a:lnTo>
                      <a:pt x="2214" y="2370"/>
                    </a:lnTo>
                    <a:lnTo>
                      <a:pt x="2208" y="2358"/>
                    </a:lnTo>
                    <a:lnTo>
                      <a:pt x="2196" y="2352"/>
                    </a:lnTo>
                    <a:lnTo>
                      <a:pt x="2202" y="2346"/>
                    </a:lnTo>
                    <a:lnTo>
                      <a:pt x="2202" y="2340"/>
                    </a:lnTo>
                    <a:lnTo>
                      <a:pt x="2178" y="2328"/>
                    </a:lnTo>
                    <a:lnTo>
                      <a:pt x="2172" y="2316"/>
                    </a:lnTo>
                    <a:lnTo>
                      <a:pt x="2142" y="2316"/>
                    </a:lnTo>
                    <a:lnTo>
                      <a:pt x="2136" y="2316"/>
                    </a:lnTo>
                    <a:lnTo>
                      <a:pt x="2130" y="2316"/>
                    </a:lnTo>
                    <a:lnTo>
                      <a:pt x="2130" y="2328"/>
                    </a:lnTo>
                    <a:lnTo>
                      <a:pt x="2118" y="2328"/>
                    </a:lnTo>
                    <a:lnTo>
                      <a:pt x="2112" y="2334"/>
                    </a:lnTo>
                    <a:lnTo>
                      <a:pt x="2100" y="2328"/>
                    </a:lnTo>
                    <a:lnTo>
                      <a:pt x="2082" y="2328"/>
                    </a:lnTo>
                    <a:lnTo>
                      <a:pt x="2076" y="2334"/>
                    </a:lnTo>
                    <a:lnTo>
                      <a:pt x="2058" y="2334"/>
                    </a:lnTo>
                    <a:lnTo>
                      <a:pt x="2040" y="2346"/>
                    </a:lnTo>
                    <a:lnTo>
                      <a:pt x="2034" y="2370"/>
                    </a:lnTo>
                    <a:lnTo>
                      <a:pt x="2028" y="2382"/>
                    </a:lnTo>
                    <a:lnTo>
                      <a:pt x="2028" y="2388"/>
                    </a:lnTo>
                    <a:lnTo>
                      <a:pt x="1992" y="2424"/>
                    </a:lnTo>
                    <a:lnTo>
                      <a:pt x="1986" y="2430"/>
                    </a:lnTo>
                    <a:lnTo>
                      <a:pt x="1974" y="2412"/>
                    </a:lnTo>
                    <a:lnTo>
                      <a:pt x="1974" y="2406"/>
                    </a:lnTo>
                    <a:lnTo>
                      <a:pt x="1980" y="2394"/>
                    </a:lnTo>
                    <a:lnTo>
                      <a:pt x="1950" y="2388"/>
                    </a:lnTo>
                    <a:lnTo>
                      <a:pt x="1932" y="2394"/>
                    </a:lnTo>
                    <a:lnTo>
                      <a:pt x="1920" y="2388"/>
                    </a:lnTo>
                    <a:lnTo>
                      <a:pt x="1920" y="2376"/>
                    </a:lnTo>
                    <a:lnTo>
                      <a:pt x="1896" y="2388"/>
                    </a:lnTo>
                    <a:lnTo>
                      <a:pt x="1884" y="2370"/>
                    </a:lnTo>
                    <a:lnTo>
                      <a:pt x="1860" y="2376"/>
                    </a:lnTo>
                    <a:lnTo>
                      <a:pt x="1836" y="2370"/>
                    </a:lnTo>
                    <a:lnTo>
                      <a:pt x="1848" y="2346"/>
                    </a:lnTo>
                    <a:lnTo>
                      <a:pt x="1836" y="2340"/>
                    </a:lnTo>
                    <a:lnTo>
                      <a:pt x="1830" y="2328"/>
                    </a:lnTo>
                    <a:lnTo>
                      <a:pt x="1812" y="2322"/>
                    </a:lnTo>
                    <a:lnTo>
                      <a:pt x="1758" y="2292"/>
                    </a:lnTo>
                    <a:lnTo>
                      <a:pt x="1752" y="2298"/>
                    </a:lnTo>
                    <a:lnTo>
                      <a:pt x="1752" y="2310"/>
                    </a:lnTo>
                    <a:lnTo>
                      <a:pt x="1746" y="2316"/>
                    </a:lnTo>
                    <a:lnTo>
                      <a:pt x="1740" y="2340"/>
                    </a:lnTo>
                    <a:lnTo>
                      <a:pt x="1722" y="2364"/>
                    </a:lnTo>
                    <a:lnTo>
                      <a:pt x="1722" y="2400"/>
                    </a:lnTo>
                    <a:lnTo>
                      <a:pt x="1698" y="2388"/>
                    </a:lnTo>
                    <a:lnTo>
                      <a:pt x="1704" y="2400"/>
                    </a:lnTo>
                    <a:lnTo>
                      <a:pt x="1704" y="2406"/>
                    </a:lnTo>
                    <a:lnTo>
                      <a:pt x="1704" y="2412"/>
                    </a:lnTo>
                    <a:lnTo>
                      <a:pt x="1698" y="2412"/>
                    </a:lnTo>
                    <a:lnTo>
                      <a:pt x="1704" y="2430"/>
                    </a:lnTo>
                    <a:lnTo>
                      <a:pt x="1698" y="2436"/>
                    </a:lnTo>
                    <a:lnTo>
                      <a:pt x="1698" y="2442"/>
                    </a:lnTo>
                    <a:lnTo>
                      <a:pt x="1698" y="2448"/>
                    </a:lnTo>
                    <a:lnTo>
                      <a:pt x="1704" y="2448"/>
                    </a:lnTo>
                    <a:lnTo>
                      <a:pt x="1716" y="2460"/>
                    </a:lnTo>
                    <a:lnTo>
                      <a:pt x="1704" y="2484"/>
                    </a:lnTo>
                    <a:lnTo>
                      <a:pt x="1698" y="2466"/>
                    </a:lnTo>
                    <a:lnTo>
                      <a:pt x="1680" y="2472"/>
                    </a:lnTo>
                    <a:lnTo>
                      <a:pt x="1680" y="2508"/>
                    </a:lnTo>
                    <a:lnTo>
                      <a:pt x="1662" y="2514"/>
                    </a:lnTo>
                    <a:lnTo>
                      <a:pt x="1656" y="2526"/>
                    </a:lnTo>
                    <a:lnTo>
                      <a:pt x="1638" y="2532"/>
                    </a:lnTo>
                    <a:lnTo>
                      <a:pt x="1614" y="2520"/>
                    </a:lnTo>
                    <a:lnTo>
                      <a:pt x="1608" y="2514"/>
                    </a:lnTo>
                    <a:lnTo>
                      <a:pt x="1602" y="2508"/>
                    </a:lnTo>
                    <a:lnTo>
                      <a:pt x="1584" y="2526"/>
                    </a:lnTo>
                    <a:lnTo>
                      <a:pt x="1566" y="2514"/>
                    </a:lnTo>
                    <a:lnTo>
                      <a:pt x="1548" y="2520"/>
                    </a:lnTo>
                    <a:lnTo>
                      <a:pt x="1548" y="2550"/>
                    </a:lnTo>
                    <a:lnTo>
                      <a:pt x="1536" y="2556"/>
                    </a:lnTo>
                    <a:lnTo>
                      <a:pt x="1524" y="2556"/>
                    </a:lnTo>
                    <a:lnTo>
                      <a:pt x="1512" y="2568"/>
                    </a:lnTo>
                    <a:lnTo>
                      <a:pt x="1506" y="2568"/>
                    </a:lnTo>
                    <a:lnTo>
                      <a:pt x="1488" y="2574"/>
                    </a:lnTo>
                    <a:lnTo>
                      <a:pt x="1476" y="2574"/>
                    </a:lnTo>
                    <a:lnTo>
                      <a:pt x="1476" y="2580"/>
                    </a:lnTo>
                    <a:lnTo>
                      <a:pt x="1476" y="2592"/>
                    </a:lnTo>
                    <a:lnTo>
                      <a:pt x="1470" y="2592"/>
                    </a:lnTo>
                    <a:lnTo>
                      <a:pt x="1464" y="2598"/>
                    </a:lnTo>
                    <a:lnTo>
                      <a:pt x="1452" y="2604"/>
                    </a:lnTo>
                    <a:lnTo>
                      <a:pt x="1452" y="2610"/>
                    </a:lnTo>
                    <a:lnTo>
                      <a:pt x="1446" y="2616"/>
                    </a:lnTo>
                    <a:lnTo>
                      <a:pt x="1446" y="2622"/>
                    </a:lnTo>
                    <a:lnTo>
                      <a:pt x="1440" y="2640"/>
                    </a:lnTo>
                    <a:lnTo>
                      <a:pt x="1446" y="2658"/>
                    </a:lnTo>
                    <a:lnTo>
                      <a:pt x="1398" y="2670"/>
                    </a:lnTo>
                    <a:lnTo>
                      <a:pt x="1386" y="2664"/>
                    </a:lnTo>
                    <a:lnTo>
                      <a:pt x="1350" y="2676"/>
                    </a:lnTo>
                    <a:lnTo>
                      <a:pt x="1338" y="2688"/>
                    </a:lnTo>
                    <a:lnTo>
                      <a:pt x="1338" y="2694"/>
                    </a:lnTo>
                    <a:lnTo>
                      <a:pt x="1344" y="2706"/>
                    </a:lnTo>
                    <a:lnTo>
                      <a:pt x="1350" y="2724"/>
                    </a:lnTo>
                    <a:lnTo>
                      <a:pt x="1344" y="2748"/>
                    </a:lnTo>
                    <a:lnTo>
                      <a:pt x="1326" y="2760"/>
                    </a:lnTo>
                    <a:lnTo>
                      <a:pt x="1320" y="2766"/>
                    </a:lnTo>
                    <a:lnTo>
                      <a:pt x="1302" y="2766"/>
                    </a:lnTo>
                    <a:lnTo>
                      <a:pt x="1284" y="2772"/>
                    </a:lnTo>
                    <a:lnTo>
                      <a:pt x="1272" y="2754"/>
                    </a:lnTo>
                    <a:lnTo>
                      <a:pt x="1254" y="2772"/>
                    </a:lnTo>
                    <a:lnTo>
                      <a:pt x="1242" y="2772"/>
                    </a:lnTo>
                    <a:lnTo>
                      <a:pt x="1236" y="2772"/>
                    </a:lnTo>
                    <a:lnTo>
                      <a:pt x="1224" y="2760"/>
                    </a:lnTo>
                    <a:lnTo>
                      <a:pt x="1218" y="2766"/>
                    </a:lnTo>
                    <a:lnTo>
                      <a:pt x="1212" y="2748"/>
                    </a:lnTo>
                    <a:lnTo>
                      <a:pt x="1206" y="2742"/>
                    </a:lnTo>
                    <a:lnTo>
                      <a:pt x="1194" y="2724"/>
                    </a:lnTo>
                    <a:lnTo>
                      <a:pt x="1182" y="2724"/>
                    </a:lnTo>
                    <a:lnTo>
                      <a:pt x="1176" y="2718"/>
                    </a:lnTo>
                    <a:lnTo>
                      <a:pt x="1170" y="2718"/>
                    </a:lnTo>
                    <a:lnTo>
                      <a:pt x="1164" y="2718"/>
                    </a:lnTo>
                    <a:lnTo>
                      <a:pt x="1164" y="2688"/>
                    </a:lnTo>
                    <a:lnTo>
                      <a:pt x="1158" y="2676"/>
                    </a:lnTo>
                    <a:lnTo>
                      <a:pt x="1146" y="2670"/>
                    </a:lnTo>
                    <a:lnTo>
                      <a:pt x="1134" y="2634"/>
                    </a:lnTo>
                    <a:lnTo>
                      <a:pt x="1128" y="2610"/>
                    </a:lnTo>
                    <a:lnTo>
                      <a:pt x="1128" y="2592"/>
                    </a:lnTo>
                    <a:lnTo>
                      <a:pt x="1140" y="2598"/>
                    </a:lnTo>
                    <a:lnTo>
                      <a:pt x="1152" y="2586"/>
                    </a:lnTo>
                    <a:lnTo>
                      <a:pt x="1146" y="2574"/>
                    </a:lnTo>
                    <a:lnTo>
                      <a:pt x="1164" y="2556"/>
                    </a:lnTo>
                    <a:lnTo>
                      <a:pt x="1176" y="2562"/>
                    </a:lnTo>
                    <a:lnTo>
                      <a:pt x="1170" y="2538"/>
                    </a:lnTo>
                    <a:lnTo>
                      <a:pt x="1158" y="2532"/>
                    </a:lnTo>
                    <a:lnTo>
                      <a:pt x="1158" y="2526"/>
                    </a:lnTo>
                    <a:lnTo>
                      <a:pt x="1152" y="2520"/>
                    </a:lnTo>
                    <a:lnTo>
                      <a:pt x="1146" y="2526"/>
                    </a:lnTo>
                    <a:lnTo>
                      <a:pt x="1134" y="2532"/>
                    </a:lnTo>
                    <a:lnTo>
                      <a:pt x="1128" y="2544"/>
                    </a:lnTo>
                    <a:lnTo>
                      <a:pt x="1116" y="2544"/>
                    </a:lnTo>
                    <a:lnTo>
                      <a:pt x="1110" y="2562"/>
                    </a:lnTo>
                    <a:lnTo>
                      <a:pt x="1086" y="2586"/>
                    </a:lnTo>
                    <a:lnTo>
                      <a:pt x="1062" y="2592"/>
                    </a:lnTo>
                    <a:lnTo>
                      <a:pt x="1062" y="2586"/>
                    </a:lnTo>
                    <a:lnTo>
                      <a:pt x="1050" y="2586"/>
                    </a:lnTo>
                    <a:lnTo>
                      <a:pt x="1050" y="2592"/>
                    </a:lnTo>
                    <a:lnTo>
                      <a:pt x="1038" y="2604"/>
                    </a:lnTo>
                    <a:lnTo>
                      <a:pt x="1026" y="2598"/>
                    </a:lnTo>
                    <a:lnTo>
                      <a:pt x="1020" y="2610"/>
                    </a:lnTo>
                    <a:lnTo>
                      <a:pt x="1026" y="2616"/>
                    </a:lnTo>
                    <a:lnTo>
                      <a:pt x="1008" y="2622"/>
                    </a:lnTo>
                    <a:lnTo>
                      <a:pt x="1002" y="2610"/>
                    </a:lnTo>
                    <a:lnTo>
                      <a:pt x="996" y="2616"/>
                    </a:lnTo>
                    <a:lnTo>
                      <a:pt x="996" y="2634"/>
                    </a:lnTo>
                    <a:lnTo>
                      <a:pt x="990" y="2652"/>
                    </a:lnTo>
                    <a:lnTo>
                      <a:pt x="990" y="2658"/>
                    </a:lnTo>
                    <a:lnTo>
                      <a:pt x="990" y="2664"/>
                    </a:lnTo>
                    <a:lnTo>
                      <a:pt x="996" y="2670"/>
                    </a:lnTo>
                    <a:lnTo>
                      <a:pt x="996" y="2676"/>
                    </a:lnTo>
                    <a:lnTo>
                      <a:pt x="978" y="2694"/>
                    </a:lnTo>
                    <a:lnTo>
                      <a:pt x="960" y="2664"/>
                    </a:lnTo>
                    <a:lnTo>
                      <a:pt x="966" y="2628"/>
                    </a:lnTo>
                    <a:lnTo>
                      <a:pt x="960" y="2622"/>
                    </a:lnTo>
                    <a:lnTo>
                      <a:pt x="960" y="2616"/>
                    </a:lnTo>
                    <a:lnTo>
                      <a:pt x="954" y="2610"/>
                    </a:lnTo>
                    <a:lnTo>
                      <a:pt x="948" y="2604"/>
                    </a:lnTo>
                    <a:lnTo>
                      <a:pt x="948" y="2598"/>
                    </a:lnTo>
                    <a:lnTo>
                      <a:pt x="942" y="2592"/>
                    </a:lnTo>
                    <a:lnTo>
                      <a:pt x="936" y="2568"/>
                    </a:lnTo>
                    <a:lnTo>
                      <a:pt x="942" y="2562"/>
                    </a:lnTo>
                    <a:lnTo>
                      <a:pt x="960" y="2550"/>
                    </a:lnTo>
                    <a:lnTo>
                      <a:pt x="960" y="2544"/>
                    </a:lnTo>
                    <a:lnTo>
                      <a:pt x="960" y="2538"/>
                    </a:lnTo>
                    <a:lnTo>
                      <a:pt x="960" y="2532"/>
                    </a:lnTo>
                    <a:lnTo>
                      <a:pt x="954" y="2526"/>
                    </a:lnTo>
                    <a:lnTo>
                      <a:pt x="954" y="2520"/>
                    </a:lnTo>
                    <a:lnTo>
                      <a:pt x="954" y="2514"/>
                    </a:lnTo>
                    <a:lnTo>
                      <a:pt x="954" y="2508"/>
                    </a:lnTo>
                    <a:lnTo>
                      <a:pt x="954" y="2502"/>
                    </a:lnTo>
                    <a:lnTo>
                      <a:pt x="954" y="2496"/>
                    </a:lnTo>
                    <a:lnTo>
                      <a:pt x="948" y="2496"/>
                    </a:lnTo>
                    <a:lnTo>
                      <a:pt x="942" y="2490"/>
                    </a:lnTo>
                    <a:lnTo>
                      <a:pt x="936" y="2484"/>
                    </a:lnTo>
                    <a:lnTo>
                      <a:pt x="930" y="2484"/>
                    </a:lnTo>
                    <a:lnTo>
                      <a:pt x="924" y="2484"/>
                    </a:lnTo>
                    <a:lnTo>
                      <a:pt x="918" y="2484"/>
                    </a:lnTo>
                    <a:lnTo>
                      <a:pt x="918" y="2478"/>
                    </a:lnTo>
                    <a:lnTo>
                      <a:pt x="912" y="2478"/>
                    </a:lnTo>
                    <a:lnTo>
                      <a:pt x="912" y="2484"/>
                    </a:lnTo>
                    <a:lnTo>
                      <a:pt x="906" y="2478"/>
                    </a:lnTo>
                    <a:lnTo>
                      <a:pt x="906" y="2466"/>
                    </a:lnTo>
                    <a:lnTo>
                      <a:pt x="900" y="2466"/>
                    </a:lnTo>
                    <a:lnTo>
                      <a:pt x="900" y="2460"/>
                    </a:lnTo>
                    <a:lnTo>
                      <a:pt x="894" y="2460"/>
                    </a:lnTo>
                    <a:lnTo>
                      <a:pt x="888" y="2460"/>
                    </a:lnTo>
                    <a:lnTo>
                      <a:pt x="882" y="2460"/>
                    </a:lnTo>
                    <a:lnTo>
                      <a:pt x="888" y="2448"/>
                    </a:lnTo>
                    <a:lnTo>
                      <a:pt x="888" y="2442"/>
                    </a:lnTo>
                    <a:lnTo>
                      <a:pt x="888" y="2436"/>
                    </a:lnTo>
                    <a:lnTo>
                      <a:pt x="888" y="2430"/>
                    </a:lnTo>
                    <a:lnTo>
                      <a:pt x="888" y="2424"/>
                    </a:lnTo>
                    <a:lnTo>
                      <a:pt x="870" y="2448"/>
                    </a:lnTo>
                    <a:lnTo>
                      <a:pt x="864" y="2442"/>
                    </a:lnTo>
                    <a:lnTo>
                      <a:pt x="858" y="2442"/>
                    </a:lnTo>
                    <a:lnTo>
                      <a:pt x="852" y="2448"/>
                    </a:lnTo>
                    <a:lnTo>
                      <a:pt x="852" y="2442"/>
                    </a:lnTo>
                    <a:lnTo>
                      <a:pt x="846" y="2442"/>
                    </a:lnTo>
                    <a:lnTo>
                      <a:pt x="840" y="2436"/>
                    </a:lnTo>
                    <a:lnTo>
                      <a:pt x="834" y="2436"/>
                    </a:lnTo>
                    <a:lnTo>
                      <a:pt x="828" y="2436"/>
                    </a:lnTo>
                    <a:lnTo>
                      <a:pt x="822" y="2436"/>
                    </a:lnTo>
                    <a:lnTo>
                      <a:pt x="822" y="2430"/>
                    </a:lnTo>
                    <a:lnTo>
                      <a:pt x="822" y="2418"/>
                    </a:lnTo>
                    <a:lnTo>
                      <a:pt x="834" y="2400"/>
                    </a:lnTo>
                    <a:lnTo>
                      <a:pt x="834" y="2394"/>
                    </a:lnTo>
                    <a:lnTo>
                      <a:pt x="834" y="2388"/>
                    </a:lnTo>
                    <a:lnTo>
                      <a:pt x="834" y="2382"/>
                    </a:lnTo>
                    <a:lnTo>
                      <a:pt x="828" y="2370"/>
                    </a:lnTo>
                    <a:lnTo>
                      <a:pt x="822" y="2352"/>
                    </a:lnTo>
                    <a:lnTo>
                      <a:pt x="828" y="2352"/>
                    </a:lnTo>
                    <a:lnTo>
                      <a:pt x="822" y="2334"/>
                    </a:lnTo>
                    <a:lnTo>
                      <a:pt x="828" y="2328"/>
                    </a:lnTo>
                    <a:lnTo>
                      <a:pt x="822" y="2322"/>
                    </a:lnTo>
                    <a:lnTo>
                      <a:pt x="816" y="2322"/>
                    </a:lnTo>
                    <a:lnTo>
                      <a:pt x="822" y="2304"/>
                    </a:lnTo>
                    <a:lnTo>
                      <a:pt x="804" y="2304"/>
                    </a:lnTo>
                    <a:lnTo>
                      <a:pt x="810" y="2286"/>
                    </a:lnTo>
                    <a:lnTo>
                      <a:pt x="810" y="2262"/>
                    </a:lnTo>
                    <a:lnTo>
                      <a:pt x="792" y="2250"/>
                    </a:lnTo>
                    <a:lnTo>
                      <a:pt x="804" y="2232"/>
                    </a:lnTo>
                    <a:lnTo>
                      <a:pt x="786" y="2226"/>
                    </a:lnTo>
                    <a:lnTo>
                      <a:pt x="780" y="2208"/>
                    </a:lnTo>
                    <a:lnTo>
                      <a:pt x="780" y="2172"/>
                    </a:lnTo>
                    <a:lnTo>
                      <a:pt x="762" y="2148"/>
                    </a:lnTo>
                    <a:lnTo>
                      <a:pt x="768" y="2130"/>
                    </a:lnTo>
                    <a:lnTo>
                      <a:pt x="786" y="2112"/>
                    </a:lnTo>
                    <a:lnTo>
                      <a:pt x="756" y="2094"/>
                    </a:lnTo>
                    <a:lnTo>
                      <a:pt x="780" y="2088"/>
                    </a:lnTo>
                    <a:lnTo>
                      <a:pt x="774" y="2052"/>
                    </a:lnTo>
                    <a:lnTo>
                      <a:pt x="774" y="2040"/>
                    </a:lnTo>
                    <a:lnTo>
                      <a:pt x="744" y="2040"/>
                    </a:lnTo>
                    <a:lnTo>
                      <a:pt x="720" y="2022"/>
                    </a:lnTo>
                    <a:lnTo>
                      <a:pt x="726" y="2010"/>
                    </a:lnTo>
                    <a:lnTo>
                      <a:pt x="714" y="1992"/>
                    </a:lnTo>
                    <a:lnTo>
                      <a:pt x="684" y="1986"/>
                    </a:lnTo>
                    <a:lnTo>
                      <a:pt x="654" y="1950"/>
                    </a:lnTo>
                    <a:lnTo>
                      <a:pt x="636" y="1956"/>
                    </a:lnTo>
                    <a:lnTo>
                      <a:pt x="636" y="1974"/>
                    </a:lnTo>
                    <a:lnTo>
                      <a:pt x="642" y="1998"/>
                    </a:lnTo>
                    <a:lnTo>
                      <a:pt x="606" y="1956"/>
                    </a:lnTo>
                    <a:lnTo>
                      <a:pt x="612" y="1980"/>
                    </a:lnTo>
                    <a:lnTo>
                      <a:pt x="606" y="1998"/>
                    </a:lnTo>
                    <a:lnTo>
                      <a:pt x="600" y="2028"/>
                    </a:lnTo>
                    <a:lnTo>
                      <a:pt x="588" y="2052"/>
                    </a:lnTo>
                    <a:lnTo>
                      <a:pt x="576" y="2082"/>
                    </a:lnTo>
                    <a:lnTo>
                      <a:pt x="558" y="2082"/>
                    </a:lnTo>
                    <a:lnTo>
                      <a:pt x="552" y="2088"/>
                    </a:lnTo>
                    <a:lnTo>
                      <a:pt x="546" y="2094"/>
                    </a:lnTo>
                    <a:lnTo>
                      <a:pt x="528" y="2076"/>
                    </a:lnTo>
                    <a:lnTo>
                      <a:pt x="522" y="2076"/>
                    </a:lnTo>
                    <a:lnTo>
                      <a:pt x="516" y="2076"/>
                    </a:lnTo>
                    <a:lnTo>
                      <a:pt x="516" y="2070"/>
                    </a:lnTo>
                    <a:lnTo>
                      <a:pt x="510" y="2076"/>
                    </a:lnTo>
                    <a:lnTo>
                      <a:pt x="498" y="2076"/>
                    </a:lnTo>
                    <a:lnTo>
                      <a:pt x="498" y="2118"/>
                    </a:lnTo>
                    <a:lnTo>
                      <a:pt x="462" y="2124"/>
                    </a:lnTo>
                    <a:lnTo>
                      <a:pt x="480" y="2154"/>
                    </a:lnTo>
                    <a:lnTo>
                      <a:pt x="450" y="2178"/>
                    </a:lnTo>
                    <a:lnTo>
                      <a:pt x="456" y="2196"/>
                    </a:lnTo>
                    <a:lnTo>
                      <a:pt x="456" y="2214"/>
                    </a:lnTo>
                    <a:lnTo>
                      <a:pt x="438" y="2202"/>
                    </a:lnTo>
                    <a:lnTo>
                      <a:pt x="438" y="2196"/>
                    </a:lnTo>
                    <a:lnTo>
                      <a:pt x="432" y="2196"/>
                    </a:lnTo>
                    <a:lnTo>
                      <a:pt x="432" y="2190"/>
                    </a:lnTo>
                    <a:lnTo>
                      <a:pt x="426" y="2190"/>
                    </a:lnTo>
                    <a:lnTo>
                      <a:pt x="426" y="2184"/>
                    </a:lnTo>
                    <a:lnTo>
                      <a:pt x="426" y="2178"/>
                    </a:lnTo>
                    <a:lnTo>
                      <a:pt x="420" y="2178"/>
                    </a:lnTo>
                    <a:lnTo>
                      <a:pt x="420" y="2172"/>
                    </a:lnTo>
                    <a:lnTo>
                      <a:pt x="420" y="2166"/>
                    </a:lnTo>
                    <a:lnTo>
                      <a:pt x="414" y="2166"/>
                    </a:lnTo>
                    <a:lnTo>
                      <a:pt x="414" y="2160"/>
                    </a:lnTo>
                    <a:lnTo>
                      <a:pt x="414" y="2154"/>
                    </a:lnTo>
                    <a:lnTo>
                      <a:pt x="408" y="2154"/>
                    </a:lnTo>
                    <a:lnTo>
                      <a:pt x="408" y="2148"/>
                    </a:lnTo>
                    <a:lnTo>
                      <a:pt x="408" y="2142"/>
                    </a:lnTo>
                    <a:lnTo>
                      <a:pt x="402" y="2142"/>
                    </a:lnTo>
                    <a:lnTo>
                      <a:pt x="402" y="2136"/>
                    </a:lnTo>
                    <a:lnTo>
                      <a:pt x="402" y="2142"/>
                    </a:lnTo>
                    <a:lnTo>
                      <a:pt x="402" y="2136"/>
                    </a:lnTo>
                    <a:lnTo>
                      <a:pt x="396" y="2136"/>
                    </a:lnTo>
                    <a:lnTo>
                      <a:pt x="396" y="2130"/>
                    </a:lnTo>
                    <a:lnTo>
                      <a:pt x="390" y="2130"/>
                    </a:lnTo>
                    <a:lnTo>
                      <a:pt x="390" y="2124"/>
                    </a:lnTo>
                    <a:lnTo>
                      <a:pt x="384" y="2124"/>
                    </a:lnTo>
                    <a:lnTo>
                      <a:pt x="390" y="2124"/>
                    </a:lnTo>
                    <a:lnTo>
                      <a:pt x="384" y="2124"/>
                    </a:lnTo>
                    <a:lnTo>
                      <a:pt x="390" y="2124"/>
                    </a:lnTo>
                    <a:lnTo>
                      <a:pt x="390" y="2118"/>
                    </a:lnTo>
                    <a:lnTo>
                      <a:pt x="384" y="2118"/>
                    </a:lnTo>
                    <a:lnTo>
                      <a:pt x="384" y="2112"/>
                    </a:lnTo>
                    <a:lnTo>
                      <a:pt x="378" y="2112"/>
                    </a:lnTo>
                    <a:lnTo>
                      <a:pt x="378" y="2106"/>
                    </a:lnTo>
                    <a:lnTo>
                      <a:pt x="384" y="2106"/>
                    </a:lnTo>
                    <a:lnTo>
                      <a:pt x="384" y="2100"/>
                    </a:lnTo>
                    <a:lnTo>
                      <a:pt x="384" y="2106"/>
                    </a:lnTo>
                    <a:lnTo>
                      <a:pt x="378" y="2106"/>
                    </a:lnTo>
                    <a:lnTo>
                      <a:pt x="378" y="2100"/>
                    </a:lnTo>
                    <a:lnTo>
                      <a:pt x="372" y="2100"/>
                    </a:lnTo>
                    <a:lnTo>
                      <a:pt x="372" y="2094"/>
                    </a:lnTo>
                    <a:lnTo>
                      <a:pt x="372" y="2088"/>
                    </a:lnTo>
                    <a:lnTo>
                      <a:pt x="366" y="2088"/>
                    </a:lnTo>
                    <a:lnTo>
                      <a:pt x="366" y="2082"/>
                    </a:lnTo>
                    <a:lnTo>
                      <a:pt x="366" y="2076"/>
                    </a:lnTo>
                    <a:lnTo>
                      <a:pt x="366" y="2070"/>
                    </a:lnTo>
                    <a:lnTo>
                      <a:pt x="360" y="2070"/>
                    </a:lnTo>
                    <a:lnTo>
                      <a:pt x="360" y="2064"/>
                    </a:lnTo>
                    <a:lnTo>
                      <a:pt x="354" y="2064"/>
                    </a:lnTo>
                    <a:lnTo>
                      <a:pt x="354" y="2058"/>
                    </a:lnTo>
                    <a:lnTo>
                      <a:pt x="348" y="2058"/>
                    </a:lnTo>
                    <a:lnTo>
                      <a:pt x="348" y="2052"/>
                    </a:lnTo>
                    <a:lnTo>
                      <a:pt x="348" y="2046"/>
                    </a:lnTo>
                    <a:lnTo>
                      <a:pt x="342" y="2046"/>
                    </a:lnTo>
                    <a:lnTo>
                      <a:pt x="342" y="2040"/>
                    </a:lnTo>
                    <a:lnTo>
                      <a:pt x="336" y="2040"/>
                    </a:lnTo>
                    <a:lnTo>
                      <a:pt x="336" y="2034"/>
                    </a:lnTo>
                    <a:lnTo>
                      <a:pt x="336" y="2028"/>
                    </a:lnTo>
                    <a:lnTo>
                      <a:pt x="336" y="2022"/>
                    </a:lnTo>
                    <a:lnTo>
                      <a:pt x="330" y="2022"/>
                    </a:lnTo>
                    <a:lnTo>
                      <a:pt x="330" y="2016"/>
                    </a:lnTo>
                    <a:lnTo>
                      <a:pt x="324" y="2016"/>
                    </a:lnTo>
                    <a:lnTo>
                      <a:pt x="324" y="2010"/>
                    </a:lnTo>
                    <a:lnTo>
                      <a:pt x="324" y="2004"/>
                    </a:lnTo>
                    <a:lnTo>
                      <a:pt x="324" y="1998"/>
                    </a:lnTo>
                    <a:lnTo>
                      <a:pt x="318" y="1998"/>
                    </a:lnTo>
                    <a:lnTo>
                      <a:pt x="318" y="1992"/>
                    </a:lnTo>
                    <a:lnTo>
                      <a:pt x="312" y="1992"/>
                    </a:lnTo>
                    <a:lnTo>
                      <a:pt x="312" y="1986"/>
                    </a:lnTo>
                    <a:lnTo>
                      <a:pt x="312" y="1992"/>
                    </a:lnTo>
                    <a:lnTo>
                      <a:pt x="312" y="1986"/>
                    </a:lnTo>
                    <a:lnTo>
                      <a:pt x="306" y="1986"/>
                    </a:lnTo>
                    <a:lnTo>
                      <a:pt x="312" y="1986"/>
                    </a:lnTo>
                    <a:lnTo>
                      <a:pt x="306" y="1986"/>
                    </a:lnTo>
                    <a:lnTo>
                      <a:pt x="312" y="1986"/>
                    </a:lnTo>
                    <a:lnTo>
                      <a:pt x="312" y="1980"/>
                    </a:lnTo>
                    <a:lnTo>
                      <a:pt x="306" y="1980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6" y="1974"/>
                    </a:lnTo>
                    <a:lnTo>
                      <a:pt x="300" y="1974"/>
                    </a:lnTo>
                    <a:lnTo>
                      <a:pt x="300" y="1968"/>
                    </a:lnTo>
                    <a:lnTo>
                      <a:pt x="300" y="1962"/>
                    </a:lnTo>
                    <a:lnTo>
                      <a:pt x="294" y="1962"/>
                    </a:lnTo>
                    <a:lnTo>
                      <a:pt x="294" y="1956"/>
                    </a:lnTo>
                    <a:lnTo>
                      <a:pt x="294" y="1950"/>
                    </a:lnTo>
                    <a:lnTo>
                      <a:pt x="288" y="1950"/>
                    </a:lnTo>
                    <a:lnTo>
                      <a:pt x="288" y="1944"/>
                    </a:lnTo>
                    <a:lnTo>
                      <a:pt x="282" y="1944"/>
                    </a:lnTo>
                    <a:lnTo>
                      <a:pt x="288" y="1944"/>
                    </a:lnTo>
                    <a:lnTo>
                      <a:pt x="282" y="1944"/>
                    </a:lnTo>
                    <a:lnTo>
                      <a:pt x="282" y="1938"/>
                    </a:lnTo>
                    <a:lnTo>
                      <a:pt x="282" y="1932"/>
                    </a:lnTo>
                    <a:lnTo>
                      <a:pt x="276" y="1932"/>
                    </a:lnTo>
                    <a:lnTo>
                      <a:pt x="276" y="1926"/>
                    </a:lnTo>
                    <a:lnTo>
                      <a:pt x="282" y="1926"/>
                    </a:lnTo>
                    <a:lnTo>
                      <a:pt x="276" y="1926"/>
                    </a:lnTo>
                    <a:lnTo>
                      <a:pt x="276" y="1920"/>
                    </a:lnTo>
                    <a:lnTo>
                      <a:pt x="276" y="1914"/>
                    </a:lnTo>
                    <a:lnTo>
                      <a:pt x="276" y="1908"/>
                    </a:lnTo>
                    <a:lnTo>
                      <a:pt x="270" y="1908"/>
                    </a:lnTo>
                    <a:lnTo>
                      <a:pt x="270" y="1902"/>
                    </a:lnTo>
                    <a:lnTo>
                      <a:pt x="264" y="1902"/>
                    </a:lnTo>
                    <a:lnTo>
                      <a:pt x="270" y="1902"/>
                    </a:lnTo>
                    <a:lnTo>
                      <a:pt x="270" y="1896"/>
                    </a:lnTo>
                    <a:lnTo>
                      <a:pt x="264" y="1896"/>
                    </a:lnTo>
                    <a:lnTo>
                      <a:pt x="264" y="1890"/>
                    </a:lnTo>
                    <a:lnTo>
                      <a:pt x="264" y="1884"/>
                    </a:lnTo>
                    <a:lnTo>
                      <a:pt x="264" y="1878"/>
                    </a:lnTo>
                    <a:lnTo>
                      <a:pt x="258" y="1878"/>
                    </a:lnTo>
                    <a:lnTo>
                      <a:pt x="258" y="1872"/>
                    </a:lnTo>
                    <a:lnTo>
                      <a:pt x="252" y="1872"/>
                    </a:lnTo>
                    <a:lnTo>
                      <a:pt x="252" y="1866"/>
                    </a:lnTo>
                    <a:lnTo>
                      <a:pt x="252" y="1860"/>
                    </a:lnTo>
                    <a:lnTo>
                      <a:pt x="246" y="1860"/>
                    </a:lnTo>
                    <a:lnTo>
                      <a:pt x="246" y="1854"/>
                    </a:lnTo>
                    <a:lnTo>
                      <a:pt x="252" y="1854"/>
                    </a:lnTo>
                    <a:lnTo>
                      <a:pt x="246" y="1854"/>
                    </a:lnTo>
                    <a:lnTo>
                      <a:pt x="246" y="1848"/>
                    </a:lnTo>
                    <a:lnTo>
                      <a:pt x="246" y="1842"/>
                    </a:lnTo>
                    <a:lnTo>
                      <a:pt x="246" y="1836"/>
                    </a:lnTo>
                    <a:lnTo>
                      <a:pt x="240" y="1836"/>
                    </a:lnTo>
                    <a:lnTo>
                      <a:pt x="240" y="1830"/>
                    </a:lnTo>
                    <a:lnTo>
                      <a:pt x="240" y="1824"/>
                    </a:lnTo>
                    <a:lnTo>
                      <a:pt x="240" y="1818"/>
                    </a:lnTo>
                    <a:lnTo>
                      <a:pt x="234" y="1818"/>
                    </a:lnTo>
                    <a:lnTo>
                      <a:pt x="234" y="1812"/>
                    </a:lnTo>
                    <a:lnTo>
                      <a:pt x="234" y="1806"/>
                    </a:lnTo>
                    <a:lnTo>
                      <a:pt x="228" y="1806"/>
                    </a:lnTo>
                    <a:lnTo>
                      <a:pt x="228" y="1800"/>
                    </a:lnTo>
                    <a:lnTo>
                      <a:pt x="222" y="1800"/>
                    </a:lnTo>
                    <a:lnTo>
                      <a:pt x="222" y="1794"/>
                    </a:lnTo>
                    <a:lnTo>
                      <a:pt x="222" y="1788"/>
                    </a:lnTo>
                    <a:lnTo>
                      <a:pt x="222" y="1782"/>
                    </a:lnTo>
                    <a:lnTo>
                      <a:pt x="216" y="1782"/>
                    </a:lnTo>
                    <a:lnTo>
                      <a:pt x="216" y="1776"/>
                    </a:lnTo>
                    <a:lnTo>
                      <a:pt x="216" y="1782"/>
                    </a:lnTo>
                    <a:lnTo>
                      <a:pt x="216" y="1776"/>
                    </a:lnTo>
                    <a:lnTo>
                      <a:pt x="216" y="1770"/>
                    </a:lnTo>
                    <a:lnTo>
                      <a:pt x="210" y="1770"/>
                    </a:lnTo>
                    <a:lnTo>
                      <a:pt x="210" y="1764"/>
                    </a:lnTo>
                    <a:lnTo>
                      <a:pt x="210" y="1758"/>
                    </a:lnTo>
                    <a:lnTo>
                      <a:pt x="210" y="1752"/>
                    </a:lnTo>
                    <a:lnTo>
                      <a:pt x="204" y="1752"/>
                    </a:lnTo>
                    <a:lnTo>
                      <a:pt x="204" y="1746"/>
                    </a:lnTo>
                    <a:lnTo>
                      <a:pt x="204" y="1740"/>
                    </a:lnTo>
                    <a:lnTo>
                      <a:pt x="204" y="1734"/>
                    </a:lnTo>
                    <a:lnTo>
                      <a:pt x="204" y="1728"/>
                    </a:lnTo>
                    <a:lnTo>
                      <a:pt x="204" y="1722"/>
                    </a:lnTo>
                    <a:lnTo>
                      <a:pt x="198" y="1722"/>
                    </a:lnTo>
                    <a:lnTo>
                      <a:pt x="198" y="1716"/>
                    </a:lnTo>
                    <a:lnTo>
                      <a:pt x="198" y="1710"/>
                    </a:lnTo>
                    <a:lnTo>
                      <a:pt x="198" y="1704"/>
                    </a:lnTo>
                    <a:lnTo>
                      <a:pt x="192" y="1704"/>
                    </a:lnTo>
                    <a:lnTo>
                      <a:pt x="192" y="1698"/>
                    </a:lnTo>
                    <a:lnTo>
                      <a:pt x="192" y="1692"/>
                    </a:lnTo>
                    <a:lnTo>
                      <a:pt x="186" y="1692"/>
                    </a:lnTo>
                    <a:lnTo>
                      <a:pt x="186" y="1686"/>
                    </a:lnTo>
                    <a:lnTo>
                      <a:pt x="180" y="1686"/>
                    </a:lnTo>
                    <a:lnTo>
                      <a:pt x="180" y="1680"/>
                    </a:lnTo>
                    <a:lnTo>
                      <a:pt x="186" y="1680"/>
                    </a:lnTo>
                    <a:lnTo>
                      <a:pt x="186" y="1674"/>
                    </a:lnTo>
                    <a:lnTo>
                      <a:pt x="180" y="1674"/>
                    </a:lnTo>
                    <a:lnTo>
                      <a:pt x="180" y="1668"/>
                    </a:lnTo>
                    <a:lnTo>
                      <a:pt x="180" y="1662"/>
                    </a:lnTo>
                    <a:lnTo>
                      <a:pt x="174" y="1662"/>
                    </a:lnTo>
                    <a:lnTo>
                      <a:pt x="174" y="1656"/>
                    </a:lnTo>
                    <a:lnTo>
                      <a:pt x="180" y="1656"/>
                    </a:lnTo>
                    <a:lnTo>
                      <a:pt x="174" y="1656"/>
                    </a:lnTo>
                    <a:lnTo>
                      <a:pt x="174" y="1650"/>
                    </a:lnTo>
                    <a:lnTo>
                      <a:pt x="174" y="1644"/>
                    </a:lnTo>
                    <a:lnTo>
                      <a:pt x="174" y="1638"/>
                    </a:lnTo>
                    <a:lnTo>
                      <a:pt x="168" y="1638"/>
                    </a:lnTo>
                    <a:lnTo>
                      <a:pt x="168" y="1632"/>
                    </a:lnTo>
                    <a:lnTo>
                      <a:pt x="162" y="1632"/>
                    </a:lnTo>
                    <a:lnTo>
                      <a:pt x="162" y="1626"/>
                    </a:lnTo>
                    <a:lnTo>
                      <a:pt x="162" y="1620"/>
                    </a:lnTo>
                    <a:lnTo>
                      <a:pt x="162" y="1614"/>
                    </a:lnTo>
                    <a:lnTo>
                      <a:pt x="156" y="1614"/>
                    </a:lnTo>
                    <a:lnTo>
                      <a:pt x="156" y="1608"/>
                    </a:lnTo>
                    <a:lnTo>
                      <a:pt x="150" y="1608"/>
                    </a:lnTo>
                    <a:lnTo>
                      <a:pt x="150" y="1602"/>
                    </a:lnTo>
                    <a:lnTo>
                      <a:pt x="144" y="1602"/>
                    </a:lnTo>
                    <a:lnTo>
                      <a:pt x="144" y="1596"/>
                    </a:lnTo>
                    <a:lnTo>
                      <a:pt x="144" y="1590"/>
                    </a:lnTo>
                    <a:lnTo>
                      <a:pt x="138" y="1590"/>
                    </a:lnTo>
                    <a:lnTo>
                      <a:pt x="138" y="1584"/>
                    </a:lnTo>
                    <a:lnTo>
                      <a:pt x="138" y="1590"/>
                    </a:lnTo>
                    <a:lnTo>
                      <a:pt x="144" y="1590"/>
                    </a:lnTo>
                    <a:lnTo>
                      <a:pt x="138" y="1590"/>
                    </a:lnTo>
                    <a:lnTo>
                      <a:pt x="138" y="1584"/>
                    </a:lnTo>
                    <a:lnTo>
                      <a:pt x="132" y="1584"/>
                    </a:lnTo>
                    <a:lnTo>
                      <a:pt x="132" y="1578"/>
                    </a:lnTo>
                    <a:lnTo>
                      <a:pt x="138" y="1578"/>
                    </a:lnTo>
                    <a:lnTo>
                      <a:pt x="138" y="1584"/>
                    </a:lnTo>
                    <a:lnTo>
                      <a:pt x="138" y="1578"/>
                    </a:lnTo>
                    <a:lnTo>
                      <a:pt x="132" y="1578"/>
                    </a:lnTo>
                    <a:lnTo>
                      <a:pt x="132" y="1572"/>
                    </a:lnTo>
                    <a:lnTo>
                      <a:pt x="132" y="1578"/>
                    </a:lnTo>
                    <a:lnTo>
                      <a:pt x="132" y="1572"/>
                    </a:lnTo>
                    <a:lnTo>
                      <a:pt x="132" y="1566"/>
                    </a:lnTo>
                    <a:lnTo>
                      <a:pt x="126" y="1566"/>
                    </a:lnTo>
                    <a:lnTo>
                      <a:pt x="126" y="1560"/>
                    </a:lnTo>
                    <a:lnTo>
                      <a:pt x="126" y="1554"/>
                    </a:lnTo>
                    <a:lnTo>
                      <a:pt x="126" y="1548"/>
                    </a:lnTo>
                    <a:lnTo>
                      <a:pt x="126" y="1542"/>
                    </a:lnTo>
                    <a:lnTo>
                      <a:pt x="120" y="1542"/>
                    </a:lnTo>
                    <a:lnTo>
                      <a:pt x="120" y="1536"/>
                    </a:lnTo>
                    <a:lnTo>
                      <a:pt x="120" y="1530"/>
                    </a:lnTo>
                    <a:lnTo>
                      <a:pt x="120" y="1524"/>
                    </a:lnTo>
                    <a:lnTo>
                      <a:pt x="114" y="1524"/>
                    </a:lnTo>
                    <a:lnTo>
                      <a:pt x="114" y="1518"/>
                    </a:lnTo>
                    <a:lnTo>
                      <a:pt x="108" y="1518"/>
                    </a:lnTo>
                    <a:lnTo>
                      <a:pt x="108" y="1512"/>
                    </a:lnTo>
                    <a:lnTo>
                      <a:pt x="108" y="1518"/>
                    </a:lnTo>
                    <a:lnTo>
                      <a:pt x="108" y="1512"/>
                    </a:lnTo>
                    <a:lnTo>
                      <a:pt x="102" y="1512"/>
                    </a:lnTo>
                    <a:lnTo>
                      <a:pt x="96" y="1512"/>
                    </a:lnTo>
                    <a:lnTo>
                      <a:pt x="96" y="1506"/>
                    </a:lnTo>
                    <a:lnTo>
                      <a:pt x="96" y="1512"/>
                    </a:lnTo>
                    <a:lnTo>
                      <a:pt x="96" y="1506"/>
                    </a:lnTo>
                    <a:lnTo>
                      <a:pt x="90" y="1506"/>
                    </a:lnTo>
                    <a:lnTo>
                      <a:pt x="90" y="1500"/>
                    </a:lnTo>
                    <a:lnTo>
                      <a:pt x="90" y="1494"/>
                    </a:lnTo>
                    <a:lnTo>
                      <a:pt x="84" y="1494"/>
                    </a:lnTo>
                    <a:lnTo>
                      <a:pt x="90" y="1494"/>
                    </a:lnTo>
                    <a:lnTo>
                      <a:pt x="84" y="1494"/>
                    </a:lnTo>
                    <a:lnTo>
                      <a:pt x="90" y="1494"/>
                    </a:lnTo>
                    <a:lnTo>
                      <a:pt x="90" y="1488"/>
                    </a:lnTo>
                    <a:lnTo>
                      <a:pt x="84" y="1488"/>
                    </a:lnTo>
                    <a:lnTo>
                      <a:pt x="84" y="1482"/>
                    </a:lnTo>
                    <a:lnTo>
                      <a:pt x="78" y="1482"/>
                    </a:lnTo>
                    <a:lnTo>
                      <a:pt x="78" y="1476"/>
                    </a:lnTo>
                    <a:lnTo>
                      <a:pt x="78" y="1470"/>
                    </a:lnTo>
                    <a:lnTo>
                      <a:pt x="72" y="1470"/>
                    </a:lnTo>
                    <a:lnTo>
                      <a:pt x="72" y="1464"/>
                    </a:lnTo>
                    <a:lnTo>
                      <a:pt x="66" y="1464"/>
                    </a:lnTo>
                    <a:lnTo>
                      <a:pt x="60" y="1464"/>
                    </a:lnTo>
                    <a:lnTo>
                      <a:pt x="60" y="1458"/>
                    </a:lnTo>
                    <a:lnTo>
                      <a:pt x="54" y="1458"/>
                    </a:lnTo>
                    <a:lnTo>
                      <a:pt x="48" y="1458"/>
                    </a:lnTo>
                    <a:lnTo>
                      <a:pt x="48" y="1452"/>
                    </a:lnTo>
                    <a:lnTo>
                      <a:pt x="48" y="1446"/>
                    </a:lnTo>
                    <a:lnTo>
                      <a:pt x="48" y="1440"/>
                    </a:lnTo>
                    <a:lnTo>
                      <a:pt x="42" y="1440"/>
                    </a:lnTo>
                    <a:lnTo>
                      <a:pt x="42" y="1434"/>
                    </a:lnTo>
                    <a:lnTo>
                      <a:pt x="42" y="1428"/>
                    </a:lnTo>
                    <a:lnTo>
                      <a:pt x="36" y="1428"/>
                    </a:lnTo>
                    <a:lnTo>
                      <a:pt x="36" y="1422"/>
                    </a:lnTo>
                    <a:lnTo>
                      <a:pt x="42" y="1422"/>
                    </a:lnTo>
                    <a:lnTo>
                      <a:pt x="36" y="1422"/>
                    </a:lnTo>
                    <a:lnTo>
                      <a:pt x="42" y="1422"/>
                    </a:lnTo>
                    <a:lnTo>
                      <a:pt x="36" y="1422"/>
                    </a:lnTo>
                    <a:lnTo>
                      <a:pt x="36" y="1416"/>
                    </a:lnTo>
                    <a:lnTo>
                      <a:pt x="36" y="1422"/>
                    </a:lnTo>
                    <a:lnTo>
                      <a:pt x="36" y="1416"/>
                    </a:lnTo>
                    <a:lnTo>
                      <a:pt x="36" y="1410"/>
                    </a:lnTo>
                    <a:lnTo>
                      <a:pt x="36" y="1404"/>
                    </a:lnTo>
                    <a:lnTo>
                      <a:pt x="30" y="1404"/>
                    </a:lnTo>
                    <a:lnTo>
                      <a:pt x="30" y="1398"/>
                    </a:lnTo>
                    <a:lnTo>
                      <a:pt x="24" y="1398"/>
                    </a:lnTo>
                    <a:lnTo>
                      <a:pt x="24" y="1392"/>
                    </a:lnTo>
                    <a:lnTo>
                      <a:pt x="18" y="1392"/>
                    </a:lnTo>
                    <a:lnTo>
                      <a:pt x="18" y="1386"/>
                    </a:lnTo>
                    <a:lnTo>
                      <a:pt x="12" y="1386"/>
                    </a:lnTo>
                    <a:lnTo>
                      <a:pt x="12" y="1380"/>
                    </a:lnTo>
                    <a:lnTo>
                      <a:pt x="6" y="1380"/>
                    </a:lnTo>
                    <a:lnTo>
                      <a:pt x="0" y="1380"/>
                    </a:lnTo>
                    <a:lnTo>
                      <a:pt x="6" y="1368"/>
                    </a:lnTo>
                    <a:lnTo>
                      <a:pt x="6" y="1362"/>
                    </a:lnTo>
                    <a:lnTo>
                      <a:pt x="6" y="1356"/>
                    </a:lnTo>
                    <a:lnTo>
                      <a:pt x="6" y="1350"/>
                    </a:lnTo>
                    <a:lnTo>
                      <a:pt x="18" y="1350"/>
                    </a:lnTo>
                    <a:lnTo>
                      <a:pt x="24" y="1350"/>
                    </a:lnTo>
                    <a:lnTo>
                      <a:pt x="30" y="1350"/>
                    </a:lnTo>
                    <a:lnTo>
                      <a:pt x="36" y="1344"/>
                    </a:lnTo>
                    <a:lnTo>
                      <a:pt x="42" y="1338"/>
                    </a:lnTo>
                    <a:lnTo>
                      <a:pt x="42" y="1332"/>
                    </a:lnTo>
                    <a:lnTo>
                      <a:pt x="48" y="1326"/>
                    </a:lnTo>
                    <a:lnTo>
                      <a:pt x="54" y="1320"/>
                    </a:lnTo>
                    <a:lnTo>
                      <a:pt x="60" y="1320"/>
                    </a:lnTo>
                    <a:lnTo>
                      <a:pt x="66" y="1320"/>
                    </a:lnTo>
                    <a:lnTo>
                      <a:pt x="66" y="1326"/>
                    </a:lnTo>
                    <a:lnTo>
                      <a:pt x="72" y="1326"/>
                    </a:lnTo>
                    <a:lnTo>
                      <a:pt x="78" y="1326"/>
                    </a:lnTo>
                    <a:lnTo>
                      <a:pt x="78" y="1320"/>
                    </a:lnTo>
                    <a:lnTo>
                      <a:pt x="84" y="1314"/>
                    </a:lnTo>
                    <a:lnTo>
                      <a:pt x="84" y="1308"/>
                    </a:lnTo>
                    <a:lnTo>
                      <a:pt x="90" y="1308"/>
                    </a:lnTo>
                    <a:lnTo>
                      <a:pt x="90" y="1302"/>
                    </a:lnTo>
                    <a:lnTo>
                      <a:pt x="84" y="1296"/>
                    </a:lnTo>
                    <a:lnTo>
                      <a:pt x="84" y="1290"/>
                    </a:lnTo>
                    <a:lnTo>
                      <a:pt x="90" y="1290"/>
                    </a:lnTo>
                    <a:lnTo>
                      <a:pt x="90" y="1284"/>
                    </a:lnTo>
                    <a:lnTo>
                      <a:pt x="96" y="1278"/>
                    </a:lnTo>
                    <a:lnTo>
                      <a:pt x="102" y="1278"/>
                    </a:lnTo>
                    <a:lnTo>
                      <a:pt x="96" y="1272"/>
                    </a:lnTo>
                    <a:lnTo>
                      <a:pt x="90" y="1272"/>
                    </a:lnTo>
                    <a:lnTo>
                      <a:pt x="90" y="1266"/>
                    </a:lnTo>
                    <a:lnTo>
                      <a:pt x="84" y="1260"/>
                    </a:lnTo>
                    <a:lnTo>
                      <a:pt x="78" y="1254"/>
                    </a:lnTo>
                    <a:lnTo>
                      <a:pt x="78" y="1248"/>
                    </a:lnTo>
                    <a:lnTo>
                      <a:pt x="84" y="1242"/>
                    </a:lnTo>
                    <a:lnTo>
                      <a:pt x="90" y="1248"/>
                    </a:lnTo>
                    <a:lnTo>
                      <a:pt x="96" y="1248"/>
                    </a:lnTo>
                    <a:lnTo>
                      <a:pt x="102" y="1248"/>
                    </a:lnTo>
                    <a:lnTo>
                      <a:pt x="102" y="1242"/>
                    </a:lnTo>
                    <a:lnTo>
                      <a:pt x="102" y="1236"/>
                    </a:lnTo>
                    <a:lnTo>
                      <a:pt x="96" y="1236"/>
                    </a:lnTo>
                    <a:lnTo>
                      <a:pt x="96" y="1230"/>
                    </a:lnTo>
                    <a:lnTo>
                      <a:pt x="102" y="1230"/>
                    </a:lnTo>
                    <a:lnTo>
                      <a:pt x="108" y="1224"/>
                    </a:lnTo>
                    <a:lnTo>
                      <a:pt x="108" y="1218"/>
                    </a:lnTo>
                    <a:lnTo>
                      <a:pt x="102" y="1218"/>
                    </a:lnTo>
                    <a:lnTo>
                      <a:pt x="102" y="1212"/>
                    </a:lnTo>
                    <a:lnTo>
                      <a:pt x="108" y="1212"/>
                    </a:lnTo>
                    <a:lnTo>
                      <a:pt x="114" y="1212"/>
                    </a:lnTo>
                    <a:lnTo>
                      <a:pt x="120" y="1212"/>
                    </a:lnTo>
                    <a:lnTo>
                      <a:pt x="114" y="1206"/>
                    </a:lnTo>
                    <a:lnTo>
                      <a:pt x="120" y="1200"/>
                    </a:lnTo>
                    <a:lnTo>
                      <a:pt x="114" y="1188"/>
                    </a:lnTo>
                    <a:lnTo>
                      <a:pt x="114" y="1182"/>
                    </a:lnTo>
                    <a:lnTo>
                      <a:pt x="120" y="1182"/>
                    </a:lnTo>
                    <a:lnTo>
                      <a:pt x="120" y="1176"/>
                    </a:lnTo>
                    <a:lnTo>
                      <a:pt x="126" y="1176"/>
                    </a:lnTo>
                    <a:lnTo>
                      <a:pt x="132" y="1176"/>
                    </a:lnTo>
                    <a:lnTo>
                      <a:pt x="138" y="1176"/>
                    </a:lnTo>
                    <a:lnTo>
                      <a:pt x="138" y="1170"/>
                    </a:lnTo>
                    <a:lnTo>
                      <a:pt x="144" y="1176"/>
                    </a:lnTo>
                    <a:lnTo>
                      <a:pt x="150" y="1176"/>
                    </a:lnTo>
                    <a:lnTo>
                      <a:pt x="156" y="1170"/>
                    </a:lnTo>
                    <a:lnTo>
                      <a:pt x="168" y="1164"/>
                    </a:lnTo>
                    <a:lnTo>
                      <a:pt x="174" y="1164"/>
                    </a:lnTo>
                    <a:lnTo>
                      <a:pt x="180" y="1164"/>
                    </a:lnTo>
                    <a:lnTo>
                      <a:pt x="180" y="1170"/>
                    </a:lnTo>
                    <a:lnTo>
                      <a:pt x="186" y="1170"/>
                    </a:lnTo>
                    <a:lnTo>
                      <a:pt x="186" y="1176"/>
                    </a:lnTo>
                    <a:lnTo>
                      <a:pt x="192" y="1182"/>
                    </a:lnTo>
                    <a:lnTo>
                      <a:pt x="198" y="1182"/>
                    </a:lnTo>
                    <a:lnTo>
                      <a:pt x="204" y="1182"/>
                    </a:lnTo>
                    <a:lnTo>
                      <a:pt x="204" y="1188"/>
                    </a:lnTo>
                    <a:lnTo>
                      <a:pt x="210" y="1188"/>
                    </a:lnTo>
                    <a:lnTo>
                      <a:pt x="210" y="1194"/>
                    </a:lnTo>
                    <a:lnTo>
                      <a:pt x="204" y="1206"/>
                    </a:lnTo>
                    <a:lnTo>
                      <a:pt x="204" y="1218"/>
                    </a:lnTo>
                    <a:lnTo>
                      <a:pt x="210" y="1224"/>
                    </a:lnTo>
                    <a:lnTo>
                      <a:pt x="216" y="1230"/>
                    </a:lnTo>
                    <a:lnTo>
                      <a:pt x="222" y="1230"/>
                    </a:lnTo>
                    <a:lnTo>
                      <a:pt x="228" y="1230"/>
                    </a:lnTo>
                    <a:lnTo>
                      <a:pt x="228" y="1224"/>
                    </a:lnTo>
                    <a:lnTo>
                      <a:pt x="228" y="1230"/>
                    </a:lnTo>
                    <a:lnTo>
                      <a:pt x="234" y="1230"/>
                    </a:lnTo>
                    <a:lnTo>
                      <a:pt x="240" y="1224"/>
                    </a:lnTo>
                    <a:lnTo>
                      <a:pt x="246" y="1218"/>
                    </a:lnTo>
                    <a:lnTo>
                      <a:pt x="252" y="1224"/>
                    </a:lnTo>
                    <a:lnTo>
                      <a:pt x="258" y="1224"/>
                    </a:lnTo>
                    <a:lnTo>
                      <a:pt x="258" y="1230"/>
                    </a:lnTo>
                    <a:lnTo>
                      <a:pt x="258" y="1236"/>
                    </a:lnTo>
                    <a:lnTo>
                      <a:pt x="264" y="1242"/>
                    </a:lnTo>
                    <a:lnTo>
                      <a:pt x="264" y="1248"/>
                    </a:lnTo>
                    <a:lnTo>
                      <a:pt x="264" y="1254"/>
                    </a:lnTo>
                    <a:lnTo>
                      <a:pt x="270" y="1254"/>
                    </a:lnTo>
                    <a:lnTo>
                      <a:pt x="270" y="1260"/>
                    </a:lnTo>
                    <a:lnTo>
                      <a:pt x="276" y="1260"/>
                    </a:lnTo>
                    <a:lnTo>
                      <a:pt x="276" y="1266"/>
                    </a:lnTo>
                    <a:lnTo>
                      <a:pt x="276" y="1272"/>
                    </a:lnTo>
                    <a:lnTo>
                      <a:pt x="276" y="1284"/>
                    </a:lnTo>
                    <a:lnTo>
                      <a:pt x="270" y="1290"/>
                    </a:lnTo>
                    <a:lnTo>
                      <a:pt x="264" y="1290"/>
                    </a:lnTo>
                    <a:lnTo>
                      <a:pt x="258" y="1296"/>
                    </a:lnTo>
                    <a:lnTo>
                      <a:pt x="258" y="1302"/>
                    </a:lnTo>
                    <a:lnTo>
                      <a:pt x="258" y="1308"/>
                    </a:lnTo>
                    <a:lnTo>
                      <a:pt x="258" y="1314"/>
                    </a:lnTo>
                    <a:lnTo>
                      <a:pt x="264" y="1314"/>
                    </a:lnTo>
                    <a:lnTo>
                      <a:pt x="270" y="1320"/>
                    </a:lnTo>
                    <a:lnTo>
                      <a:pt x="270" y="1326"/>
                    </a:lnTo>
                    <a:lnTo>
                      <a:pt x="270" y="1332"/>
                    </a:lnTo>
                    <a:lnTo>
                      <a:pt x="270" y="1338"/>
                    </a:lnTo>
                    <a:lnTo>
                      <a:pt x="276" y="1338"/>
                    </a:lnTo>
                    <a:lnTo>
                      <a:pt x="282" y="1338"/>
                    </a:lnTo>
                    <a:lnTo>
                      <a:pt x="288" y="1338"/>
                    </a:lnTo>
                    <a:lnTo>
                      <a:pt x="288" y="1344"/>
                    </a:lnTo>
                    <a:lnTo>
                      <a:pt x="288" y="1350"/>
                    </a:lnTo>
                    <a:lnTo>
                      <a:pt x="288" y="1356"/>
                    </a:lnTo>
                    <a:lnTo>
                      <a:pt x="288" y="1368"/>
                    </a:lnTo>
                    <a:lnTo>
                      <a:pt x="282" y="1374"/>
                    </a:lnTo>
                    <a:lnTo>
                      <a:pt x="282" y="1380"/>
                    </a:lnTo>
                    <a:lnTo>
                      <a:pt x="282" y="1386"/>
                    </a:lnTo>
                    <a:lnTo>
                      <a:pt x="288" y="1386"/>
                    </a:lnTo>
                    <a:lnTo>
                      <a:pt x="294" y="1386"/>
                    </a:lnTo>
                    <a:lnTo>
                      <a:pt x="300" y="1386"/>
                    </a:lnTo>
                    <a:lnTo>
                      <a:pt x="306" y="1380"/>
                    </a:lnTo>
                    <a:lnTo>
                      <a:pt x="306" y="1374"/>
                    </a:lnTo>
                    <a:lnTo>
                      <a:pt x="312" y="1380"/>
                    </a:lnTo>
                    <a:lnTo>
                      <a:pt x="324" y="1380"/>
                    </a:lnTo>
                    <a:lnTo>
                      <a:pt x="330" y="1374"/>
                    </a:lnTo>
                    <a:lnTo>
                      <a:pt x="336" y="1374"/>
                    </a:lnTo>
                    <a:lnTo>
                      <a:pt x="342" y="1380"/>
                    </a:lnTo>
                    <a:lnTo>
                      <a:pt x="342" y="1392"/>
                    </a:lnTo>
                    <a:lnTo>
                      <a:pt x="342" y="1398"/>
                    </a:lnTo>
                    <a:lnTo>
                      <a:pt x="348" y="1398"/>
                    </a:lnTo>
                    <a:lnTo>
                      <a:pt x="354" y="1398"/>
                    </a:lnTo>
                    <a:lnTo>
                      <a:pt x="360" y="1398"/>
                    </a:lnTo>
                    <a:lnTo>
                      <a:pt x="366" y="1398"/>
                    </a:lnTo>
                    <a:lnTo>
                      <a:pt x="372" y="1392"/>
                    </a:lnTo>
                    <a:lnTo>
                      <a:pt x="378" y="1398"/>
                    </a:lnTo>
                    <a:lnTo>
                      <a:pt x="384" y="1392"/>
                    </a:lnTo>
                    <a:lnTo>
                      <a:pt x="390" y="1392"/>
                    </a:lnTo>
                    <a:lnTo>
                      <a:pt x="390" y="1398"/>
                    </a:lnTo>
                    <a:lnTo>
                      <a:pt x="396" y="1398"/>
                    </a:lnTo>
                    <a:lnTo>
                      <a:pt x="396" y="1392"/>
                    </a:lnTo>
                    <a:lnTo>
                      <a:pt x="408" y="1392"/>
                    </a:lnTo>
                    <a:lnTo>
                      <a:pt x="414" y="1392"/>
                    </a:lnTo>
                    <a:lnTo>
                      <a:pt x="420" y="1392"/>
                    </a:lnTo>
                    <a:lnTo>
                      <a:pt x="426" y="1398"/>
                    </a:lnTo>
                    <a:lnTo>
                      <a:pt x="426" y="1392"/>
                    </a:lnTo>
                    <a:lnTo>
                      <a:pt x="432" y="1398"/>
                    </a:lnTo>
                    <a:lnTo>
                      <a:pt x="432" y="1392"/>
                    </a:lnTo>
                    <a:lnTo>
                      <a:pt x="438" y="1392"/>
                    </a:lnTo>
                    <a:lnTo>
                      <a:pt x="438" y="1398"/>
                    </a:lnTo>
                    <a:lnTo>
                      <a:pt x="444" y="1404"/>
                    </a:lnTo>
                    <a:lnTo>
                      <a:pt x="450" y="1398"/>
                    </a:lnTo>
                    <a:lnTo>
                      <a:pt x="450" y="1404"/>
                    </a:lnTo>
                    <a:lnTo>
                      <a:pt x="456" y="1410"/>
                    </a:lnTo>
                    <a:lnTo>
                      <a:pt x="462" y="1410"/>
                    </a:lnTo>
                    <a:lnTo>
                      <a:pt x="468" y="1416"/>
                    </a:lnTo>
                    <a:lnTo>
                      <a:pt x="468" y="1422"/>
                    </a:lnTo>
                    <a:lnTo>
                      <a:pt x="474" y="1428"/>
                    </a:lnTo>
                    <a:lnTo>
                      <a:pt x="480" y="1428"/>
                    </a:lnTo>
                    <a:lnTo>
                      <a:pt x="486" y="1428"/>
                    </a:lnTo>
                    <a:lnTo>
                      <a:pt x="498" y="1434"/>
                    </a:lnTo>
                    <a:lnTo>
                      <a:pt x="504" y="1434"/>
                    </a:lnTo>
                    <a:lnTo>
                      <a:pt x="510" y="1434"/>
                    </a:lnTo>
                    <a:lnTo>
                      <a:pt x="516" y="1434"/>
                    </a:lnTo>
                    <a:lnTo>
                      <a:pt x="516" y="1440"/>
                    </a:lnTo>
                    <a:lnTo>
                      <a:pt x="522" y="1440"/>
                    </a:lnTo>
                    <a:lnTo>
                      <a:pt x="528" y="1434"/>
                    </a:lnTo>
                    <a:lnTo>
                      <a:pt x="534" y="1434"/>
                    </a:lnTo>
                    <a:lnTo>
                      <a:pt x="540" y="1434"/>
                    </a:lnTo>
                    <a:lnTo>
                      <a:pt x="540" y="1428"/>
                    </a:lnTo>
                    <a:lnTo>
                      <a:pt x="546" y="1428"/>
                    </a:lnTo>
                    <a:lnTo>
                      <a:pt x="558" y="1428"/>
                    </a:lnTo>
                    <a:lnTo>
                      <a:pt x="564" y="1428"/>
                    </a:lnTo>
                    <a:lnTo>
                      <a:pt x="570" y="1428"/>
                    </a:lnTo>
                    <a:lnTo>
                      <a:pt x="576" y="1428"/>
                    </a:lnTo>
                    <a:lnTo>
                      <a:pt x="588" y="1434"/>
                    </a:lnTo>
                    <a:lnTo>
                      <a:pt x="594" y="1428"/>
                    </a:lnTo>
                    <a:lnTo>
                      <a:pt x="600" y="1428"/>
                    </a:lnTo>
                    <a:lnTo>
                      <a:pt x="606" y="1428"/>
                    </a:lnTo>
                    <a:lnTo>
                      <a:pt x="612" y="1428"/>
                    </a:lnTo>
                    <a:lnTo>
                      <a:pt x="618" y="1422"/>
                    </a:lnTo>
                    <a:lnTo>
                      <a:pt x="624" y="1422"/>
                    </a:lnTo>
                    <a:lnTo>
                      <a:pt x="624" y="1416"/>
                    </a:lnTo>
                    <a:lnTo>
                      <a:pt x="630" y="1416"/>
                    </a:lnTo>
                    <a:lnTo>
                      <a:pt x="636" y="1416"/>
                    </a:lnTo>
                    <a:lnTo>
                      <a:pt x="648" y="1410"/>
                    </a:lnTo>
                    <a:lnTo>
                      <a:pt x="654" y="1410"/>
                    </a:lnTo>
                    <a:lnTo>
                      <a:pt x="660" y="1410"/>
                    </a:lnTo>
                    <a:lnTo>
                      <a:pt x="672" y="1410"/>
                    </a:lnTo>
                    <a:lnTo>
                      <a:pt x="678" y="1404"/>
                    </a:lnTo>
                    <a:lnTo>
                      <a:pt x="684" y="1404"/>
                    </a:lnTo>
                    <a:lnTo>
                      <a:pt x="690" y="1410"/>
                    </a:lnTo>
                    <a:lnTo>
                      <a:pt x="696" y="1410"/>
                    </a:lnTo>
                    <a:lnTo>
                      <a:pt x="702" y="1404"/>
                    </a:lnTo>
                    <a:lnTo>
                      <a:pt x="708" y="1404"/>
                    </a:lnTo>
                    <a:lnTo>
                      <a:pt x="714" y="1410"/>
                    </a:lnTo>
                    <a:lnTo>
                      <a:pt x="720" y="1404"/>
                    </a:lnTo>
                    <a:lnTo>
                      <a:pt x="720" y="1410"/>
                    </a:lnTo>
                    <a:lnTo>
                      <a:pt x="726" y="1410"/>
                    </a:lnTo>
                    <a:lnTo>
                      <a:pt x="732" y="1410"/>
                    </a:lnTo>
                    <a:lnTo>
                      <a:pt x="738" y="1410"/>
                    </a:lnTo>
                    <a:lnTo>
                      <a:pt x="744" y="1410"/>
                    </a:lnTo>
                    <a:lnTo>
                      <a:pt x="750" y="1410"/>
                    </a:lnTo>
                    <a:lnTo>
                      <a:pt x="750" y="1416"/>
                    </a:lnTo>
                    <a:lnTo>
                      <a:pt x="756" y="1416"/>
                    </a:lnTo>
                    <a:lnTo>
                      <a:pt x="756" y="1422"/>
                    </a:lnTo>
                    <a:lnTo>
                      <a:pt x="762" y="1428"/>
                    </a:lnTo>
                    <a:lnTo>
                      <a:pt x="762" y="1434"/>
                    </a:lnTo>
                    <a:lnTo>
                      <a:pt x="768" y="1434"/>
                    </a:lnTo>
                    <a:lnTo>
                      <a:pt x="774" y="1434"/>
                    </a:lnTo>
                    <a:lnTo>
                      <a:pt x="780" y="1440"/>
                    </a:lnTo>
                    <a:lnTo>
                      <a:pt x="786" y="1440"/>
                    </a:lnTo>
                    <a:lnTo>
                      <a:pt x="792" y="1446"/>
                    </a:lnTo>
                    <a:lnTo>
                      <a:pt x="798" y="1446"/>
                    </a:lnTo>
                    <a:lnTo>
                      <a:pt x="798" y="1440"/>
                    </a:lnTo>
                    <a:lnTo>
                      <a:pt x="804" y="1440"/>
                    </a:lnTo>
                    <a:lnTo>
                      <a:pt x="810" y="1440"/>
                    </a:lnTo>
                    <a:lnTo>
                      <a:pt x="822" y="1434"/>
                    </a:lnTo>
                    <a:lnTo>
                      <a:pt x="822" y="1428"/>
                    </a:lnTo>
                    <a:lnTo>
                      <a:pt x="828" y="1428"/>
                    </a:lnTo>
                    <a:lnTo>
                      <a:pt x="828" y="1422"/>
                    </a:lnTo>
                    <a:lnTo>
                      <a:pt x="834" y="1422"/>
                    </a:lnTo>
                    <a:lnTo>
                      <a:pt x="840" y="1422"/>
                    </a:lnTo>
                    <a:lnTo>
                      <a:pt x="846" y="1422"/>
                    </a:lnTo>
                    <a:lnTo>
                      <a:pt x="846" y="1416"/>
                    </a:lnTo>
                    <a:lnTo>
                      <a:pt x="846" y="1410"/>
                    </a:lnTo>
                    <a:lnTo>
                      <a:pt x="840" y="1410"/>
                    </a:lnTo>
                    <a:lnTo>
                      <a:pt x="840" y="1404"/>
                    </a:lnTo>
                    <a:lnTo>
                      <a:pt x="834" y="1404"/>
                    </a:lnTo>
                    <a:lnTo>
                      <a:pt x="828" y="1392"/>
                    </a:lnTo>
                    <a:lnTo>
                      <a:pt x="828" y="1386"/>
                    </a:lnTo>
                    <a:lnTo>
                      <a:pt x="834" y="1374"/>
                    </a:lnTo>
                    <a:lnTo>
                      <a:pt x="834" y="1368"/>
                    </a:lnTo>
                    <a:lnTo>
                      <a:pt x="840" y="1362"/>
                    </a:lnTo>
                    <a:lnTo>
                      <a:pt x="846" y="1362"/>
                    </a:lnTo>
                    <a:lnTo>
                      <a:pt x="852" y="1362"/>
                    </a:lnTo>
                    <a:lnTo>
                      <a:pt x="858" y="1362"/>
                    </a:lnTo>
                    <a:lnTo>
                      <a:pt x="864" y="1362"/>
                    </a:lnTo>
                    <a:lnTo>
                      <a:pt x="870" y="1362"/>
                    </a:lnTo>
                    <a:lnTo>
                      <a:pt x="876" y="1362"/>
                    </a:lnTo>
                    <a:lnTo>
                      <a:pt x="882" y="1356"/>
                    </a:lnTo>
                    <a:lnTo>
                      <a:pt x="888" y="1356"/>
                    </a:lnTo>
                    <a:lnTo>
                      <a:pt x="894" y="1350"/>
                    </a:lnTo>
                    <a:lnTo>
                      <a:pt x="900" y="1344"/>
                    </a:lnTo>
                    <a:lnTo>
                      <a:pt x="900" y="1338"/>
                    </a:lnTo>
                    <a:lnTo>
                      <a:pt x="900" y="1332"/>
                    </a:lnTo>
                    <a:lnTo>
                      <a:pt x="906" y="1326"/>
                    </a:lnTo>
                    <a:lnTo>
                      <a:pt x="906" y="1314"/>
                    </a:lnTo>
                    <a:lnTo>
                      <a:pt x="906" y="1308"/>
                    </a:lnTo>
                    <a:lnTo>
                      <a:pt x="918" y="1302"/>
                    </a:lnTo>
                    <a:lnTo>
                      <a:pt x="918" y="1296"/>
                    </a:lnTo>
                    <a:lnTo>
                      <a:pt x="918" y="1290"/>
                    </a:lnTo>
                    <a:lnTo>
                      <a:pt x="924" y="1284"/>
                    </a:lnTo>
                    <a:lnTo>
                      <a:pt x="936" y="1284"/>
                    </a:lnTo>
                    <a:lnTo>
                      <a:pt x="942" y="1284"/>
                    </a:lnTo>
                    <a:lnTo>
                      <a:pt x="948" y="1284"/>
                    </a:lnTo>
                    <a:lnTo>
                      <a:pt x="954" y="1290"/>
                    </a:lnTo>
                    <a:lnTo>
                      <a:pt x="954" y="1284"/>
                    </a:lnTo>
                    <a:lnTo>
                      <a:pt x="960" y="1284"/>
                    </a:lnTo>
                    <a:lnTo>
                      <a:pt x="960" y="1278"/>
                    </a:lnTo>
                    <a:lnTo>
                      <a:pt x="972" y="1272"/>
                    </a:lnTo>
                    <a:lnTo>
                      <a:pt x="978" y="1272"/>
                    </a:lnTo>
                    <a:lnTo>
                      <a:pt x="984" y="1278"/>
                    </a:lnTo>
                    <a:lnTo>
                      <a:pt x="990" y="1278"/>
                    </a:lnTo>
                    <a:lnTo>
                      <a:pt x="996" y="1278"/>
                    </a:lnTo>
                    <a:lnTo>
                      <a:pt x="996" y="1272"/>
                    </a:lnTo>
                    <a:lnTo>
                      <a:pt x="1002" y="1266"/>
                    </a:lnTo>
                    <a:lnTo>
                      <a:pt x="1002" y="1260"/>
                    </a:lnTo>
                    <a:lnTo>
                      <a:pt x="1008" y="1260"/>
                    </a:lnTo>
                    <a:lnTo>
                      <a:pt x="1014" y="1254"/>
                    </a:lnTo>
                    <a:lnTo>
                      <a:pt x="1020" y="1254"/>
                    </a:lnTo>
                    <a:lnTo>
                      <a:pt x="1026" y="1254"/>
                    </a:lnTo>
                    <a:lnTo>
                      <a:pt x="1032" y="1254"/>
                    </a:lnTo>
                    <a:lnTo>
                      <a:pt x="1038" y="1248"/>
                    </a:lnTo>
                    <a:lnTo>
                      <a:pt x="1044" y="1248"/>
                    </a:lnTo>
                    <a:lnTo>
                      <a:pt x="1050" y="1248"/>
                    </a:lnTo>
                    <a:lnTo>
                      <a:pt x="1050" y="1242"/>
                    </a:lnTo>
                    <a:lnTo>
                      <a:pt x="1044" y="1200"/>
                    </a:lnTo>
                    <a:lnTo>
                      <a:pt x="1044" y="1158"/>
                    </a:lnTo>
                    <a:lnTo>
                      <a:pt x="1044" y="1116"/>
                    </a:lnTo>
                    <a:lnTo>
                      <a:pt x="1038" y="1068"/>
                    </a:lnTo>
                    <a:lnTo>
                      <a:pt x="1038" y="1026"/>
                    </a:lnTo>
                    <a:lnTo>
                      <a:pt x="1038" y="984"/>
                    </a:lnTo>
                    <a:lnTo>
                      <a:pt x="1038" y="942"/>
                    </a:lnTo>
                    <a:lnTo>
                      <a:pt x="1032" y="900"/>
                    </a:lnTo>
                    <a:lnTo>
                      <a:pt x="1032" y="888"/>
                    </a:lnTo>
                    <a:lnTo>
                      <a:pt x="1032" y="858"/>
                    </a:lnTo>
                    <a:lnTo>
                      <a:pt x="1032" y="810"/>
                    </a:lnTo>
                    <a:lnTo>
                      <a:pt x="1026" y="768"/>
                    </a:lnTo>
                    <a:lnTo>
                      <a:pt x="1026" y="726"/>
                    </a:lnTo>
                    <a:lnTo>
                      <a:pt x="1026" y="684"/>
                    </a:lnTo>
                    <a:lnTo>
                      <a:pt x="1026" y="642"/>
                    </a:lnTo>
                    <a:lnTo>
                      <a:pt x="1020" y="600"/>
                    </a:lnTo>
                    <a:lnTo>
                      <a:pt x="1020" y="558"/>
                    </a:lnTo>
                    <a:lnTo>
                      <a:pt x="1020" y="510"/>
                    </a:lnTo>
                    <a:lnTo>
                      <a:pt x="1020" y="468"/>
                    </a:lnTo>
                    <a:lnTo>
                      <a:pt x="1014" y="426"/>
                    </a:lnTo>
                    <a:lnTo>
                      <a:pt x="1014" y="384"/>
                    </a:lnTo>
                    <a:lnTo>
                      <a:pt x="1014" y="342"/>
                    </a:lnTo>
                    <a:lnTo>
                      <a:pt x="1014" y="312"/>
                    </a:lnTo>
                    <a:lnTo>
                      <a:pt x="1014" y="300"/>
                    </a:lnTo>
                    <a:lnTo>
                      <a:pt x="1008" y="294"/>
                    </a:lnTo>
                    <a:lnTo>
                      <a:pt x="1008" y="288"/>
                    </a:lnTo>
                    <a:lnTo>
                      <a:pt x="1008" y="282"/>
                    </a:lnTo>
                    <a:lnTo>
                      <a:pt x="1008" y="258"/>
                    </a:lnTo>
                    <a:lnTo>
                      <a:pt x="1008" y="252"/>
                    </a:lnTo>
                    <a:lnTo>
                      <a:pt x="1008" y="222"/>
                    </a:lnTo>
                    <a:lnTo>
                      <a:pt x="1008" y="210"/>
                    </a:lnTo>
                    <a:lnTo>
                      <a:pt x="1008" y="198"/>
                    </a:lnTo>
                    <a:lnTo>
                      <a:pt x="1008" y="168"/>
                    </a:lnTo>
                    <a:lnTo>
                      <a:pt x="1008" y="138"/>
                    </a:lnTo>
                    <a:lnTo>
                      <a:pt x="1002" y="126"/>
                    </a:lnTo>
                    <a:lnTo>
                      <a:pt x="1002" y="114"/>
                    </a:lnTo>
                    <a:lnTo>
                      <a:pt x="1002" y="84"/>
                    </a:lnTo>
                    <a:lnTo>
                      <a:pt x="1002" y="54"/>
                    </a:lnTo>
                    <a:lnTo>
                      <a:pt x="1002" y="42"/>
                    </a:lnTo>
                    <a:lnTo>
                      <a:pt x="1002" y="24"/>
                    </a:lnTo>
                    <a:lnTo>
                      <a:pt x="1002" y="0"/>
                    </a:lnTo>
                    <a:lnTo>
                      <a:pt x="1002" y="6"/>
                    </a:lnTo>
                    <a:lnTo>
                      <a:pt x="1008" y="6"/>
                    </a:lnTo>
                    <a:lnTo>
                      <a:pt x="1008" y="12"/>
                    </a:lnTo>
                    <a:lnTo>
                      <a:pt x="1014" y="12"/>
                    </a:lnTo>
                    <a:lnTo>
                      <a:pt x="1014" y="18"/>
                    </a:lnTo>
                    <a:lnTo>
                      <a:pt x="1020" y="18"/>
                    </a:lnTo>
                    <a:lnTo>
                      <a:pt x="1020" y="24"/>
                    </a:lnTo>
                    <a:lnTo>
                      <a:pt x="1026" y="24"/>
                    </a:lnTo>
                    <a:lnTo>
                      <a:pt x="1032" y="30"/>
                    </a:lnTo>
                    <a:lnTo>
                      <a:pt x="1032" y="3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68" name="Freeform 13"/>
              <p:cNvSpPr>
                <a:spLocks noChangeAspect="1" noEditPoints="1"/>
              </p:cNvSpPr>
              <p:nvPr/>
            </p:nvSpPr>
            <p:spPr bwMode="auto">
              <a:xfrm>
                <a:off x="3026781" y="5809212"/>
                <a:ext cx="214687" cy="168029"/>
              </a:xfrm>
              <a:custGeom>
                <a:avLst/>
                <a:gdLst>
                  <a:gd name="T0" fmla="*/ 2147483647 w 1878"/>
                  <a:gd name="T1" fmla="*/ 2147483647 h 1470"/>
                  <a:gd name="T2" fmla="*/ 2147483647 w 1878"/>
                  <a:gd name="T3" fmla="*/ 2147483647 h 1470"/>
                  <a:gd name="T4" fmla="*/ 2147483647 w 1878"/>
                  <a:gd name="T5" fmla="*/ 2147483647 h 1470"/>
                  <a:gd name="T6" fmla="*/ 2147483647 w 1878"/>
                  <a:gd name="T7" fmla="*/ 2147483647 h 1470"/>
                  <a:gd name="T8" fmla="*/ 2147483647 w 1878"/>
                  <a:gd name="T9" fmla="*/ 2147483647 h 1470"/>
                  <a:gd name="T10" fmla="*/ 2147483647 w 1878"/>
                  <a:gd name="T11" fmla="*/ 2147483647 h 1470"/>
                  <a:gd name="T12" fmla="*/ 2147483647 w 1878"/>
                  <a:gd name="T13" fmla="*/ 2147483647 h 1470"/>
                  <a:gd name="T14" fmla="*/ 2147483647 w 1878"/>
                  <a:gd name="T15" fmla="*/ 2147483647 h 1470"/>
                  <a:gd name="T16" fmla="*/ 2147483647 w 1878"/>
                  <a:gd name="T17" fmla="*/ 2147483647 h 1470"/>
                  <a:gd name="T18" fmla="*/ 2147483647 w 1878"/>
                  <a:gd name="T19" fmla="*/ 2147483647 h 1470"/>
                  <a:gd name="T20" fmla="*/ 2147483647 w 1878"/>
                  <a:gd name="T21" fmla="*/ 2147483647 h 1470"/>
                  <a:gd name="T22" fmla="*/ 2147483647 w 1878"/>
                  <a:gd name="T23" fmla="*/ 2147483647 h 1470"/>
                  <a:gd name="T24" fmla="*/ 2147483647 w 1878"/>
                  <a:gd name="T25" fmla="*/ 2147483647 h 1470"/>
                  <a:gd name="T26" fmla="*/ 2147483647 w 1878"/>
                  <a:gd name="T27" fmla="*/ 2147483647 h 1470"/>
                  <a:gd name="T28" fmla="*/ 2147483647 w 1878"/>
                  <a:gd name="T29" fmla="*/ 2147483647 h 1470"/>
                  <a:gd name="T30" fmla="*/ 2147483647 w 1878"/>
                  <a:gd name="T31" fmla="*/ 2147483647 h 1470"/>
                  <a:gd name="T32" fmla="*/ 2147483647 w 1878"/>
                  <a:gd name="T33" fmla="*/ 2147483647 h 1470"/>
                  <a:gd name="T34" fmla="*/ 2147483647 w 1878"/>
                  <a:gd name="T35" fmla="*/ 2147483647 h 1470"/>
                  <a:gd name="T36" fmla="*/ 2147483647 w 1878"/>
                  <a:gd name="T37" fmla="*/ 2147483647 h 1470"/>
                  <a:gd name="T38" fmla="*/ 2147483647 w 1878"/>
                  <a:gd name="T39" fmla="*/ 2147483647 h 1470"/>
                  <a:gd name="T40" fmla="*/ 2147483647 w 1878"/>
                  <a:gd name="T41" fmla="*/ 2147483647 h 1470"/>
                  <a:gd name="T42" fmla="*/ 2147483647 w 1878"/>
                  <a:gd name="T43" fmla="*/ 2147483647 h 1470"/>
                  <a:gd name="T44" fmla="*/ 2147483647 w 1878"/>
                  <a:gd name="T45" fmla="*/ 2147483647 h 1470"/>
                  <a:gd name="T46" fmla="*/ 2147483647 w 1878"/>
                  <a:gd name="T47" fmla="*/ 2147483647 h 1470"/>
                  <a:gd name="T48" fmla="*/ 2147483647 w 1878"/>
                  <a:gd name="T49" fmla="*/ 2147483647 h 1470"/>
                  <a:gd name="T50" fmla="*/ 2147483647 w 1878"/>
                  <a:gd name="T51" fmla="*/ 2147483647 h 1470"/>
                  <a:gd name="T52" fmla="*/ 2147483647 w 1878"/>
                  <a:gd name="T53" fmla="*/ 2147483647 h 1470"/>
                  <a:gd name="T54" fmla="*/ 2147483647 w 1878"/>
                  <a:gd name="T55" fmla="*/ 2147483647 h 1470"/>
                  <a:gd name="T56" fmla="*/ 2147483647 w 1878"/>
                  <a:gd name="T57" fmla="*/ 2147483647 h 1470"/>
                  <a:gd name="T58" fmla="*/ 2147483647 w 1878"/>
                  <a:gd name="T59" fmla="*/ 2147483647 h 1470"/>
                  <a:gd name="T60" fmla="*/ 2147483647 w 1878"/>
                  <a:gd name="T61" fmla="*/ 2147483647 h 1470"/>
                  <a:gd name="T62" fmla="*/ 2147483647 w 1878"/>
                  <a:gd name="T63" fmla="*/ 2147483647 h 1470"/>
                  <a:gd name="T64" fmla="*/ 2147483647 w 1878"/>
                  <a:gd name="T65" fmla="*/ 2147483647 h 1470"/>
                  <a:gd name="T66" fmla="*/ 2147483647 w 1878"/>
                  <a:gd name="T67" fmla="*/ 2147483647 h 1470"/>
                  <a:gd name="T68" fmla="*/ 2147483647 w 1878"/>
                  <a:gd name="T69" fmla="*/ 2147483647 h 1470"/>
                  <a:gd name="T70" fmla="*/ 2147483647 w 1878"/>
                  <a:gd name="T71" fmla="*/ 2147483647 h 1470"/>
                  <a:gd name="T72" fmla="*/ 2147483647 w 1878"/>
                  <a:gd name="T73" fmla="*/ 2147483647 h 1470"/>
                  <a:gd name="T74" fmla="*/ 2147483647 w 1878"/>
                  <a:gd name="T75" fmla="*/ 2147483647 h 1470"/>
                  <a:gd name="T76" fmla="*/ 2147483647 w 1878"/>
                  <a:gd name="T77" fmla="*/ 2147483647 h 1470"/>
                  <a:gd name="T78" fmla="*/ 2147483647 w 1878"/>
                  <a:gd name="T79" fmla="*/ 2147483647 h 1470"/>
                  <a:gd name="T80" fmla="*/ 2147483647 w 1878"/>
                  <a:gd name="T81" fmla="*/ 2147483647 h 1470"/>
                  <a:gd name="T82" fmla="*/ 2147483647 w 1878"/>
                  <a:gd name="T83" fmla="*/ 2147483647 h 1470"/>
                  <a:gd name="T84" fmla="*/ 2147483647 w 1878"/>
                  <a:gd name="T85" fmla="*/ 2147483647 h 1470"/>
                  <a:gd name="T86" fmla="*/ 2147483647 w 1878"/>
                  <a:gd name="T87" fmla="*/ 2147483647 h 1470"/>
                  <a:gd name="T88" fmla="*/ 2147483647 w 1878"/>
                  <a:gd name="T89" fmla="*/ 2147483647 h 1470"/>
                  <a:gd name="T90" fmla="*/ 2147483647 w 1878"/>
                  <a:gd name="T91" fmla="*/ 2147483647 h 1470"/>
                  <a:gd name="T92" fmla="*/ 2147483647 w 1878"/>
                  <a:gd name="T93" fmla="*/ 2147483647 h 1470"/>
                  <a:gd name="T94" fmla="*/ 2147483647 w 1878"/>
                  <a:gd name="T95" fmla="*/ 2147483647 h 1470"/>
                  <a:gd name="T96" fmla="*/ 2147483647 w 1878"/>
                  <a:gd name="T97" fmla="*/ 2147483647 h 1470"/>
                  <a:gd name="T98" fmla="*/ 2147483647 w 1878"/>
                  <a:gd name="T99" fmla="*/ 2147483647 h 1470"/>
                  <a:gd name="T100" fmla="*/ 2147483647 w 1878"/>
                  <a:gd name="T101" fmla="*/ 2147483647 h 1470"/>
                  <a:gd name="T102" fmla="*/ 2147483647 w 1878"/>
                  <a:gd name="T103" fmla="*/ 2147483647 h 1470"/>
                  <a:gd name="T104" fmla="*/ 2147483647 w 1878"/>
                  <a:gd name="T105" fmla="*/ 2147483647 h 1470"/>
                  <a:gd name="T106" fmla="*/ 2147483647 w 1878"/>
                  <a:gd name="T107" fmla="*/ 2147483647 h 1470"/>
                  <a:gd name="T108" fmla="*/ 2147483647 w 1878"/>
                  <a:gd name="T109" fmla="*/ 2147483647 h 1470"/>
                  <a:gd name="T110" fmla="*/ 2147483647 w 1878"/>
                  <a:gd name="T111" fmla="*/ 2147483647 h 1470"/>
                  <a:gd name="T112" fmla="*/ 2147483647 w 1878"/>
                  <a:gd name="T113" fmla="*/ 2147483647 h 1470"/>
                  <a:gd name="T114" fmla="*/ 2147483647 w 1878"/>
                  <a:gd name="T115" fmla="*/ 2147483647 h 1470"/>
                  <a:gd name="T116" fmla="*/ 2147483647 w 1878"/>
                  <a:gd name="T117" fmla="*/ 2147483647 h 1470"/>
                  <a:gd name="T118" fmla="*/ 2147483647 w 1878"/>
                  <a:gd name="T119" fmla="*/ 2147483647 h 1470"/>
                  <a:gd name="T120" fmla="*/ 2147483647 w 1878"/>
                  <a:gd name="T121" fmla="*/ 2147483647 h 147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78" h="1470">
                    <a:moveTo>
                      <a:pt x="1548" y="1182"/>
                    </a:moveTo>
                    <a:lnTo>
                      <a:pt x="1554" y="1182"/>
                    </a:lnTo>
                    <a:lnTo>
                      <a:pt x="1548" y="1182"/>
                    </a:lnTo>
                    <a:close/>
                    <a:moveTo>
                      <a:pt x="1554" y="1176"/>
                    </a:moveTo>
                    <a:lnTo>
                      <a:pt x="1560" y="1176"/>
                    </a:lnTo>
                    <a:lnTo>
                      <a:pt x="1560" y="1182"/>
                    </a:lnTo>
                    <a:lnTo>
                      <a:pt x="1554" y="1182"/>
                    </a:lnTo>
                    <a:lnTo>
                      <a:pt x="1554" y="1176"/>
                    </a:lnTo>
                    <a:close/>
                    <a:moveTo>
                      <a:pt x="1650" y="1164"/>
                    </a:moveTo>
                    <a:lnTo>
                      <a:pt x="1656" y="1164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0" y="1164"/>
                    </a:lnTo>
                    <a:close/>
                    <a:moveTo>
                      <a:pt x="228" y="1140"/>
                    </a:moveTo>
                    <a:lnTo>
                      <a:pt x="240" y="1140"/>
                    </a:lnTo>
                    <a:lnTo>
                      <a:pt x="240" y="1152"/>
                    </a:lnTo>
                    <a:lnTo>
                      <a:pt x="228" y="1152"/>
                    </a:lnTo>
                    <a:lnTo>
                      <a:pt x="228" y="1140"/>
                    </a:lnTo>
                    <a:close/>
                    <a:moveTo>
                      <a:pt x="144" y="1014"/>
                    </a:moveTo>
                    <a:lnTo>
                      <a:pt x="150" y="1014"/>
                    </a:lnTo>
                    <a:lnTo>
                      <a:pt x="150" y="1026"/>
                    </a:lnTo>
                    <a:lnTo>
                      <a:pt x="144" y="1026"/>
                    </a:lnTo>
                    <a:lnTo>
                      <a:pt x="144" y="1014"/>
                    </a:lnTo>
                    <a:close/>
                    <a:moveTo>
                      <a:pt x="144" y="942"/>
                    </a:moveTo>
                    <a:lnTo>
                      <a:pt x="150" y="942"/>
                    </a:lnTo>
                    <a:lnTo>
                      <a:pt x="144" y="942"/>
                    </a:lnTo>
                    <a:close/>
                    <a:moveTo>
                      <a:pt x="108" y="930"/>
                    </a:moveTo>
                    <a:lnTo>
                      <a:pt x="114" y="930"/>
                    </a:lnTo>
                    <a:lnTo>
                      <a:pt x="108" y="930"/>
                    </a:lnTo>
                    <a:close/>
                    <a:moveTo>
                      <a:pt x="120" y="906"/>
                    </a:moveTo>
                    <a:lnTo>
                      <a:pt x="120" y="912"/>
                    </a:lnTo>
                    <a:lnTo>
                      <a:pt x="121" y="912"/>
                    </a:lnTo>
                    <a:lnTo>
                      <a:pt x="120" y="906"/>
                    </a:lnTo>
                    <a:close/>
                    <a:moveTo>
                      <a:pt x="114" y="906"/>
                    </a:moveTo>
                    <a:lnTo>
                      <a:pt x="120" y="906"/>
                    </a:lnTo>
                    <a:lnTo>
                      <a:pt x="114" y="906"/>
                    </a:lnTo>
                    <a:close/>
                    <a:moveTo>
                      <a:pt x="90" y="894"/>
                    </a:moveTo>
                    <a:lnTo>
                      <a:pt x="96" y="894"/>
                    </a:lnTo>
                    <a:lnTo>
                      <a:pt x="96" y="900"/>
                    </a:lnTo>
                    <a:lnTo>
                      <a:pt x="90" y="900"/>
                    </a:lnTo>
                    <a:lnTo>
                      <a:pt x="90" y="894"/>
                    </a:lnTo>
                    <a:close/>
                    <a:moveTo>
                      <a:pt x="90" y="894"/>
                    </a:moveTo>
                    <a:lnTo>
                      <a:pt x="96" y="894"/>
                    </a:lnTo>
                    <a:lnTo>
                      <a:pt x="90" y="894"/>
                    </a:lnTo>
                    <a:close/>
                    <a:moveTo>
                      <a:pt x="72" y="792"/>
                    </a:moveTo>
                    <a:lnTo>
                      <a:pt x="78" y="792"/>
                    </a:lnTo>
                    <a:lnTo>
                      <a:pt x="72" y="792"/>
                    </a:lnTo>
                    <a:close/>
                    <a:moveTo>
                      <a:pt x="66" y="792"/>
                    </a:moveTo>
                    <a:lnTo>
                      <a:pt x="72" y="792"/>
                    </a:lnTo>
                    <a:lnTo>
                      <a:pt x="66" y="792"/>
                    </a:lnTo>
                    <a:close/>
                    <a:moveTo>
                      <a:pt x="276" y="42"/>
                    </a:moveTo>
                    <a:lnTo>
                      <a:pt x="288" y="60"/>
                    </a:lnTo>
                    <a:lnTo>
                      <a:pt x="282" y="72"/>
                    </a:lnTo>
                    <a:lnTo>
                      <a:pt x="306" y="90"/>
                    </a:lnTo>
                    <a:lnTo>
                      <a:pt x="336" y="90"/>
                    </a:lnTo>
                    <a:lnTo>
                      <a:pt x="336" y="102"/>
                    </a:lnTo>
                    <a:lnTo>
                      <a:pt x="342" y="138"/>
                    </a:lnTo>
                    <a:lnTo>
                      <a:pt x="318" y="144"/>
                    </a:lnTo>
                    <a:lnTo>
                      <a:pt x="348" y="162"/>
                    </a:lnTo>
                    <a:lnTo>
                      <a:pt x="330" y="180"/>
                    </a:lnTo>
                    <a:lnTo>
                      <a:pt x="324" y="198"/>
                    </a:lnTo>
                    <a:lnTo>
                      <a:pt x="342" y="222"/>
                    </a:lnTo>
                    <a:lnTo>
                      <a:pt x="342" y="258"/>
                    </a:lnTo>
                    <a:lnTo>
                      <a:pt x="348" y="276"/>
                    </a:lnTo>
                    <a:lnTo>
                      <a:pt x="366" y="282"/>
                    </a:lnTo>
                    <a:lnTo>
                      <a:pt x="354" y="300"/>
                    </a:lnTo>
                    <a:lnTo>
                      <a:pt x="372" y="312"/>
                    </a:lnTo>
                    <a:lnTo>
                      <a:pt x="372" y="336"/>
                    </a:lnTo>
                    <a:lnTo>
                      <a:pt x="366" y="354"/>
                    </a:lnTo>
                    <a:lnTo>
                      <a:pt x="384" y="354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0" y="378"/>
                    </a:lnTo>
                    <a:lnTo>
                      <a:pt x="384" y="384"/>
                    </a:lnTo>
                    <a:lnTo>
                      <a:pt x="390" y="402"/>
                    </a:lnTo>
                    <a:lnTo>
                      <a:pt x="384" y="402"/>
                    </a:lnTo>
                    <a:lnTo>
                      <a:pt x="390" y="420"/>
                    </a:lnTo>
                    <a:lnTo>
                      <a:pt x="396" y="432"/>
                    </a:lnTo>
                    <a:lnTo>
                      <a:pt x="396" y="438"/>
                    </a:lnTo>
                    <a:lnTo>
                      <a:pt x="396" y="444"/>
                    </a:lnTo>
                    <a:lnTo>
                      <a:pt x="396" y="450"/>
                    </a:lnTo>
                    <a:lnTo>
                      <a:pt x="384" y="468"/>
                    </a:lnTo>
                    <a:lnTo>
                      <a:pt x="384" y="480"/>
                    </a:lnTo>
                    <a:lnTo>
                      <a:pt x="384" y="486"/>
                    </a:lnTo>
                    <a:lnTo>
                      <a:pt x="390" y="486"/>
                    </a:lnTo>
                    <a:lnTo>
                      <a:pt x="396" y="486"/>
                    </a:lnTo>
                    <a:lnTo>
                      <a:pt x="402" y="486"/>
                    </a:lnTo>
                    <a:lnTo>
                      <a:pt x="408" y="492"/>
                    </a:lnTo>
                    <a:lnTo>
                      <a:pt x="414" y="492"/>
                    </a:lnTo>
                    <a:lnTo>
                      <a:pt x="414" y="498"/>
                    </a:lnTo>
                    <a:lnTo>
                      <a:pt x="420" y="492"/>
                    </a:lnTo>
                    <a:lnTo>
                      <a:pt x="426" y="492"/>
                    </a:lnTo>
                    <a:lnTo>
                      <a:pt x="432" y="498"/>
                    </a:lnTo>
                    <a:lnTo>
                      <a:pt x="450" y="474"/>
                    </a:lnTo>
                    <a:lnTo>
                      <a:pt x="450" y="480"/>
                    </a:lnTo>
                    <a:lnTo>
                      <a:pt x="450" y="486"/>
                    </a:lnTo>
                    <a:lnTo>
                      <a:pt x="450" y="492"/>
                    </a:lnTo>
                    <a:lnTo>
                      <a:pt x="450" y="498"/>
                    </a:lnTo>
                    <a:lnTo>
                      <a:pt x="444" y="510"/>
                    </a:lnTo>
                    <a:lnTo>
                      <a:pt x="450" y="510"/>
                    </a:lnTo>
                    <a:lnTo>
                      <a:pt x="456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68" y="516"/>
                    </a:lnTo>
                    <a:lnTo>
                      <a:pt x="468" y="528"/>
                    </a:lnTo>
                    <a:lnTo>
                      <a:pt x="474" y="534"/>
                    </a:lnTo>
                    <a:lnTo>
                      <a:pt x="474" y="528"/>
                    </a:lnTo>
                    <a:lnTo>
                      <a:pt x="480" y="528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92" y="534"/>
                    </a:lnTo>
                    <a:lnTo>
                      <a:pt x="498" y="534"/>
                    </a:lnTo>
                    <a:lnTo>
                      <a:pt x="504" y="540"/>
                    </a:lnTo>
                    <a:lnTo>
                      <a:pt x="510" y="546"/>
                    </a:lnTo>
                    <a:lnTo>
                      <a:pt x="516" y="546"/>
                    </a:lnTo>
                    <a:lnTo>
                      <a:pt x="516" y="552"/>
                    </a:lnTo>
                    <a:lnTo>
                      <a:pt x="516" y="558"/>
                    </a:lnTo>
                    <a:lnTo>
                      <a:pt x="516" y="564"/>
                    </a:lnTo>
                    <a:lnTo>
                      <a:pt x="516" y="570"/>
                    </a:lnTo>
                    <a:lnTo>
                      <a:pt x="516" y="576"/>
                    </a:lnTo>
                    <a:lnTo>
                      <a:pt x="522" y="582"/>
                    </a:lnTo>
                    <a:lnTo>
                      <a:pt x="522" y="588"/>
                    </a:lnTo>
                    <a:lnTo>
                      <a:pt x="522" y="594"/>
                    </a:lnTo>
                    <a:lnTo>
                      <a:pt x="522" y="600"/>
                    </a:lnTo>
                    <a:lnTo>
                      <a:pt x="504" y="612"/>
                    </a:lnTo>
                    <a:lnTo>
                      <a:pt x="498" y="618"/>
                    </a:lnTo>
                    <a:lnTo>
                      <a:pt x="504" y="642"/>
                    </a:lnTo>
                    <a:lnTo>
                      <a:pt x="510" y="648"/>
                    </a:lnTo>
                    <a:lnTo>
                      <a:pt x="510" y="654"/>
                    </a:lnTo>
                    <a:lnTo>
                      <a:pt x="516" y="660"/>
                    </a:lnTo>
                    <a:lnTo>
                      <a:pt x="522" y="666"/>
                    </a:lnTo>
                    <a:lnTo>
                      <a:pt x="522" y="672"/>
                    </a:lnTo>
                    <a:lnTo>
                      <a:pt x="528" y="678"/>
                    </a:lnTo>
                    <a:lnTo>
                      <a:pt x="522" y="714"/>
                    </a:lnTo>
                    <a:lnTo>
                      <a:pt x="540" y="744"/>
                    </a:lnTo>
                    <a:lnTo>
                      <a:pt x="558" y="726"/>
                    </a:lnTo>
                    <a:lnTo>
                      <a:pt x="558" y="720"/>
                    </a:lnTo>
                    <a:lnTo>
                      <a:pt x="552" y="714"/>
                    </a:lnTo>
                    <a:lnTo>
                      <a:pt x="552" y="708"/>
                    </a:lnTo>
                    <a:lnTo>
                      <a:pt x="552" y="702"/>
                    </a:lnTo>
                    <a:lnTo>
                      <a:pt x="558" y="684"/>
                    </a:lnTo>
                    <a:lnTo>
                      <a:pt x="558" y="666"/>
                    </a:lnTo>
                    <a:lnTo>
                      <a:pt x="564" y="660"/>
                    </a:lnTo>
                    <a:lnTo>
                      <a:pt x="570" y="672"/>
                    </a:lnTo>
                    <a:lnTo>
                      <a:pt x="588" y="666"/>
                    </a:lnTo>
                    <a:lnTo>
                      <a:pt x="582" y="660"/>
                    </a:lnTo>
                    <a:lnTo>
                      <a:pt x="588" y="648"/>
                    </a:lnTo>
                    <a:lnTo>
                      <a:pt x="600" y="654"/>
                    </a:lnTo>
                    <a:lnTo>
                      <a:pt x="612" y="642"/>
                    </a:lnTo>
                    <a:lnTo>
                      <a:pt x="612" y="636"/>
                    </a:lnTo>
                    <a:lnTo>
                      <a:pt x="624" y="636"/>
                    </a:lnTo>
                    <a:lnTo>
                      <a:pt x="624" y="642"/>
                    </a:lnTo>
                    <a:lnTo>
                      <a:pt x="648" y="636"/>
                    </a:lnTo>
                    <a:lnTo>
                      <a:pt x="672" y="612"/>
                    </a:lnTo>
                    <a:lnTo>
                      <a:pt x="678" y="594"/>
                    </a:lnTo>
                    <a:lnTo>
                      <a:pt x="690" y="594"/>
                    </a:lnTo>
                    <a:lnTo>
                      <a:pt x="696" y="582"/>
                    </a:lnTo>
                    <a:lnTo>
                      <a:pt x="708" y="576"/>
                    </a:lnTo>
                    <a:lnTo>
                      <a:pt x="714" y="570"/>
                    </a:lnTo>
                    <a:lnTo>
                      <a:pt x="720" y="576"/>
                    </a:lnTo>
                    <a:lnTo>
                      <a:pt x="720" y="582"/>
                    </a:lnTo>
                    <a:lnTo>
                      <a:pt x="732" y="588"/>
                    </a:lnTo>
                    <a:lnTo>
                      <a:pt x="738" y="612"/>
                    </a:lnTo>
                    <a:lnTo>
                      <a:pt x="726" y="606"/>
                    </a:lnTo>
                    <a:lnTo>
                      <a:pt x="708" y="624"/>
                    </a:lnTo>
                    <a:lnTo>
                      <a:pt x="714" y="636"/>
                    </a:lnTo>
                    <a:lnTo>
                      <a:pt x="702" y="648"/>
                    </a:lnTo>
                    <a:lnTo>
                      <a:pt x="690" y="642"/>
                    </a:lnTo>
                    <a:lnTo>
                      <a:pt x="690" y="660"/>
                    </a:lnTo>
                    <a:lnTo>
                      <a:pt x="696" y="684"/>
                    </a:lnTo>
                    <a:lnTo>
                      <a:pt x="708" y="720"/>
                    </a:lnTo>
                    <a:lnTo>
                      <a:pt x="720" y="726"/>
                    </a:lnTo>
                    <a:lnTo>
                      <a:pt x="726" y="738"/>
                    </a:lnTo>
                    <a:lnTo>
                      <a:pt x="726" y="768"/>
                    </a:lnTo>
                    <a:lnTo>
                      <a:pt x="732" y="768"/>
                    </a:lnTo>
                    <a:lnTo>
                      <a:pt x="738" y="768"/>
                    </a:lnTo>
                    <a:lnTo>
                      <a:pt x="744" y="774"/>
                    </a:lnTo>
                    <a:lnTo>
                      <a:pt x="756" y="774"/>
                    </a:lnTo>
                    <a:lnTo>
                      <a:pt x="768" y="792"/>
                    </a:lnTo>
                    <a:lnTo>
                      <a:pt x="774" y="798"/>
                    </a:lnTo>
                    <a:lnTo>
                      <a:pt x="780" y="816"/>
                    </a:lnTo>
                    <a:lnTo>
                      <a:pt x="786" y="810"/>
                    </a:lnTo>
                    <a:lnTo>
                      <a:pt x="798" y="822"/>
                    </a:lnTo>
                    <a:lnTo>
                      <a:pt x="804" y="822"/>
                    </a:lnTo>
                    <a:lnTo>
                      <a:pt x="816" y="822"/>
                    </a:lnTo>
                    <a:lnTo>
                      <a:pt x="834" y="804"/>
                    </a:lnTo>
                    <a:lnTo>
                      <a:pt x="846" y="822"/>
                    </a:lnTo>
                    <a:lnTo>
                      <a:pt x="864" y="816"/>
                    </a:lnTo>
                    <a:lnTo>
                      <a:pt x="882" y="816"/>
                    </a:lnTo>
                    <a:lnTo>
                      <a:pt x="888" y="810"/>
                    </a:lnTo>
                    <a:lnTo>
                      <a:pt x="906" y="798"/>
                    </a:lnTo>
                    <a:lnTo>
                      <a:pt x="912" y="774"/>
                    </a:lnTo>
                    <a:lnTo>
                      <a:pt x="906" y="756"/>
                    </a:lnTo>
                    <a:lnTo>
                      <a:pt x="900" y="744"/>
                    </a:lnTo>
                    <a:lnTo>
                      <a:pt x="900" y="738"/>
                    </a:lnTo>
                    <a:lnTo>
                      <a:pt x="912" y="726"/>
                    </a:lnTo>
                    <a:lnTo>
                      <a:pt x="948" y="714"/>
                    </a:lnTo>
                    <a:lnTo>
                      <a:pt x="960" y="720"/>
                    </a:lnTo>
                    <a:lnTo>
                      <a:pt x="1008" y="708"/>
                    </a:lnTo>
                    <a:lnTo>
                      <a:pt x="1002" y="690"/>
                    </a:lnTo>
                    <a:lnTo>
                      <a:pt x="1008" y="672"/>
                    </a:lnTo>
                    <a:lnTo>
                      <a:pt x="1008" y="666"/>
                    </a:lnTo>
                    <a:lnTo>
                      <a:pt x="1014" y="660"/>
                    </a:lnTo>
                    <a:lnTo>
                      <a:pt x="1014" y="654"/>
                    </a:lnTo>
                    <a:lnTo>
                      <a:pt x="1026" y="648"/>
                    </a:lnTo>
                    <a:lnTo>
                      <a:pt x="1032" y="642"/>
                    </a:lnTo>
                    <a:lnTo>
                      <a:pt x="1038" y="642"/>
                    </a:lnTo>
                    <a:lnTo>
                      <a:pt x="1038" y="630"/>
                    </a:lnTo>
                    <a:lnTo>
                      <a:pt x="1038" y="624"/>
                    </a:lnTo>
                    <a:lnTo>
                      <a:pt x="1050" y="624"/>
                    </a:lnTo>
                    <a:lnTo>
                      <a:pt x="1068" y="618"/>
                    </a:lnTo>
                    <a:lnTo>
                      <a:pt x="1074" y="618"/>
                    </a:lnTo>
                    <a:lnTo>
                      <a:pt x="1086" y="606"/>
                    </a:lnTo>
                    <a:lnTo>
                      <a:pt x="1098" y="606"/>
                    </a:lnTo>
                    <a:lnTo>
                      <a:pt x="1110" y="600"/>
                    </a:lnTo>
                    <a:lnTo>
                      <a:pt x="1110" y="570"/>
                    </a:lnTo>
                    <a:lnTo>
                      <a:pt x="1128" y="564"/>
                    </a:lnTo>
                    <a:lnTo>
                      <a:pt x="1146" y="576"/>
                    </a:lnTo>
                    <a:lnTo>
                      <a:pt x="1164" y="558"/>
                    </a:lnTo>
                    <a:lnTo>
                      <a:pt x="1170" y="564"/>
                    </a:lnTo>
                    <a:lnTo>
                      <a:pt x="1176" y="570"/>
                    </a:lnTo>
                    <a:lnTo>
                      <a:pt x="1200" y="582"/>
                    </a:lnTo>
                    <a:lnTo>
                      <a:pt x="1218" y="576"/>
                    </a:lnTo>
                    <a:lnTo>
                      <a:pt x="1224" y="564"/>
                    </a:lnTo>
                    <a:lnTo>
                      <a:pt x="1242" y="558"/>
                    </a:lnTo>
                    <a:lnTo>
                      <a:pt x="1242" y="522"/>
                    </a:lnTo>
                    <a:lnTo>
                      <a:pt x="1260" y="516"/>
                    </a:lnTo>
                    <a:lnTo>
                      <a:pt x="1266" y="534"/>
                    </a:lnTo>
                    <a:lnTo>
                      <a:pt x="1278" y="510"/>
                    </a:lnTo>
                    <a:lnTo>
                      <a:pt x="1266" y="498"/>
                    </a:lnTo>
                    <a:lnTo>
                      <a:pt x="1260" y="498"/>
                    </a:lnTo>
                    <a:lnTo>
                      <a:pt x="1260" y="492"/>
                    </a:lnTo>
                    <a:lnTo>
                      <a:pt x="1260" y="486"/>
                    </a:lnTo>
                    <a:lnTo>
                      <a:pt x="1266" y="480"/>
                    </a:lnTo>
                    <a:lnTo>
                      <a:pt x="1260" y="462"/>
                    </a:lnTo>
                    <a:lnTo>
                      <a:pt x="1266" y="462"/>
                    </a:lnTo>
                    <a:lnTo>
                      <a:pt x="1266" y="456"/>
                    </a:lnTo>
                    <a:lnTo>
                      <a:pt x="1266" y="450"/>
                    </a:lnTo>
                    <a:lnTo>
                      <a:pt x="1260" y="438"/>
                    </a:lnTo>
                    <a:lnTo>
                      <a:pt x="1284" y="450"/>
                    </a:lnTo>
                    <a:lnTo>
                      <a:pt x="1284" y="414"/>
                    </a:lnTo>
                    <a:lnTo>
                      <a:pt x="1302" y="390"/>
                    </a:lnTo>
                    <a:lnTo>
                      <a:pt x="1308" y="366"/>
                    </a:lnTo>
                    <a:lnTo>
                      <a:pt x="1314" y="360"/>
                    </a:lnTo>
                    <a:lnTo>
                      <a:pt x="1314" y="348"/>
                    </a:lnTo>
                    <a:lnTo>
                      <a:pt x="1320" y="342"/>
                    </a:lnTo>
                    <a:lnTo>
                      <a:pt x="1374" y="372"/>
                    </a:lnTo>
                    <a:lnTo>
                      <a:pt x="1392" y="378"/>
                    </a:lnTo>
                    <a:lnTo>
                      <a:pt x="1398" y="390"/>
                    </a:lnTo>
                    <a:lnTo>
                      <a:pt x="1410" y="396"/>
                    </a:lnTo>
                    <a:lnTo>
                      <a:pt x="1398" y="420"/>
                    </a:lnTo>
                    <a:lnTo>
                      <a:pt x="1422" y="426"/>
                    </a:lnTo>
                    <a:lnTo>
                      <a:pt x="1446" y="420"/>
                    </a:lnTo>
                    <a:lnTo>
                      <a:pt x="1458" y="438"/>
                    </a:lnTo>
                    <a:lnTo>
                      <a:pt x="1482" y="426"/>
                    </a:lnTo>
                    <a:lnTo>
                      <a:pt x="1482" y="438"/>
                    </a:lnTo>
                    <a:lnTo>
                      <a:pt x="1494" y="444"/>
                    </a:lnTo>
                    <a:lnTo>
                      <a:pt x="1512" y="438"/>
                    </a:lnTo>
                    <a:lnTo>
                      <a:pt x="1542" y="444"/>
                    </a:lnTo>
                    <a:lnTo>
                      <a:pt x="1536" y="456"/>
                    </a:lnTo>
                    <a:lnTo>
                      <a:pt x="1536" y="462"/>
                    </a:lnTo>
                    <a:lnTo>
                      <a:pt x="1548" y="480"/>
                    </a:lnTo>
                    <a:lnTo>
                      <a:pt x="1554" y="474"/>
                    </a:lnTo>
                    <a:lnTo>
                      <a:pt x="1590" y="438"/>
                    </a:lnTo>
                    <a:lnTo>
                      <a:pt x="1590" y="432"/>
                    </a:lnTo>
                    <a:lnTo>
                      <a:pt x="1596" y="420"/>
                    </a:lnTo>
                    <a:lnTo>
                      <a:pt x="1602" y="396"/>
                    </a:lnTo>
                    <a:lnTo>
                      <a:pt x="1620" y="384"/>
                    </a:lnTo>
                    <a:lnTo>
                      <a:pt x="1638" y="384"/>
                    </a:lnTo>
                    <a:lnTo>
                      <a:pt x="1644" y="378"/>
                    </a:lnTo>
                    <a:lnTo>
                      <a:pt x="1662" y="378"/>
                    </a:lnTo>
                    <a:lnTo>
                      <a:pt x="1674" y="384"/>
                    </a:lnTo>
                    <a:lnTo>
                      <a:pt x="1680" y="378"/>
                    </a:lnTo>
                    <a:lnTo>
                      <a:pt x="1692" y="378"/>
                    </a:lnTo>
                    <a:lnTo>
                      <a:pt x="1692" y="366"/>
                    </a:lnTo>
                    <a:lnTo>
                      <a:pt x="1698" y="366"/>
                    </a:lnTo>
                    <a:lnTo>
                      <a:pt x="1704" y="366"/>
                    </a:lnTo>
                    <a:lnTo>
                      <a:pt x="1734" y="366"/>
                    </a:lnTo>
                    <a:lnTo>
                      <a:pt x="1740" y="378"/>
                    </a:lnTo>
                    <a:lnTo>
                      <a:pt x="1764" y="390"/>
                    </a:lnTo>
                    <a:lnTo>
                      <a:pt x="1764" y="396"/>
                    </a:lnTo>
                    <a:lnTo>
                      <a:pt x="1758" y="402"/>
                    </a:lnTo>
                    <a:lnTo>
                      <a:pt x="1770" y="408"/>
                    </a:lnTo>
                    <a:lnTo>
                      <a:pt x="1776" y="420"/>
                    </a:lnTo>
                    <a:lnTo>
                      <a:pt x="1782" y="420"/>
                    </a:lnTo>
                    <a:lnTo>
                      <a:pt x="1788" y="408"/>
                    </a:lnTo>
                    <a:lnTo>
                      <a:pt x="1800" y="402"/>
                    </a:lnTo>
                    <a:lnTo>
                      <a:pt x="1800" y="384"/>
                    </a:lnTo>
                    <a:lnTo>
                      <a:pt x="1824" y="384"/>
                    </a:lnTo>
                    <a:lnTo>
                      <a:pt x="1824" y="390"/>
                    </a:lnTo>
                    <a:lnTo>
                      <a:pt x="1836" y="414"/>
                    </a:lnTo>
                    <a:lnTo>
                      <a:pt x="1860" y="408"/>
                    </a:lnTo>
                    <a:lnTo>
                      <a:pt x="1860" y="414"/>
                    </a:lnTo>
                    <a:lnTo>
                      <a:pt x="1866" y="420"/>
                    </a:lnTo>
                    <a:lnTo>
                      <a:pt x="1860" y="420"/>
                    </a:lnTo>
                    <a:lnTo>
                      <a:pt x="1860" y="432"/>
                    </a:lnTo>
                    <a:lnTo>
                      <a:pt x="1854" y="432"/>
                    </a:lnTo>
                    <a:lnTo>
                      <a:pt x="1842" y="450"/>
                    </a:lnTo>
                    <a:lnTo>
                      <a:pt x="1860" y="444"/>
                    </a:lnTo>
                    <a:lnTo>
                      <a:pt x="1866" y="450"/>
                    </a:lnTo>
                    <a:lnTo>
                      <a:pt x="1872" y="456"/>
                    </a:lnTo>
                    <a:lnTo>
                      <a:pt x="1866" y="456"/>
                    </a:lnTo>
                    <a:lnTo>
                      <a:pt x="1878" y="462"/>
                    </a:lnTo>
                    <a:lnTo>
                      <a:pt x="1860" y="480"/>
                    </a:lnTo>
                    <a:lnTo>
                      <a:pt x="1848" y="480"/>
                    </a:lnTo>
                    <a:lnTo>
                      <a:pt x="1848" y="486"/>
                    </a:lnTo>
                    <a:lnTo>
                      <a:pt x="1854" y="492"/>
                    </a:lnTo>
                    <a:lnTo>
                      <a:pt x="1854" y="498"/>
                    </a:lnTo>
                    <a:lnTo>
                      <a:pt x="1848" y="498"/>
                    </a:lnTo>
                    <a:lnTo>
                      <a:pt x="1842" y="498"/>
                    </a:lnTo>
                    <a:lnTo>
                      <a:pt x="1842" y="504"/>
                    </a:lnTo>
                    <a:lnTo>
                      <a:pt x="1842" y="510"/>
                    </a:lnTo>
                    <a:lnTo>
                      <a:pt x="1848" y="516"/>
                    </a:lnTo>
                    <a:lnTo>
                      <a:pt x="1848" y="522"/>
                    </a:lnTo>
                    <a:lnTo>
                      <a:pt x="1836" y="534"/>
                    </a:lnTo>
                    <a:lnTo>
                      <a:pt x="1824" y="534"/>
                    </a:lnTo>
                    <a:lnTo>
                      <a:pt x="1824" y="540"/>
                    </a:lnTo>
                    <a:lnTo>
                      <a:pt x="1782" y="564"/>
                    </a:lnTo>
                    <a:lnTo>
                      <a:pt x="1770" y="564"/>
                    </a:lnTo>
                    <a:lnTo>
                      <a:pt x="1764" y="558"/>
                    </a:lnTo>
                    <a:lnTo>
                      <a:pt x="1764" y="552"/>
                    </a:lnTo>
                    <a:lnTo>
                      <a:pt x="1746" y="540"/>
                    </a:lnTo>
                    <a:lnTo>
                      <a:pt x="1740" y="546"/>
                    </a:lnTo>
                    <a:lnTo>
                      <a:pt x="1716" y="564"/>
                    </a:lnTo>
                    <a:lnTo>
                      <a:pt x="1710" y="582"/>
                    </a:lnTo>
                    <a:lnTo>
                      <a:pt x="1716" y="588"/>
                    </a:lnTo>
                    <a:lnTo>
                      <a:pt x="1716" y="594"/>
                    </a:lnTo>
                    <a:lnTo>
                      <a:pt x="1698" y="594"/>
                    </a:lnTo>
                    <a:lnTo>
                      <a:pt x="1692" y="594"/>
                    </a:lnTo>
                    <a:lnTo>
                      <a:pt x="1656" y="594"/>
                    </a:lnTo>
                    <a:lnTo>
                      <a:pt x="1644" y="612"/>
                    </a:lnTo>
                    <a:lnTo>
                      <a:pt x="1626" y="606"/>
                    </a:lnTo>
                    <a:lnTo>
                      <a:pt x="1620" y="612"/>
                    </a:lnTo>
                    <a:lnTo>
                      <a:pt x="1590" y="630"/>
                    </a:lnTo>
                    <a:lnTo>
                      <a:pt x="1596" y="636"/>
                    </a:lnTo>
                    <a:lnTo>
                      <a:pt x="1596" y="642"/>
                    </a:lnTo>
                    <a:lnTo>
                      <a:pt x="1596" y="660"/>
                    </a:lnTo>
                    <a:lnTo>
                      <a:pt x="1608" y="666"/>
                    </a:lnTo>
                    <a:lnTo>
                      <a:pt x="1614" y="696"/>
                    </a:lnTo>
                    <a:lnTo>
                      <a:pt x="1614" y="702"/>
                    </a:lnTo>
                    <a:lnTo>
                      <a:pt x="1602" y="708"/>
                    </a:lnTo>
                    <a:lnTo>
                      <a:pt x="1626" y="720"/>
                    </a:lnTo>
                    <a:lnTo>
                      <a:pt x="1626" y="726"/>
                    </a:lnTo>
                    <a:lnTo>
                      <a:pt x="1626" y="732"/>
                    </a:lnTo>
                    <a:lnTo>
                      <a:pt x="1626" y="738"/>
                    </a:lnTo>
                    <a:lnTo>
                      <a:pt x="1632" y="744"/>
                    </a:lnTo>
                    <a:lnTo>
                      <a:pt x="1638" y="744"/>
                    </a:lnTo>
                    <a:lnTo>
                      <a:pt x="1638" y="762"/>
                    </a:lnTo>
                    <a:lnTo>
                      <a:pt x="1608" y="756"/>
                    </a:lnTo>
                    <a:lnTo>
                      <a:pt x="1584" y="750"/>
                    </a:lnTo>
                    <a:lnTo>
                      <a:pt x="1566" y="768"/>
                    </a:lnTo>
                    <a:lnTo>
                      <a:pt x="1560" y="762"/>
                    </a:lnTo>
                    <a:lnTo>
                      <a:pt x="1560" y="756"/>
                    </a:lnTo>
                    <a:lnTo>
                      <a:pt x="1554" y="750"/>
                    </a:lnTo>
                    <a:lnTo>
                      <a:pt x="1548" y="744"/>
                    </a:lnTo>
                    <a:lnTo>
                      <a:pt x="1560" y="774"/>
                    </a:lnTo>
                    <a:lnTo>
                      <a:pt x="1554" y="786"/>
                    </a:lnTo>
                    <a:lnTo>
                      <a:pt x="1536" y="780"/>
                    </a:lnTo>
                    <a:lnTo>
                      <a:pt x="1530" y="792"/>
                    </a:lnTo>
                    <a:lnTo>
                      <a:pt x="1518" y="804"/>
                    </a:lnTo>
                    <a:lnTo>
                      <a:pt x="1518" y="822"/>
                    </a:lnTo>
                    <a:lnTo>
                      <a:pt x="1512" y="828"/>
                    </a:lnTo>
                    <a:lnTo>
                      <a:pt x="1518" y="840"/>
                    </a:lnTo>
                    <a:lnTo>
                      <a:pt x="1518" y="858"/>
                    </a:lnTo>
                    <a:lnTo>
                      <a:pt x="1500" y="870"/>
                    </a:lnTo>
                    <a:lnTo>
                      <a:pt x="1494" y="888"/>
                    </a:lnTo>
                    <a:lnTo>
                      <a:pt x="1494" y="900"/>
                    </a:lnTo>
                    <a:lnTo>
                      <a:pt x="1488" y="900"/>
                    </a:lnTo>
                    <a:lnTo>
                      <a:pt x="1476" y="918"/>
                    </a:lnTo>
                    <a:lnTo>
                      <a:pt x="1470" y="936"/>
                    </a:lnTo>
                    <a:lnTo>
                      <a:pt x="1458" y="936"/>
                    </a:lnTo>
                    <a:lnTo>
                      <a:pt x="1458" y="954"/>
                    </a:lnTo>
                    <a:lnTo>
                      <a:pt x="1464" y="960"/>
                    </a:lnTo>
                    <a:lnTo>
                      <a:pt x="1476" y="966"/>
                    </a:lnTo>
                    <a:lnTo>
                      <a:pt x="1488" y="966"/>
                    </a:lnTo>
                    <a:lnTo>
                      <a:pt x="1506" y="966"/>
                    </a:lnTo>
                    <a:lnTo>
                      <a:pt x="1548" y="954"/>
                    </a:lnTo>
                    <a:lnTo>
                      <a:pt x="1554" y="960"/>
                    </a:lnTo>
                    <a:lnTo>
                      <a:pt x="1572" y="954"/>
                    </a:lnTo>
                    <a:lnTo>
                      <a:pt x="1596" y="954"/>
                    </a:lnTo>
                    <a:lnTo>
                      <a:pt x="1620" y="954"/>
                    </a:lnTo>
                    <a:lnTo>
                      <a:pt x="1626" y="972"/>
                    </a:lnTo>
                    <a:lnTo>
                      <a:pt x="1674" y="972"/>
                    </a:lnTo>
                    <a:lnTo>
                      <a:pt x="1674" y="978"/>
                    </a:lnTo>
                    <a:lnTo>
                      <a:pt x="1698" y="990"/>
                    </a:lnTo>
                    <a:lnTo>
                      <a:pt x="1704" y="1014"/>
                    </a:lnTo>
                    <a:lnTo>
                      <a:pt x="1710" y="1020"/>
                    </a:lnTo>
                    <a:lnTo>
                      <a:pt x="1722" y="1032"/>
                    </a:lnTo>
                    <a:lnTo>
                      <a:pt x="1722" y="1044"/>
                    </a:lnTo>
                    <a:lnTo>
                      <a:pt x="1698" y="1050"/>
                    </a:lnTo>
                    <a:lnTo>
                      <a:pt x="1692" y="1044"/>
                    </a:lnTo>
                    <a:lnTo>
                      <a:pt x="1686" y="1056"/>
                    </a:lnTo>
                    <a:lnTo>
                      <a:pt x="1656" y="1062"/>
                    </a:lnTo>
                    <a:lnTo>
                      <a:pt x="1656" y="1068"/>
                    </a:lnTo>
                    <a:lnTo>
                      <a:pt x="1656" y="1074"/>
                    </a:lnTo>
                    <a:lnTo>
                      <a:pt x="1644" y="1086"/>
                    </a:lnTo>
                    <a:lnTo>
                      <a:pt x="1668" y="1092"/>
                    </a:lnTo>
                    <a:lnTo>
                      <a:pt x="1680" y="1086"/>
                    </a:lnTo>
                    <a:lnTo>
                      <a:pt x="1686" y="1086"/>
                    </a:lnTo>
                    <a:lnTo>
                      <a:pt x="1692" y="1086"/>
                    </a:lnTo>
                    <a:lnTo>
                      <a:pt x="1692" y="1104"/>
                    </a:lnTo>
                    <a:lnTo>
                      <a:pt x="1722" y="1116"/>
                    </a:lnTo>
                    <a:lnTo>
                      <a:pt x="1734" y="1116"/>
                    </a:lnTo>
                    <a:lnTo>
                      <a:pt x="1734" y="1122"/>
                    </a:lnTo>
                    <a:lnTo>
                      <a:pt x="1728" y="1122"/>
                    </a:lnTo>
                    <a:lnTo>
                      <a:pt x="1716" y="1140"/>
                    </a:lnTo>
                    <a:lnTo>
                      <a:pt x="1716" y="1146"/>
                    </a:lnTo>
                    <a:lnTo>
                      <a:pt x="1722" y="1152"/>
                    </a:lnTo>
                    <a:lnTo>
                      <a:pt x="1722" y="1158"/>
                    </a:lnTo>
                    <a:lnTo>
                      <a:pt x="1716" y="1158"/>
                    </a:lnTo>
                    <a:lnTo>
                      <a:pt x="1716" y="1152"/>
                    </a:lnTo>
                    <a:lnTo>
                      <a:pt x="1716" y="1158"/>
                    </a:lnTo>
                    <a:lnTo>
                      <a:pt x="1716" y="1152"/>
                    </a:lnTo>
                    <a:lnTo>
                      <a:pt x="1710" y="1152"/>
                    </a:lnTo>
                    <a:lnTo>
                      <a:pt x="1710" y="1158"/>
                    </a:lnTo>
                    <a:lnTo>
                      <a:pt x="1704" y="1158"/>
                    </a:lnTo>
                    <a:lnTo>
                      <a:pt x="1704" y="1152"/>
                    </a:lnTo>
                    <a:lnTo>
                      <a:pt x="1698" y="1152"/>
                    </a:lnTo>
                    <a:lnTo>
                      <a:pt x="1698" y="1158"/>
                    </a:lnTo>
                    <a:lnTo>
                      <a:pt x="1692" y="1158"/>
                    </a:lnTo>
                    <a:lnTo>
                      <a:pt x="1698" y="1158"/>
                    </a:lnTo>
                    <a:lnTo>
                      <a:pt x="1692" y="1158"/>
                    </a:lnTo>
                    <a:lnTo>
                      <a:pt x="1692" y="1164"/>
                    </a:lnTo>
                    <a:lnTo>
                      <a:pt x="1686" y="1164"/>
                    </a:lnTo>
                    <a:lnTo>
                      <a:pt x="1680" y="1164"/>
                    </a:lnTo>
                    <a:lnTo>
                      <a:pt x="1674" y="1164"/>
                    </a:lnTo>
                    <a:lnTo>
                      <a:pt x="1668" y="1164"/>
                    </a:lnTo>
                    <a:lnTo>
                      <a:pt x="1662" y="1164"/>
                    </a:lnTo>
                    <a:lnTo>
                      <a:pt x="1662" y="1170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0" y="1176"/>
                    </a:lnTo>
                    <a:lnTo>
                      <a:pt x="1650" y="1170"/>
                    </a:lnTo>
                    <a:lnTo>
                      <a:pt x="1656" y="1170"/>
                    </a:lnTo>
                    <a:lnTo>
                      <a:pt x="1650" y="1170"/>
                    </a:lnTo>
                    <a:lnTo>
                      <a:pt x="1656" y="1170"/>
                    </a:lnTo>
                    <a:lnTo>
                      <a:pt x="1656" y="1164"/>
                    </a:lnTo>
                    <a:lnTo>
                      <a:pt x="1656" y="1158"/>
                    </a:lnTo>
                    <a:lnTo>
                      <a:pt x="1656" y="1164"/>
                    </a:lnTo>
                    <a:lnTo>
                      <a:pt x="1650" y="1164"/>
                    </a:lnTo>
                    <a:lnTo>
                      <a:pt x="1650" y="1170"/>
                    </a:lnTo>
                    <a:lnTo>
                      <a:pt x="1650" y="1164"/>
                    </a:lnTo>
                    <a:lnTo>
                      <a:pt x="1650" y="1170"/>
                    </a:lnTo>
                    <a:lnTo>
                      <a:pt x="1650" y="1176"/>
                    </a:lnTo>
                    <a:lnTo>
                      <a:pt x="1644" y="1176"/>
                    </a:lnTo>
                    <a:lnTo>
                      <a:pt x="1650" y="1176"/>
                    </a:lnTo>
                    <a:lnTo>
                      <a:pt x="1650" y="1182"/>
                    </a:lnTo>
                    <a:lnTo>
                      <a:pt x="1644" y="1182"/>
                    </a:lnTo>
                    <a:lnTo>
                      <a:pt x="1650" y="1182"/>
                    </a:lnTo>
                    <a:lnTo>
                      <a:pt x="1650" y="1188"/>
                    </a:lnTo>
                    <a:lnTo>
                      <a:pt x="1644" y="1188"/>
                    </a:lnTo>
                    <a:lnTo>
                      <a:pt x="1644" y="1194"/>
                    </a:lnTo>
                    <a:lnTo>
                      <a:pt x="1650" y="1194"/>
                    </a:lnTo>
                    <a:lnTo>
                      <a:pt x="1656" y="1194"/>
                    </a:lnTo>
                    <a:lnTo>
                      <a:pt x="1656" y="1200"/>
                    </a:lnTo>
                    <a:lnTo>
                      <a:pt x="1650" y="1200"/>
                    </a:lnTo>
                    <a:lnTo>
                      <a:pt x="1650" y="1194"/>
                    </a:lnTo>
                    <a:lnTo>
                      <a:pt x="1644" y="1194"/>
                    </a:lnTo>
                    <a:lnTo>
                      <a:pt x="1644" y="1200"/>
                    </a:lnTo>
                    <a:lnTo>
                      <a:pt x="1638" y="1200"/>
                    </a:lnTo>
                    <a:lnTo>
                      <a:pt x="1638" y="1194"/>
                    </a:lnTo>
                    <a:lnTo>
                      <a:pt x="1638" y="1200"/>
                    </a:lnTo>
                    <a:lnTo>
                      <a:pt x="1632" y="1200"/>
                    </a:lnTo>
                    <a:lnTo>
                      <a:pt x="1632" y="1194"/>
                    </a:lnTo>
                    <a:lnTo>
                      <a:pt x="1632" y="1200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6" y="1200"/>
                    </a:lnTo>
                    <a:lnTo>
                      <a:pt x="1626" y="1194"/>
                    </a:lnTo>
                    <a:lnTo>
                      <a:pt x="1620" y="1194"/>
                    </a:lnTo>
                    <a:lnTo>
                      <a:pt x="1614" y="1194"/>
                    </a:lnTo>
                    <a:lnTo>
                      <a:pt x="1608" y="1194"/>
                    </a:lnTo>
                    <a:lnTo>
                      <a:pt x="1602" y="1194"/>
                    </a:lnTo>
                    <a:lnTo>
                      <a:pt x="1596" y="1194"/>
                    </a:lnTo>
                    <a:lnTo>
                      <a:pt x="1590" y="1194"/>
                    </a:lnTo>
                    <a:lnTo>
                      <a:pt x="1584" y="1194"/>
                    </a:lnTo>
                    <a:lnTo>
                      <a:pt x="1578" y="1194"/>
                    </a:lnTo>
                    <a:lnTo>
                      <a:pt x="1578" y="1188"/>
                    </a:lnTo>
                    <a:lnTo>
                      <a:pt x="1572" y="1188"/>
                    </a:lnTo>
                    <a:lnTo>
                      <a:pt x="1572" y="1194"/>
                    </a:lnTo>
                    <a:lnTo>
                      <a:pt x="1572" y="1188"/>
                    </a:lnTo>
                    <a:lnTo>
                      <a:pt x="1566" y="1194"/>
                    </a:lnTo>
                    <a:lnTo>
                      <a:pt x="1560" y="1194"/>
                    </a:lnTo>
                    <a:lnTo>
                      <a:pt x="1560" y="1188"/>
                    </a:lnTo>
                    <a:lnTo>
                      <a:pt x="1554" y="1188"/>
                    </a:lnTo>
                    <a:lnTo>
                      <a:pt x="1554" y="1182"/>
                    </a:lnTo>
                    <a:lnTo>
                      <a:pt x="1554" y="1188"/>
                    </a:lnTo>
                    <a:lnTo>
                      <a:pt x="1554" y="1182"/>
                    </a:lnTo>
                    <a:lnTo>
                      <a:pt x="1560" y="1182"/>
                    </a:lnTo>
                    <a:lnTo>
                      <a:pt x="1560" y="1188"/>
                    </a:lnTo>
                    <a:lnTo>
                      <a:pt x="1560" y="1182"/>
                    </a:lnTo>
                    <a:lnTo>
                      <a:pt x="1560" y="1176"/>
                    </a:lnTo>
                    <a:lnTo>
                      <a:pt x="1554" y="1176"/>
                    </a:lnTo>
                    <a:lnTo>
                      <a:pt x="1548" y="1176"/>
                    </a:lnTo>
                    <a:lnTo>
                      <a:pt x="1542" y="1176"/>
                    </a:lnTo>
                    <a:lnTo>
                      <a:pt x="1536" y="1176"/>
                    </a:lnTo>
                    <a:lnTo>
                      <a:pt x="1536" y="1170"/>
                    </a:lnTo>
                    <a:lnTo>
                      <a:pt x="1542" y="1170"/>
                    </a:lnTo>
                    <a:lnTo>
                      <a:pt x="1536" y="1170"/>
                    </a:lnTo>
                    <a:lnTo>
                      <a:pt x="1536" y="1176"/>
                    </a:lnTo>
                    <a:lnTo>
                      <a:pt x="1542" y="1176"/>
                    </a:lnTo>
                    <a:lnTo>
                      <a:pt x="1542" y="1182"/>
                    </a:lnTo>
                    <a:lnTo>
                      <a:pt x="1548" y="1182"/>
                    </a:lnTo>
                    <a:lnTo>
                      <a:pt x="1548" y="1176"/>
                    </a:lnTo>
                    <a:lnTo>
                      <a:pt x="1554" y="1176"/>
                    </a:lnTo>
                    <a:lnTo>
                      <a:pt x="1554" y="1182"/>
                    </a:lnTo>
                    <a:lnTo>
                      <a:pt x="1548" y="1182"/>
                    </a:lnTo>
                    <a:lnTo>
                      <a:pt x="1554" y="1182"/>
                    </a:lnTo>
                    <a:lnTo>
                      <a:pt x="1554" y="1188"/>
                    </a:lnTo>
                    <a:lnTo>
                      <a:pt x="1560" y="1188"/>
                    </a:lnTo>
                    <a:lnTo>
                      <a:pt x="1560" y="1194"/>
                    </a:lnTo>
                    <a:lnTo>
                      <a:pt x="1554" y="1194"/>
                    </a:lnTo>
                    <a:lnTo>
                      <a:pt x="1560" y="1194"/>
                    </a:lnTo>
                    <a:lnTo>
                      <a:pt x="1554" y="1194"/>
                    </a:lnTo>
                    <a:lnTo>
                      <a:pt x="1554" y="1188"/>
                    </a:lnTo>
                    <a:lnTo>
                      <a:pt x="1548" y="1188"/>
                    </a:lnTo>
                    <a:lnTo>
                      <a:pt x="1542" y="1188"/>
                    </a:lnTo>
                    <a:lnTo>
                      <a:pt x="1536" y="1188"/>
                    </a:lnTo>
                    <a:lnTo>
                      <a:pt x="1536" y="1194"/>
                    </a:lnTo>
                    <a:lnTo>
                      <a:pt x="1530" y="1194"/>
                    </a:lnTo>
                    <a:lnTo>
                      <a:pt x="1530" y="1188"/>
                    </a:lnTo>
                    <a:lnTo>
                      <a:pt x="1524" y="1188"/>
                    </a:lnTo>
                    <a:lnTo>
                      <a:pt x="1530" y="1188"/>
                    </a:lnTo>
                    <a:lnTo>
                      <a:pt x="1524" y="1188"/>
                    </a:lnTo>
                    <a:lnTo>
                      <a:pt x="1518" y="1188"/>
                    </a:lnTo>
                    <a:lnTo>
                      <a:pt x="1512" y="1188"/>
                    </a:lnTo>
                    <a:lnTo>
                      <a:pt x="1512" y="1182"/>
                    </a:lnTo>
                    <a:lnTo>
                      <a:pt x="1506" y="1182"/>
                    </a:lnTo>
                    <a:lnTo>
                      <a:pt x="1500" y="1182"/>
                    </a:lnTo>
                    <a:lnTo>
                      <a:pt x="1494" y="1182"/>
                    </a:lnTo>
                    <a:lnTo>
                      <a:pt x="1494" y="1176"/>
                    </a:lnTo>
                    <a:lnTo>
                      <a:pt x="1488" y="1176"/>
                    </a:lnTo>
                    <a:lnTo>
                      <a:pt x="1482" y="1176"/>
                    </a:lnTo>
                    <a:lnTo>
                      <a:pt x="1488" y="1176"/>
                    </a:lnTo>
                    <a:lnTo>
                      <a:pt x="1488" y="1170"/>
                    </a:lnTo>
                    <a:lnTo>
                      <a:pt x="1482" y="1170"/>
                    </a:lnTo>
                    <a:lnTo>
                      <a:pt x="1476" y="1170"/>
                    </a:lnTo>
                    <a:lnTo>
                      <a:pt x="1482" y="1170"/>
                    </a:lnTo>
                    <a:lnTo>
                      <a:pt x="1482" y="1176"/>
                    </a:lnTo>
                    <a:lnTo>
                      <a:pt x="1488" y="1176"/>
                    </a:lnTo>
                    <a:lnTo>
                      <a:pt x="1482" y="1176"/>
                    </a:lnTo>
                    <a:lnTo>
                      <a:pt x="1476" y="1176"/>
                    </a:lnTo>
                    <a:lnTo>
                      <a:pt x="1470" y="1176"/>
                    </a:lnTo>
                    <a:lnTo>
                      <a:pt x="1464" y="1176"/>
                    </a:lnTo>
                    <a:lnTo>
                      <a:pt x="1464" y="1170"/>
                    </a:lnTo>
                    <a:lnTo>
                      <a:pt x="1458" y="1170"/>
                    </a:lnTo>
                    <a:lnTo>
                      <a:pt x="1452" y="1170"/>
                    </a:lnTo>
                    <a:lnTo>
                      <a:pt x="1446" y="1170"/>
                    </a:lnTo>
                    <a:lnTo>
                      <a:pt x="1440" y="1170"/>
                    </a:lnTo>
                    <a:lnTo>
                      <a:pt x="1440" y="1164"/>
                    </a:lnTo>
                    <a:lnTo>
                      <a:pt x="1434" y="1164"/>
                    </a:lnTo>
                    <a:lnTo>
                      <a:pt x="1428" y="1164"/>
                    </a:lnTo>
                    <a:lnTo>
                      <a:pt x="1422" y="1164"/>
                    </a:lnTo>
                    <a:lnTo>
                      <a:pt x="1428" y="1164"/>
                    </a:lnTo>
                    <a:lnTo>
                      <a:pt x="1422" y="1164"/>
                    </a:lnTo>
                    <a:lnTo>
                      <a:pt x="1416" y="1164"/>
                    </a:lnTo>
                    <a:lnTo>
                      <a:pt x="1416" y="1170"/>
                    </a:lnTo>
                    <a:lnTo>
                      <a:pt x="1410" y="1170"/>
                    </a:lnTo>
                    <a:lnTo>
                      <a:pt x="1410" y="1176"/>
                    </a:lnTo>
                    <a:lnTo>
                      <a:pt x="1404" y="1176"/>
                    </a:lnTo>
                    <a:lnTo>
                      <a:pt x="1398" y="1176"/>
                    </a:lnTo>
                    <a:lnTo>
                      <a:pt x="1398" y="1182"/>
                    </a:lnTo>
                    <a:lnTo>
                      <a:pt x="1392" y="1182"/>
                    </a:lnTo>
                    <a:lnTo>
                      <a:pt x="1386" y="1182"/>
                    </a:lnTo>
                    <a:lnTo>
                      <a:pt x="1386" y="1188"/>
                    </a:lnTo>
                    <a:lnTo>
                      <a:pt x="1380" y="1188"/>
                    </a:lnTo>
                    <a:lnTo>
                      <a:pt x="1374" y="1188"/>
                    </a:lnTo>
                    <a:lnTo>
                      <a:pt x="1368" y="1188"/>
                    </a:lnTo>
                    <a:lnTo>
                      <a:pt x="1362" y="1188"/>
                    </a:lnTo>
                    <a:lnTo>
                      <a:pt x="1356" y="1188"/>
                    </a:lnTo>
                    <a:lnTo>
                      <a:pt x="1350" y="1188"/>
                    </a:lnTo>
                    <a:lnTo>
                      <a:pt x="1350" y="1182"/>
                    </a:lnTo>
                    <a:lnTo>
                      <a:pt x="1344" y="1182"/>
                    </a:lnTo>
                    <a:lnTo>
                      <a:pt x="1338" y="1188"/>
                    </a:lnTo>
                    <a:lnTo>
                      <a:pt x="1332" y="1188"/>
                    </a:lnTo>
                    <a:lnTo>
                      <a:pt x="1326" y="1188"/>
                    </a:lnTo>
                    <a:lnTo>
                      <a:pt x="1320" y="1188"/>
                    </a:lnTo>
                    <a:lnTo>
                      <a:pt x="1314" y="1188"/>
                    </a:lnTo>
                    <a:lnTo>
                      <a:pt x="1314" y="1194"/>
                    </a:lnTo>
                    <a:lnTo>
                      <a:pt x="1308" y="1194"/>
                    </a:lnTo>
                    <a:lnTo>
                      <a:pt x="1302" y="1194"/>
                    </a:lnTo>
                    <a:lnTo>
                      <a:pt x="1302" y="1200"/>
                    </a:lnTo>
                    <a:lnTo>
                      <a:pt x="1296" y="1200"/>
                    </a:lnTo>
                    <a:lnTo>
                      <a:pt x="1302" y="1200"/>
                    </a:lnTo>
                    <a:lnTo>
                      <a:pt x="1302" y="1206"/>
                    </a:lnTo>
                    <a:lnTo>
                      <a:pt x="1296" y="1206"/>
                    </a:lnTo>
                    <a:lnTo>
                      <a:pt x="1296" y="1212"/>
                    </a:lnTo>
                    <a:lnTo>
                      <a:pt x="1290" y="1212"/>
                    </a:lnTo>
                    <a:lnTo>
                      <a:pt x="1290" y="1218"/>
                    </a:lnTo>
                    <a:lnTo>
                      <a:pt x="1290" y="1224"/>
                    </a:lnTo>
                    <a:lnTo>
                      <a:pt x="1296" y="1224"/>
                    </a:lnTo>
                    <a:lnTo>
                      <a:pt x="1296" y="1230"/>
                    </a:lnTo>
                    <a:lnTo>
                      <a:pt x="1296" y="1224"/>
                    </a:lnTo>
                    <a:lnTo>
                      <a:pt x="1296" y="1230"/>
                    </a:lnTo>
                    <a:lnTo>
                      <a:pt x="1302" y="1230"/>
                    </a:lnTo>
                    <a:lnTo>
                      <a:pt x="1308" y="1230"/>
                    </a:lnTo>
                    <a:lnTo>
                      <a:pt x="1302" y="1230"/>
                    </a:lnTo>
                    <a:lnTo>
                      <a:pt x="1302" y="1236"/>
                    </a:lnTo>
                    <a:lnTo>
                      <a:pt x="1296" y="1236"/>
                    </a:lnTo>
                    <a:lnTo>
                      <a:pt x="1290" y="1236"/>
                    </a:lnTo>
                    <a:lnTo>
                      <a:pt x="1290" y="1242"/>
                    </a:lnTo>
                    <a:lnTo>
                      <a:pt x="1284" y="1242"/>
                    </a:lnTo>
                    <a:lnTo>
                      <a:pt x="1284" y="1236"/>
                    </a:lnTo>
                    <a:lnTo>
                      <a:pt x="1278" y="1236"/>
                    </a:lnTo>
                    <a:lnTo>
                      <a:pt x="1278" y="1242"/>
                    </a:lnTo>
                    <a:lnTo>
                      <a:pt x="1278" y="1236"/>
                    </a:lnTo>
                    <a:lnTo>
                      <a:pt x="1272" y="1236"/>
                    </a:lnTo>
                    <a:lnTo>
                      <a:pt x="1272" y="1242"/>
                    </a:lnTo>
                    <a:lnTo>
                      <a:pt x="1266" y="1242"/>
                    </a:lnTo>
                    <a:lnTo>
                      <a:pt x="1260" y="1242"/>
                    </a:lnTo>
                    <a:lnTo>
                      <a:pt x="1254" y="1242"/>
                    </a:lnTo>
                    <a:lnTo>
                      <a:pt x="1254" y="1248"/>
                    </a:lnTo>
                    <a:lnTo>
                      <a:pt x="1248" y="1248"/>
                    </a:lnTo>
                    <a:lnTo>
                      <a:pt x="1242" y="1248"/>
                    </a:lnTo>
                    <a:lnTo>
                      <a:pt x="1242" y="1254"/>
                    </a:lnTo>
                    <a:lnTo>
                      <a:pt x="1242" y="1260"/>
                    </a:lnTo>
                    <a:lnTo>
                      <a:pt x="1236" y="1260"/>
                    </a:lnTo>
                    <a:lnTo>
                      <a:pt x="1236" y="1266"/>
                    </a:lnTo>
                    <a:lnTo>
                      <a:pt x="1242" y="1266"/>
                    </a:lnTo>
                    <a:lnTo>
                      <a:pt x="1242" y="1272"/>
                    </a:lnTo>
                    <a:lnTo>
                      <a:pt x="1242" y="1266"/>
                    </a:lnTo>
                    <a:lnTo>
                      <a:pt x="1242" y="1272"/>
                    </a:lnTo>
                    <a:lnTo>
                      <a:pt x="1248" y="1272"/>
                    </a:lnTo>
                    <a:lnTo>
                      <a:pt x="1242" y="1272"/>
                    </a:lnTo>
                    <a:lnTo>
                      <a:pt x="1242" y="1278"/>
                    </a:lnTo>
                    <a:lnTo>
                      <a:pt x="1236" y="1278"/>
                    </a:lnTo>
                    <a:lnTo>
                      <a:pt x="1236" y="1284"/>
                    </a:lnTo>
                    <a:lnTo>
                      <a:pt x="1230" y="1284"/>
                    </a:lnTo>
                    <a:lnTo>
                      <a:pt x="1230" y="1290"/>
                    </a:lnTo>
                    <a:lnTo>
                      <a:pt x="1230" y="1284"/>
                    </a:lnTo>
                    <a:lnTo>
                      <a:pt x="1224" y="1284"/>
                    </a:lnTo>
                    <a:lnTo>
                      <a:pt x="1230" y="1284"/>
                    </a:lnTo>
                    <a:lnTo>
                      <a:pt x="1230" y="1290"/>
                    </a:lnTo>
                    <a:lnTo>
                      <a:pt x="1224" y="1290"/>
                    </a:lnTo>
                    <a:lnTo>
                      <a:pt x="1224" y="1296"/>
                    </a:lnTo>
                    <a:lnTo>
                      <a:pt x="1218" y="1296"/>
                    </a:lnTo>
                    <a:lnTo>
                      <a:pt x="1212" y="1296"/>
                    </a:lnTo>
                    <a:lnTo>
                      <a:pt x="1212" y="1302"/>
                    </a:lnTo>
                    <a:lnTo>
                      <a:pt x="1206" y="1302"/>
                    </a:lnTo>
                    <a:lnTo>
                      <a:pt x="1200" y="1302"/>
                    </a:lnTo>
                    <a:lnTo>
                      <a:pt x="1194" y="1302"/>
                    </a:lnTo>
                    <a:lnTo>
                      <a:pt x="1188" y="1302"/>
                    </a:lnTo>
                    <a:lnTo>
                      <a:pt x="1188" y="1308"/>
                    </a:lnTo>
                    <a:lnTo>
                      <a:pt x="1188" y="1302"/>
                    </a:lnTo>
                    <a:lnTo>
                      <a:pt x="1182" y="1302"/>
                    </a:lnTo>
                    <a:lnTo>
                      <a:pt x="1182" y="1308"/>
                    </a:lnTo>
                    <a:lnTo>
                      <a:pt x="1182" y="1302"/>
                    </a:lnTo>
                    <a:lnTo>
                      <a:pt x="1182" y="1308"/>
                    </a:lnTo>
                    <a:lnTo>
                      <a:pt x="1176" y="1308"/>
                    </a:lnTo>
                    <a:lnTo>
                      <a:pt x="1176" y="1302"/>
                    </a:lnTo>
                    <a:lnTo>
                      <a:pt x="1170" y="1302"/>
                    </a:lnTo>
                    <a:lnTo>
                      <a:pt x="1164" y="1302"/>
                    </a:lnTo>
                    <a:lnTo>
                      <a:pt x="1158" y="1302"/>
                    </a:lnTo>
                    <a:lnTo>
                      <a:pt x="1152" y="1302"/>
                    </a:lnTo>
                    <a:lnTo>
                      <a:pt x="1152" y="1296"/>
                    </a:lnTo>
                    <a:lnTo>
                      <a:pt x="1146" y="1296"/>
                    </a:lnTo>
                    <a:lnTo>
                      <a:pt x="1140" y="1296"/>
                    </a:lnTo>
                    <a:lnTo>
                      <a:pt x="1134" y="1296"/>
                    </a:lnTo>
                    <a:lnTo>
                      <a:pt x="1128" y="1296"/>
                    </a:lnTo>
                    <a:lnTo>
                      <a:pt x="1122" y="1296"/>
                    </a:lnTo>
                    <a:lnTo>
                      <a:pt x="1116" y="1296"/>
                    </a:lnTo>
                    <a:lnTo>
                      <a:pt x="1110" y="1296"/>
                    </a:lnTo>
                    <a:lnTo>
                      <a:pt x="1104" y="1296"/>
                    </a:lnTo>
                    <a:lnTo>
                      <a:pt x="1104" y="1302"/>
                    </a:lnTo>
                    <a:lnTo>
                      <a:pt x="1098" y="1302"/>
                    </a:lnTo>
                    <a:lnTo>
                      <a:pt x="1104" y="1302"/>
                    </a:lnTo>
                    <a:lnTo>
                      <a:pt x="1098" y="1302"/>
                    </a:lnTo>
                    <a:lnTo>
                      <a:pt x="1098" y="1296"/>
                    </a:lnTo>
                    <a:lnTo>
                      <a:pt x="1098" y="1302"/>
                    </a:lnTo>
                    <a:lnTo>
                      <a:pt x="1104" y="1302"/>
                    </a:lnTo>
                    <a:lnTo>
                      <a:pt x="1104" y="1308"/>
                    </a:lnTo>
                    <a:lnTo>
                      <a:pt x="1098" y="1308"/>
                    </a:lnTo>
                    <a:lnTo>
                      <a:pt x="1098" y="1314"/>
                    </a:lnTo>
                    <a:lnTo>
                      <a:pt x="1092" y="1314"/>
                    </a:lnTo>
                    <a:lnTo>
                      <a:pt x="1086" y="1314"/>
                    </a:lnTo>
                    <a:lnTo>
                      <a:pt x="1092" y="1314"/>
                    </a:lnTo>
                    <a:lnTo>
                      <a:pt x="1086" y="1314"/>
                    </a:lnTo>
                    <a:lnTo>
                      <a:pt x="1086" y="1320"/>
                    </a:lnTo>
                    <a:lnTo>
                      <a:pt x="1086" y="1314"/>
                    </a:lnTo>
                    <a:lnTo>
                      <a:pt x="1080" y="1314"/>
                    </a:lnTo>
                    <a:lnTo>
                      <a:pt x="1080" y="1320"/>
                    </a:lnTo>
                    <a:lnTo>
                      <a:pt x="1074" y="1320"/>
                    </a:lnTo>
                    <a:lnTo>
                      <a:pt x="1074" y="1326"/>
                    </a:lnTo>
                    <a:lnTo>
                      <a:pt x="1068" y="1326"/>
                    </a:lnTo>
                    <a:lnTo>
                      <a:pt x="1062" y="1326"/>
                    </a:lnTo>
                    <a:lnTo>
                      <a:pt x="1062" y="1320"/>
                    </a:lnTo>
                    <a:lnTo>
                      <a:pt x="1056" y="1320"/>
                    </a:lnTo>
                    <a:lnTo>
                      <a:pt x="1050" y="1320"/>
                    </a:lnTo>
                    <a:lnTo>
                      <a:pt x="1050" y="1314"/>
                    </a:lnTo>
                    <a:lnTo>
                      <a:pt x="1050" y="1320"/>
                    </a:lnTo>
                    <a:lnTo>
                      <a:pt x="1044" y="1320"/>
                    </a:lnTo>
                    <a:lnTo>
                      <a:pt x="1044" y="1314"/>
                    </a:lnTo>
                    <a:lnTo>
                      <a:pt x="1044" y="1320"/>
                    </a:lnTo>
                    <a:lnTo>
                      <a:pt x="1044" y="1314"/>
                    </a:lnTo>
                    <a:lnTo>
                      <a:pt x="1038" y="1314"/>
                    </a:lnTo>
                    <a:lnTo>
                      <a:pt x="1032" y="1314"/>
                    </a:lnTo>
                    <a:lnTo>
                      <a:pt x="1032" y="1308"/>
                    </a:lnTo>
                    <a:lnTo>
                      <a:pt x="1026" y="1308"/>
                    </a:lnTo>
                    <a:lnTo>
                      <a:pt x="1020" y="1308"/>
                    </a:lnTo>
                    <a:lnTo>
                      <a:pt x="1014" y="1308"/>
                    </a:lnTo>
                    <a:lnTo>
                      <a:pt x="1014" y="1302"/>
                    </a:lnTo>
                    <a:lnTo>
                      <a:pt x="1008" y="1302"/>
                    </a:lnTo>
                    <a:lnTo>
                      <a:pt x="1002" y="1302"/>
                    </a:lnTo>
                    <a:lnTo>
                      <a:pt x="996" y="1302"/>
                    </a:lnTo>
                    <a:lnTo>
                      <a:pt x="990" y="1302"/>
                    </a:lnTo>
                    <a:lnTo>
                      <a:pt x="984" y="1302"/>
                    </a:lnTo>
                    <a:lnTo>
                      <a:pt x="984" y="1296"/>
                    </a:lnTo>
                    <a:lnTo>
                      <a:pt x="984" y="1302"/>
                    </a:lnTo>
                    <a:lnTo>
                      <a:pt x="978" y="1302"/>
                    </a:lnTo>
                    <a:lnTo>
                      <a:pt x="972" y="1302"/>
                    </a:lnTo>
                    <a:lnTo>
                      <a:pt x="966" y="1302"/>
                    </a:lnTo>
                    <a:lnTo>
                      <a:pt x="960" y="1302"/>
                    </a:lnTo>
                    <a:lnTo>
                      <a:pt x="954" y="1302"/>
                    </a:lnTo>
                    <a:lnTo>
                      <a:pt x="960" y="1302"/>
                    </a:lnTo>
                    <a:lnTo>
                      <a:pt x="954" y="1302"/>
                    </a:lnTo>
                    <a:lnTo>
                      <a:pt x="954" y="1308"/>
                    </a:lnTo>
                    <a:lnTo>
                      <a:pt x="948" y="1308"/>
                    </a:lnTo>
                    <a:lnTo>
                      <a:pt x="948" y="1314"/>
                    </a:lnTo>
                    <a:lnTo>
                      <a:pt x="942" y="1314"/>
                    </a:lnTo>
                    <a:lnTo>
                      <a:pt x="942" y="1320"/>
                    </a:lnTo>
                    <a:lnTo>
                      <a:pt x="942" y="1326"/>
                    </a:lnTo>
                    <a:lnTo>
                      <a:pt x="948" y="1326"/>
                    </a:lnTo>
                    <a:lnTo>
                      <a:pt x="948" y="1332"/>
                    </a:lnTo>
                    <a:lnTo>
                      <a:pt x="948" y="1338"/>
                    </a:lnTo>
                    <a:lnTo>
                      <a:pt x="942" y="1338"/>
                    </a:lnTo>
                    <a:lnTo>
                      <a:pt x="936" y="1338"/>
                    </a:lnTo>
                    <a:lnTo>
                      <a:pt x="930" y="1338"/>
                    </a:lnTo>
                    <a:lnTo>
                      <a:pt x="924" y="1338"/>
                    </a:lnTo>
                    <a:lnTo>
                      <a:pt x="918" y="1338"/>
                    </a:lnTo>
                    <a:lnTo>
                      <a:pt x="912" y="1338"/>
                    </a:lnTo>
                    <a:lnTo>
                      <a:pt x="912" y="1332"/>
                    </a:lnTo>
                    <a:lnTo>
                      <a:pt x="912" y="1338"/>
                    </a:lnTo>
                    <a:lnTo>
                      <a:pt x="912" y="1332"/>
                    </a:lnTo>
                    <a:lnTo>
                      <a:pt x="906" y="1332"/>
                    </a:lnTo>
                    <a:lnTo>
                      <a:pt x="900" y="1332"/>
                    </a:lnTo>
                    <a:lnTo>
                      <a:pt x="894" y="1332"/>
                    </a:lnTo>
                    <a:lnTo>
                      <a:pt x="888" y="1332"/>
                    </a:lnTo>
                    <a:lnTo>
                      <a:pt x="882" y="1332"/>
                    </a:lnTo>
                    <a:lnTo>
                      <a:pt x="876" y="1332"/>
                    </a:lnTo>
                    <a:lnTo>
                      <a:pt x="876" y="1338"/>
                    </a:lnTo>
                    <a:lnTo>
                      <a:pt x="870" y="1338"/>
                    </a:lnTo>
                    <a:lnTo>
                      <a:pt x="864" y="1338"/>
                    </a:lnTo>
                    <a:lnTo>
                      <a:pt x="858" y="1338"/>
                    </a:lnTo>
                    <a:lnTo>
                      <a:pt x="852" y="1338"/>
                    </a:lnTo>
                    <a:lnTo>
                      <a:pt x="852" y="1344"/>
                    </a:lnTo>
                    <a:lnTo>
                      <a:pt x="846" y="1344"/>
                    </a:lnTo>
                    <a:lnTo>
                      <a:pt x="840" y="1344"/>
                    </a:lnTo>
                    <a:lnTo>
                      <a:pt x="840" y="1350"/>
                    </a:lnTo>
                    <a:lnTo>
                      <a:pt x="834" y="1350"/>
                    </a:lnTo>
                    <a:lnTo>
                      <a:pt x="834" y="1356"/>
                    </a:lnTo>
                    <a:lnTo>
                      <a:pt x="828" y="1356"/>
                    </a:lnTo>
                    <a:lnTo>
                      <a:pt x="828" y="1362"/>
                    </a:lnTo>
                    <a:lnTo>
                      <a:pt x="822" y="1362"/>
                    </a:lnTo>
                    <a:lnTo>
                      <a:pt x="822" y="1368"/>
                    </a:lnTo>
                    <a:lnTo>
                      <a:pt x="822" y="1374"/>
                    </a:lnTo>
                    <a:lnTo>
                      <a:pt x="816" y="1374"/>
                    </a:lnTo>
                    <a:lnTo>
                      <a:pt x="816" y="1380"/>
                    </a:lnTo>
                    <a:lnTo>
                      <a:pt x="816" y="1374"/>
                    </a:lnTo>
                    <a:lnTo>
                      <a:pt x="816" y="1380"/>
                    </a:lnTo>
                    <a:lnTo>
                      <a:pt x="810" y="1380"/>
                    </a:lnTo>
                    <a:lnTo>
                      <a:pt x="804" y="1380"/>
                    </a:lnTo>
                    <a:lnTo>
                      <a:pt x="804" y="1386"/>
                    </a:lnTo>
                    <a:lnTo>
                      <a:pt x="798" y="1386"/>
                    </a:lnTo>
                    <a:lnTo>
                      <a:pt x="798" y="1392"/>
                    </a:lnTo>
                    <a:lnTo>
                      <a:pt x="792" y="1392"/>
                    </a:lnTo>
                    <a:lnTo>
                      <a:pt x="792" y="1398"/>
                    </a:lnTo>
                    <a:lnTo>
                      <a:pt x="786" y="1398"/>
                    </a:lnTo>
                    <a:lnTo>
                      <a:pt x="780" y="1398"/>
                    </a:lnTo>
                    <a:lnTo>
                      <a:pt x="780" y="1404"/>
                    </a:lnTo>
                    <a:lnTo>
                      <a:pt x="774" y="1404"/>
                    </a:lnTo>
                    <a:lnTo>
                      <a:pt x="774" y="1410"/>
                    </a:lnTo>
                    <a:lnTo>
                      <a:pt x="774" y="1416"/>
                    </a:lnTo>
                    <a:lnTo>
                      <a:pt x="768" y="1416"/>
                    </a:lnTo>
                    <a:lnTo>
                      <a:pt x="768" y="1422"/>
                    </a:lnTo>
                    <a:lnTo>
                      <a:pt x="768" y="1416"/>
                    </a:lnTo>
                    <a:lnTo>
                      <a:pt x="768" y="1422"/>
                    </a:lnTo>
                    <a:lnTo>
                      <a:pt x="762" y="1422"/>
                    </a:lnTo>
                    <a:lnTo>
                      <a:pt x="756" y="1422"/>
                    </a:lnTo>
                    <a:lnTo>
                      <a:pt x="750" y="1422"/>
                    </a:lnTo>
                    <a:lnTo>
                      <a:pt x="750" y="1428"/>
                    </a:lnTo>
                    <a:lnTo>
                      <a:pt x="744" y="1428"/>
                    </a:lnTo>
                    <a:lnTo>
                      <a:pt x="738" y="1428"/>
                    </a:lnTo>
                    <a:lnTo>
                      <a:pt x="732" y="1428"/>
                    </a:lnTo>
                    <a:lnTo>
                      <a:pt x="738" y="1428"/>
                    </a:lnTo>
                    <a:lnTo>
                      <a:pt x="738" y="1434"/>
                    </a:lnTo>
                    <a:lnTo>
                      <a:pt x="732" y="1434"/>
                    </a:lnTo>
                    <a:lnTo>
                      <a:pt x="732" y="1440"/>
                    </a:lnTo>
                    <a:lnTo>
                      <a:pt x="726" y="1440"/>
                    </a:lnTo>
                    <a:lnTo>
                      <a:pt x="726" y="1446"/>
                    </a:lnTo>
                    <a:lnTo>
                      <a:pt x="720" y="1446"/>
                    </a:lnTo>
                    <a:lnTo>
                      <a:pt x="720" y="1452"/>
                    </a:lnTo>
                    <a:lnTo>
                      <a:pt x="720" y="1458"/>
                    </a:lnTo>
                    <a:lnTo>
                      <a:pt x="726" y="1458"/>
                    </a:lnTo>
                    <a:lnTo>
                      <a:pt x="726" y="1464"/>
                    </a:lnTo>
                    <a:lnTo>
                      <a:pt x="720" y="1464"/>
                    </a:lnTo>
                    <a:lnTo>
                      <a:pt x="720" y="1470"/>
                    </a:lnTo>
                    <a:lnTo>
                      <a:pt x="720" y="1464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14" y="1464"/>
                    </a:lnTo>
                    <a:lnTo>
                      <a:pt x="714" y="1470"/>
                    </a:lnTo>
                    <a:lnTo>
                      <a:pt x="708" y="1470"/>
                    </a:lnTo>
                    <a:lnTo>
                      <a:pt x="702" y="1470"/>
                    </a:lnTo>
                    <a:lnTo>
                      <a:pt x="702" y="1464"/>
                    </a:lnTo>
                    <a:lnTo>
                      <a:pt x="696" y="1464"/>
                    </a:lnTo>
                    <a:lnTo>
                      <a:pt x="690" y="1464"/>
                    </a:lnTo>
                    <a:lnTo>
                      <a:pt x="696" y="1464"/>
                    </a:lnTo>
                    <a:lnTo>
                      <a:pt x="690" y="1464"/>
                    </a:lnTo>
                    <a:lnTo>
                      <a:pt x="690" y="1458"/>
                    </a:lnTo>
                    <a:lnTo>
                      <a:pt x="690" y="1464"/>
                    </a:lnTo>
                    <a:lnTo>
                      <a:pt x="690" y="1458"/>
                    </a:lnTo>
                    <a:lnTo>
                      <a:pt x="684" y="1458"/>
                    </a:lnTo>
                    <a:lnTo>
                      <a:pt x="684" y="1452"/>
                    </a:lnTo>
                    <a:lnTo>
                      <a:pt x="678" y="1452"/>
                    </a:lnTo>
                    <a:lnTo>
                      <a:pt x="672" y="1452"/>
                    </a:lnTo>
                    <a:lnTo>
                      <a:pt x="666" y="1452"/>
                    </a:lnTo>
                    <a:lnTo>
                      <a:pt x="660" y="1452"/>
                    </a:lnTo>
                    <a:lnTo>
                      <a:pt x="660" y="1446"/>
                    </a:lnTo>
                    <a:lnTo>
                      <a:pt x="654" y="1452"/>
                    </a:lnTo>
                    <a:lnTo>
                      <a:pt x="648" y="1452"/>
                    </a:lnTo>
                    <a:lnTo>
                      <a:pt x="642" y="1452"/>
                    </a:lnTo>
                    <a:lnTo>
                      <a:pt x="636" y="1452"/>
                    </a:lnTo>
                    <a:lnTo>
                      <a:pt x="630" y="1452"/>
                    </a:lnTo>
                    <a:lnTo>
                      <a:pt x="624" y="1452"/>
                    </a:lnTo>
                    <a:lnTo>
                      <a:pt x="618" y="1452"/>
                    </a:lnTo>
                    <a:lnTo>
                      <a:pt x="618" y="1458"/>
                    </a:lnTo>
                    <a:lnTo>
                      <a:pt x="612" y="1458"/>
                    </a:lnTo>
                    <a:lnTo>
                      <a:pt x="606" y="1458"/>
                    </a:lnTo>
                    <a:lnTo>
                      <a:pt x="612" y="1458"/>
                    </a:lnTo>
                    <a:lnTo>
                      <a:pt x="606" y="1458"/>
                    </a:lnTo>
                    <a:lnTo>
                      <a:pt x="612" y="1458"/>
                    </a:lnTo>
                    <a:lnTo>
                      <a:pt x="612" y="1452"/>
                    </a:lnTo>
                    <a:lnTo>
                      <a:pt x="606" y="1452"/>
                    </a:lnTo>
                    <a:lnTo>
                      <a:pt x="606" y="1446"/>
                    </a:lnTo>
                    <a:lnTo>
                      <a:pt x="600" y="1446"/>
                    </a:lnTo>
                    <a:lnTo>
                      <a:pt x="600" y="1452"/>
                    </a:lnTo>
                    <a:lnTo>
                      <a:pt x="600" y="1446"/>
                    </a:lnTo>
                    <a:lnTo>
                      <a:pt x="594" y="1446"/>
                    </a:lnTo>
                    <a:lnTo>
                      <a:pt x="600" y="1446"/>
                    </a:lnTo>
                    <a:lnTo>
                      <a:pt x="600" y="1440"/>
                    </a:lnTo>
                    <a:lnTo>
                      <a:pt x="594" y="1440"/>
                    </a:lnTo>
                    <a:lnTo>
                      <a:pt x="600" y="1440"/>
                    </a:lnTo>
                    <a:lnTo>
                      <a:pt x="594" y="1440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8" y="1440"/>
                    </a:lnTo>
                    <a:lnTo>
                      <a:pt x="588" y="1434"/>
                    </a:lnTo>
                    <a:lnTo>
                      <a:pt x="582" y="1434"/>
                    </a:lnTo>
                    <a:lnTo>
                      <a:pt x="582" y="1428"/>
                    </a:lnTo>
                    <a:lnTo>
                      <a:pt x="576" y="1428"/>
                    </a:lnTo>
                    <a:lnTo>
                      <a:pt x="576" y="1422"/>
                    </a:lnTo>
                    <a:lnTo>
                      <a:pt x="570" y="1422"/>
                    </a:lnTo>
                    <a:lnTo>
                      <a:pt x="564" y="1422"/>
                    </a:lnTo>
                    <a:lnTo>
                      <a:pt x="570" y="1422"/>
                    </a:lnTo>
                    <a:lnTo>
                      <a:pt x="564" y="1422"/>
                    </a:lnTo>
                    <a:lnTo>
                      <a:pt x="564" y="1416"/>
                    </a:lnTo>
                    <a:lnTo>
                      <a:pt x="564" y="1422"/>
                    </a:lnTo>
                    <a:lnTo>
                      <a:pt x="558" y="1422"/>
                    </a:lnTo>
                    <a:lnTo>
                      <a:pt x="558" y="1416"/>
                    </a:lnTo>
                    <a:lnTo>
                      <a:pt x="552" y="1416"/>
                    </a:lnTo>
                    <a:lnTo>
                      <a:pt x="552" y="1410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52" y="1404"/>
                    </a:lnTo>
                    <a:lnTo>
                      <a:pt x="546" y="1404"/>
                    </a:lnTo>
                    <a:lnTo>
                      <a:pt x="540" y="1404"/>
                    </a:lnTo>
                    <a:lnTo>
                      <a:pt x="540" y="1398"/>
                    </a:lnTo>
                    <a:lnTo>
                      <a:pt x="546" y="1398"/>
                    </a:lnTo>
                    <a:lnTo>
                      <a:pt x="540" y="1398"/>
                    </a:lnTo>
                    <a:lnTo>
                      <a:pt x="546" y="1398"/>
                    </a:lnTo>
                    <a:lnTo>
                      <a:pt x="540" y="1398"/>
                    </a:lnTo>
                    <a:lnTo>
                      <a:pt x="540" y="1404"/>
                    </a:lnTo>
                    <a:lnTo>
                      <a:pt x="534" y="1404"/>
                    </a:lnTo>
                    <a:lnTo>
                      <a:pt x="528" y="1404"/>
                    </a:lnTo>
                    <a:lnTo>
                      <a:pt x="528" y="1410"/>
                    </a:lnTo>
                    <a:lnTo>
                      <a:pt x="522" y="1410"/>
                    </a:lnTo>
                    <a:lnTo>
                      <a:pt x="516" y="1410"/>
                    </a:lnTo>
                    <a:lnTo>
                      <a:pt x="510" y="1410"/>
                    </a:lnTo>
                    <a:lnTo>
                      <a:pt x="510" y="1404"/>
                    </a:lnTo>
                    <a:lnTo>
                      <a:pt x="516" y="1404"/>
                    </a:lnTo>
                    <a:lnTo>
                      <a:pt x="522" y="1404"/>
                    </a:lnTo>
                    <a:lnTo>
                      <a:pt x="522" y="1398"/>
                    </a:lnTo>
                    <a:lnTo>
                      <a:pt x="522" y="1392"/>
                    </a:lnTo>
                    <a:lnTo>
                      <a:pt x="522" y="1386"/>
                    </a:lnTo>
                    <a:lnTo>
                      <a:pt x="528" y="1386"/>
                    </a:lnTo>
                    <a:lnTo>
                      <a:pt x="528" y="1380"/>
                    </a:lnTo>
                    <a:lnTo>
                      <a:pt x="534" y="1380"/>
                    </a:lnTo>
                    <a:lnTo>
                      <a:pt x="528" y="1380"/>
                    </a:lnTo>
                    <a:lnTo>
                      <a:pt x="528" y="1374"/>
                    </a:lnTo>
                    <a:lnTo>
                      <a:pt x="528" y="1368"/>
                    </a:lnTo>
                    <a:lnTo>
                      <a:pt x="528" y="1362"/>
                    </a:lnTo>
                    <a:lnTo>
                      <a:pt x="522" y="1362"/>
                    </a:lnTo>
                    <a:lnTo>
                      <a:pt x="522" y="1356"/>
                    </a:lnTo>
                    <a:lnTo>
                      <a:pt x="522" y="1350"/>
                    </a:lnTo>
                    <a:lnTo>
                      <a:pt x="516" y="1350"/>
                    </a:lnTo>
                    <a:lnTo>
                      <a:pt x="516" y="1344"/>
                    </a:lnTo>
                    <a:lnTo>
                      <a:pt x="510" y="1344"/>
                    </a:lnTo>
                    <a:lnTo>
                      <a:pt x="510" y="1338"/>
                    </a:lnTo>
                    <a:lnTo>
                      <a:pt x="516" y="1338"/>
                    </a:lnTo>
                    <a:lnTo>
                      <a:pt x="522" y="1338"/>
                    </a:lnTo>
                    <a:lnTo>
                      <a:pt x="522" y="1344"/>
                    </a:lnTo>
                    <a:lnTo>
                      <a:pt x="522" y="1338"/>
                    </a:lnTo>
                    <a:lnTo>
                      <a:pt x="528" y="1338"/>
                    </a:lnTo>
                    <a:lnTo>
                      <a:pt x="534" y="1338"/>
                    </a:lnTo>
                    <a:lnTo>
                      <a:pt x="528" y="1338"/>
                    </a:lnTo>
                    <a:lnTo>
                      <a:pt x="528" y="1332"/>
                    </a:lnTo>
                    <a:lnTo>
                      <a:pt x="528" y="1338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22" y="1332"/>
                    </a:lnTo>
                    <a:lnTo>
                      <a:pt x="522" y="1338"/>
                    </a:lnTo>
                    <a:lnTo>
                      <a:pt x="516" y="1338"/>
                    </a:lnTo>
                    <a:lnTo>
                      <a:pt x="516" y="1332"/>
                    </a:lnTo>
                    <a:lnTo>
                      <a:pt x="516" y="1338"/>
                    </a:lnTo>
                    <a:lnTo>
                      <a:pt x="516" y="1332"/>
                    </a:lnTo>
                    <a:lnTo>
                      <a:pt x="516" y="1338"/>
                    </a:lnTo>
                    <a:lnTo>
                      <a:pt x="510" y="1338"/>
                    </a:lnTo>
                    <a:lnTo>
                      <a:pt x="504" y="1338"/>
                    </a:lnTo>
                    <a:lnTo>
                      <a:pt x="498" y="1338"/>
                    </a:lnTo>
                    <a:lnTo>
                      <a:pt x="492" y="1338"/>
                    </a:lnTo>
                    <a:lnTo>
                      <a:pt x="492" y="1344"/>
                    </a:lnTo>
                    <a:lnTo>
                      <a:pt x="492" y="1338"/>
                    </a:lnTo>
                    <a:lnTo>
                      <a:pt x="492" y="1344"/>
                    </a:lnTo>
                    <a:lnTo>
                      <a:pt x="486" y="1344"/>
                    </a:lnTo>
                    <a:lnTo>
                      <a:pt x="480" y="1344"/>
                    </a:lnTo>
                    <a:lnTo>
                      <a:pt x="474" y="1344"/>
                    </a:lnTo>
                    <a:lnTo>
                      <a:pt x="474" y="1338"/>
                    </a:lnTo>
                    <a:lnTo>
                      <a:pt x="474" y="1344"/>
                    </a:lnTo>
                    <a:lnTo>
                      <a:pt x="468" y="1344"/>
                    </a:lnTo>
                    <a:lnTo>
                      <a:pt x="474" y="1344"/>
                    </a:lnTo>
                    <a:lnTo>
                      <a:pt x="474" y="1338"/>
                    </a:lnTo>
                    <a:lnTo>
                      <a:pt x="468" y="1338"/>
                    </a:lnTo>
                    <a:lnTo>
                      <a:pt x="468" y="1344"/>
                    </a:lnTo>
                    <a:lnTo>
                      <a:pt x="468" y="1338"/>
                    </a:lnTo>
                    <a:lnTo>
                      <a:pt x="468" y="1344"/>
                    </a:lnTo>
                    <a:lnTo>
                      <a:pt x="462" y="1344"/>
                    </a:lnTo>
                    <a:lnTo>
                      <a:pt x="456" y="1344"/>
                    </a:lnTo>
                    <a:lnTo>
                      <a:pt x="456" y="1338"/>
                    </a:lnTo>
                    <a:lnTo>
                      <a:pt x="456" y="1344"/>
                    </a:lnTo>
                    <a:lnTo>
                      <a:pt x="456" y="1338"/>
                    </a:lnTo>
                    <a:lnTo>
                      <a:pt x="456" y="1332"/>
                    </a:lnTo>
                    <a:lnTo>
                      <a:pt x="456" y="1326"/>
                    </a:lnTo>
                    <a:lnTo>
                      <a:pt x="450" y="1326"/>
                    </a:lnTo>
                    <a:lnTo>
                      <a:pt x="450" y="1320"/>
                    </a:lnTo>
                    <a:lnTo>
                      <a:pt x="456" y="1320"/>
                    </a:lnTo>
                    <a:lnTo>
                      <a:pt x="462" y="1320"/>
                    </a:lnTo>
                    <a:lnTo>
                      <a:pt x="456" y="1320"/>
                    </a:lnTo>
                    <a:lnTo>
                      <a:pt x="456" y="1314"/>
                    </a:lnTo>
                    <a:lnTo>
                      <a:pt x="462" y="1314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62" y="1308"/>
                    </a:lnTo>
                    <a:lnTo>
                      <a:pt x="456" y="1308"/>
                    </a:lnTo>
                    <a:lnTo>
                      <a:pt x="456" y="1314"/>
                    </a:lnTo>
                    <a:lnTo>
                      <a:pt x="450" y="1314"/>
                    </a:lnTo>
                    <a:lnTo>
                      <a:pt x="450" y="1320"/>
                    </a:lnTo>
                    <a:lnTo>
                      <a:pt x="450" y="1326"/>
                    </a:lnTo>
                    <a:lnTo>
                      <a:pt x="450" y="1320"/>
                    </a:lnTo>
                    <a:lnTo>
                      <a:pt x="444" y="1320"/>
                    </a:lnTo>
                    <a:lnTo>
                      <a:pt x="438" y="1320"/>
                    </a:lnTo>
                    <a:lnTo>
                      <a:pt x="438" y="1314"/>
                    </a:lnTo>
                    <a:lnTo>
                      <a:pt x="432" y="1314"/>
                    </a:lnTo>
                    <a:lnTo>
                      <a:pt x="432" y="1320"/>
                    </a:lnTo>
                    <a:lnTo>
                      <a:pt x="426" y="1320"/>
                    </a:lnTo>
                    <a:lnTo>
                      <a:pt x="420" y="1320"/>
                    </a:lnTo>
                    <a:lnTo>
                      <a:pt x="420" y="1314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20" y="1320"/>
                    </a:lnTo>
                    <a:lnTo>
                      <a:pt x="414" y="1320"/>
                    </a:lnTo>
                    <a:lnTo>
                      <a:pt x="414" y="1326"/>
                    </a:lnTo>
                    <a:lnTo>
                      <a:pt x="408" y="1326"/>
                    </a:lnTo>
                    <a:lnTo>
                      <a:pt x="408" y="1320"/>
                    </a:lnTo>
                    <a:lnTo>
                      <a:pt x="402" y="1320"/>
                    </a:lnTo>
                    <a:lnTo>
                      <a:pt x="402" y="1326"/>
                    </a:lnTo>
                    <a:lnTo>
                      <a:pt x="396" y="1326"/>
                    </a:lnTo>
                    <a:lnTo>
                      <a:pt x="396" y="1332"/>
                    </a:lnTo>
                    <a:lnTo>
                      <a:pt x="390" y="1332"/>
                    </a:lnTo>
                    <a:lnTo>
                      <a:pt x="390" y="1326"/>
                    </a:lnTo>
                    <a:lnTo>
                      <a:pt x="384" y="1326"/>
                    </a:lnTo>
                    <a:lnTo>
                      <a:pt x="384" y="1332"/>
                    </a:lnTo>
                    <a:lnTo>
                      <a:pt x="384" y="1338"/>
                    </a:lnTo>
                    <a:lnTo>
                      <a:pt x="384" y="1332"/>
                    </a:lnTo>
                    <a:lnTo>
                      <a:pt x="384" y="1338"/>
                    </a:lnTo>
                    <a:lnTo>
                      <a:pt x="384" y="1332"/>
                    </a:lnTo>
                    <a:lnTo>
                      <a:pt x="378" y="1332"/>
                    </a:lnTo>
                    <a:lnTo>
                      <a:pt x="378" y="1338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8" y="1332"/>
                    </a:lnTo>
                    <a:lnTo>
                      <a:pt x="372" y="1332"/>
                    </a:lnTo>
                    <a:lnTo>
                      <a:pt x="372" y="1326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8" y="1320"/>
                    </a:lnTo>
                    <a:lnTo>
                      <a:pt x="372" y="1320"/>
                    </a:lnTo>
                    <a:lnTo>
                      <a:pt x="372" y="1314"/>
                    </a:lnTo>
                    <a:lnTo>
                      <a:pt x="372" y="1308"/>
                    </a:lnTo>
                    <a:lnTo>
                      <a:pt x="366" y="1308"/>
                    </a:lnTo>
                    <a:lnTo>
                      <a:pt x="372" y="1308"/>
                    </a:lnTo>
                    <a:lnTo>
                      <a:pt x="372" y="1302"/>
                    </a:lnTo>
                    <a:lnTo>
                      <a:pt x="372" y="1308"/>
                    </a:lnTo>
                    <a:lnTo>
                      <a:pt x="372" y="1302"/>
                    </a:lnTo>
                    <a:lnTo>
                      <a:pt x="372" y="1296"/>
                    </a:lnTo>
                    <a:lnTo>
                      <a:pt x="378" y="1296"/>
                    </a:lnTo>
                    <a:lnTo>
                      <a:pt x="378" y="1290"/>
                    </a:lnTo>
                    <a:lnTo>
                      <a:pt x="378" y="1284"/>
                    </a:lnTo>
                    <a:lnTo>
                      <a:pt x="378" y="1278"/>
                    </a:lnTo>
                    <a:lnTo>
                      <a:pt x="372" y="1278"/>
                    </a:lnTo>
                    <a:lnTo>
                      <a:pt x="372" y="1272"/>
                    </a:lnTo>
                    <a:lnTo>
                      <a:pt x="366" y="1272"/>
                    </a:lnTo>
                    <a:lnTo>
                      <a:pt x="366" y="1266"/>
                    </a:lnTo>
                    <a:lnTo>
                      <a:pt x="372" y="1266"/>
                    </a:lnTo>
                    <a:lnTo>
                      <a:pt x="372" y="1260"/>
                    </a:lnTo>
                    <a:lnTo>
                      <a:pt x="378" y="1260"/>
                    </a:lnTo>
                    <a:lnTo>
                      <a:pt x="384" y="1260"/>
                    </a:lnTo>
                    <a:lnTo>
                      <a:pt x="384" y="1254"/>
                    </a:lnTo>
                    <a:lnTo>
                      <a:pt x="378" y="1254"/>
                    </a:lnTo>
                    <a:lnTo>
                      <a:pt x="378" y="1248"/>
                    </a:lnTo>
                    <a:lnTo>
                      <a:pt x="372" y="1248"/>
                    </a:lnTo>
                    <a:lnTo>
                      <a:pt x="372" y="1242"/>
                    </a:lnTo>
                    <a:lnTo>
                      <a:pt x="366" y="1242"/>
                    </a:lnTo>
                    <a:lnTo>
                      <a:pt x="366" y="1236"/>
                    </a:lnTo>
                    <a:lnTo>
                      <a:pt x="360" y="1236"/>
                    </a:lnTo>
                    <a:lnTo>
                      <a:pt x="354" y="1236"/>
                    </a:lnTo>
                    <a:lnTo>
                      <a:pt x="354" y="1230"/>
                    </a:lnTo>
                    <a:lnTo>
                      <a:pt x="348" y="1230"/>
                    </a:lnTo>
                    <a:lnTo>
                      <a:pt x="342" y="1230"/>
                    </a:lnTo>
                    <a:lnTo>
                      <a:pt x="336" y="1230"/>
                    </a:lnTo>
                    <a:lnTo>
                      <a:pt x="330" y="1230"/>
                    </a:lnTo>
                    <a:lnTo>
                      <a:pt x="324" y="1230"/>
                    </a:lnTo>
                    <a:lnTo>
                      <a:pt x="318" y="1230"/>
                    </a:lnTo>
                    <a:lnTo>
                      <a:pt x="312" y="1230"/>
                    </a:lnTo>
                    <a:lnTo>
                      <a:pt x="306" y="1230"/>
                    </a:lnTo>
                    <a:lnTo>
                      <a:pt x="306" y="1236"/>
                    </a:lnTo>
                    <a:lnTo>
                      <a:pt x="300" y="1236"/>
                    </a:lnTo>
                    <a:lnTo>
                      <a:pt x="294" y="1236"/>
                    </a:lnTo>
                    <a:lnTo>
                      <a:pt x="288" y="1236"/>
                    </a:lnTo>
                    <a:lnTo>
                      <a:pt x="288" y="1242"/>
                    </a:lnTo>
                    <a:lnTo>
                      <a:pt x="282" y="1242"/>
                    </a:lnTo>
                    <a:lnTo>
                      <a:pt x="276" y="1242"/>
                    </a:lnTo>
                    <a:lnTo>
                      <a:pt x="270" y="1242"/>
                    </a:lnTo>
                    <a:lnTo>
                      <a:pt x="270" y="1248"/>
                    </a:lnTo>
                    <a:lnTo>
                      <a:pt x="264" y="1248"/>
                    </a:lnTo>
                    <a:lnTo>
                      <a:pt x="264" y="1254"/>
                    </a:lnTo>
                    <a:lnTo>
                      <a:pt x="258" y="1254"/>
                    </a:lnTo>
                    <a:lnTo>
                      <a:pt x="264" y="1254"/>
                    </a:lnTo>
                    <a:lnTo>
                      <a:pt x="258" y="1254"/>
                    </a:lnTo>
                    <a:lnTo>
                      <a:pt x="258" y="1260"/>
                    </a:lnTo>
                    <a:lnTo>
                      <a:pt x="264" y="1260"/>
                    </a:lnTo>
                    <a:lnTo>
                      <a:pt x="264" y="1266"/>
                    </a:lnTo>
                    <a:lnTo>
                      <a:pt x="258" y="1266"/>
                    </a:lnTo>
                    <a:lnTo>
                      <a:pt x="258" y="1272"/>
                    </a:lnTo>
                    <a:lnTo>
                      <a:pt x="264" y="1272"/>
                    </a:lnTo>
                    <a:lnTo>
                      <a:pt x="264" y="1278"/>
                    </a:lnTo>
                    <a:lnTo>
                      <a:pt x="270" y="1278"/>
                    </a:lnTo>
                    <a:lnTo>
                      <a:pt x="270" y="1284"/>
                    </a:lnTo>
                    <a:lnTo>
                      <a:pt x="276" y="1284"/>
                    </a:lnTo>
                    <a:lnTo>
                      <a:pt x="276" y="1290"/>
                    </a:lnTo>
                    <a:lnTo>
                      <a:pt x="276" y="1296"/>
                    </a:lnTo>
                    <a:lnTo>
                      <a:pt x="270" y="1296"/>
                    </a:lnTo>
                    <a:lnTo>
                      <a:pt x="270" y="1302"/>
                    </a:lnTo>
                    <a:lnTo>
                      <a:pt x="276" y="1302"/>
                    </a:lnTo>
                    <a:lnTo>
                      <a:pt x="276" y="1308"/>
                    </a:lnTo>
                    <a:lnTo>
                      <a:pt x="270" y="1308"/>
                    </a:lnTo>
                    <a:lnTo>
                      <a:pt x="270" y="1314"/>
                    </a:lnTo>
                    <a:lnTo>
                      <a:pt x="270" y="1320"/>
                    </a:lnTo>
                    <a:lnTo>
                      <a:pt x="276" y="1320"/>
                    </a:lnTo>
                    <a:lnTo>
                      <a:pt x="276" y="1326"/>
                    </a:lnTo>
                    <a:lnTo>
                      <a:pt x="282" y="1326"/>
                    </a:lnTo>
                    <a:lnTo>
                      <a:pt x="282" y="1332"/>
                    </a:lnTo>
                    <a:lnTo>
                      <a:pt x="282" y="1326"/>
                    </a:lnTo>
                    <a:lnTo>
                      <a:pt x="276" y="1326"/>
                    </a:lnTo>
                    <a:lnTo>
                      <a:pt x="276" y="1332"/>
                    </a:lnTo>
                    <a:lnTo>
                      <a:pt x="276" y="1326"/>
                    </a:lnTo>
                    <a:lnTo>
                      <a:pt x="270" y="1326"/>
                    </a:lnTo>
                    <a:lnTo>
                      <a:pt x="270" y="1320"/>
                    </a:lnTo>
                    <a:lnTo>
                      <a:pt x="270" y="1326"/>
                    </a:lnTo>
                    <a:lnTo>
                      <a:pt x="264" y="1326"/>
                    </a:lnTo>
                    <a:lnTo>
                      <a:pt x="264" y="1320"/>
                    </a:lnTo>
                    <a:lnTo>
                      <a:pt x="258" y="1320"/>
                    </a:lnTo>
                    <a:lnTo>
                      <a:pt x="258" y="1314"/>
                    </a:lnTo>
                    <a:lnTo>
                      <a:pt x="258" y="1320"/>
                    </a:lnTo>
                    <a:lnTo>
                      <a:pt x="258" y="1314"/>
                    </a:lnTo>
                    <a:lnTo>
                      <a:pt x="252" y="1314"/>
                    </a:lnTo>
                    <a:lnTo>
                      <a:pt x="258" y="1314"/>
                    </a:lnTo>
                    <a:lnTo>
                      <a:pt x="252" y="1314"/>
                    </a:lnTo>
                    <a:lnTo>
                      <a:pt x="252" y="1308"/>
                    </a:lnTo>
                    <a:lnTo>
                      <a:pt x="252" y="1302"/>
                    </a:lnTo>
                    <a:lnTo>
                      <a:pt x="246" y="1302"/>
                    </a:lnTo>
                    <a:lnTo>
                      <a:pt x="246" y="1296"/>
                    </a:lnTo>
                    <a:lnTo>
                      <a:pt x="246" y="1290"/>
                    </a:lnTo>
                    <a:lnTo>
                      <a:pt x="246" y="1284"/>
                    </a:lnTo>
                    <a:lnTo>
                      <a:pt x="246" y="1278"/>
                    </a:lnTo>
                    <a:lnTo>
                      <a:pt x="240" y="1278"/>
                    </a:lnTo>
                    <a:lnTo>
                      <a:pt x="240" y="1272"/>
                    </a:lnTo>
                    <a:lnTo>
                      <a:pt x="234" y="1272"/>
                    </a:lnTo>
                    <a:lnTo>
                      <a:pt x="234" y="1266"/>
                    </a:lnTo>
                    <a:lnTo>
                      <a:pt x="228" y="1266"/>
                    </a:lnTo>
                    <a:lnTo>
                      <a:pt x="228" y="1260"/>
                    </a:lnTo>
                    <a:lnTo>
                      <a:pt x="234" y="1260"/>
                    </a:lnTo>
                    <a:lnTo>
                      <a:pt x="228" y="1260"/>
                    </a:lnTo>
                    <a:lnTo>
                      <a:pt x="234" y="1260"/>
                    </a:lnTo>
                    <a:lnTo>
                      <a:pt x="234" y="1254"/>
                    </a:lnTo>
                    <a:lnTo>
                      <a:pt x="240" y="1254"/>
                    </a:lnTo>
                    <a:lnTo>
                      <a:pt x="240" y="1248"/>
                    </a:lnTo>
                    <a:lnTo>
                      <a:pt x="234" y="1248"/>
                    </a:lnTo>
                    <a:lnTo>
                      <a:pt x="240" y="1248"/>
                    </a:lnTo>
                    <a:lnTo>
                      <a:pt x="240" y="1242"/>
                    </a:lnTo>
                    <a:lnTo>
                      <a:pt x="234" y="1242"/>
                    </a:lnTo>
                    <a:lnTo>
                      <a:pt x="234" y="1236"/>
                    </a:lnTo>
                    <a:lnTo>
                      <a:pt x="240" y="1236"/>
                    </a:lnTo>
                    <a:lnTo>
                      <a:pt x="240" y="1230"/>
                    </a:lnTo>
                    <a:lnTo>
                      <a:pt x="240" y="1224"/>
                    </a:lnTo>
                    <a:lnTo>
                      <a:pt x="234" y="1224"/>
                    </a:lnTo>
                    <a:lnTo>
                      <a:pt x="234" y="1230"/>
                    </a:lnTo>
                    <a:lnTo>
                      <a:pt x="228" y="1230"/>
                    </a:lnTo>
                    <a:lnTo>
                      <a:pt x="228" y="1224"/>
                    </a:lnTo>
                    <a:lnTo>
                      <a:pt x="222" y="1224"/>
                    </a:lnTo>
                    <a:lnTo>
                      <a:pt x="222" y="1218"/>
                    </a:lnTo>
                    <a:lnTo>
                      <a:pt x="228" y="1218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28" y="1212"/>
                    </a:lnTo>
                    <a:lnTo>
                      <a:pt x="234" y="1212"/>
                    </a:lnTo>
                    <a:lnTo>
                      <a:pt x="234" y="1206"/>
                    </a:lnTo>
                    <a:lnTo>
                      <a:pt x="240" y="1206"/>
                    </a:lnTo>
                    <a:lnTo>
                      <a:pt x="240" y="1200"/>
                    </a:lnTo>
                    <a:lnTo>
                      <a:pt x="240" y="1194"/>
                    </a:lnTo>
                    <a:lnTo>
                      <a:pt x="240" y="1188"/>
                    </a:lnTo>
                    <a:lnTo>
                      <a:pt x="240" y="1182"/>
                    </a:lnTo>
                    <a:lnTo>
                      <a:pt x="246" y="1182"/>
                    </a:lnTo>
                    <a:lnTo>
                      <a:pt x="246" y="1176"/>
                    </a:lnTo>
                    <a:lnTo>
                      <a:pt x="252" y="1176"/>
                    </a:lnTo>
                    <a:lnTo>
                      <a:pt x="252" y="1182"/>
                    </a:lnTo>
                    <a:lnTo>
                      <a:pt x="258" y="1182"/>
                    </a:lnTo>
                    <a:lnTo>
                      <a:pt x="258" y="1176"/>
                    </a:lnTo>
                    <a:lnTo>
                      <a:pt x="258" y="1182"/>
                    </a:lnTo>
                    <a:lnTo>
                      <a:pt x="258" y="1176"/>
                    </a:lnTo>
                    <a:lnTo>
                      <a:pt x="258" y="1182"/>
                    </a:lnTo>
                    <a:lnTo>
                      <a:pt x="264" y="1182"/>
                    </a:lnTo>
                    <a:lnTo>
                      <a:pt x="264" y="1176"/>
                    </a:lnTo>
                    <a:lnTo>
                      <a:pt x="270" y="1176"/>
                    </a:lnTo>
                    <a:lnTo>
                      <a:pt x="270" y="1170"/>
                    </a:lnTo>
                    <a:lnTo>
                      <a:pt x="270" y="1164"/>
                    </a:lnTo>
                    <a:lnTo>
                      <a:pt x="270" y="1158"/>
                    </a:lnTo>
                    <a:lnTo>
                      <a:pt x="270" y="1152"/>
                    </a:lnTo>
                    <a:lnTo>
                      <a:pt x="264" y="1152"/>
                    </a:lnTo>
                    <a:lnTo>
                      <a:pt x="264" y="1146"/>
                    </a:lnTo>
                    <a:lnTo>
                      <a:pt x="258" y="1146"/>
                    </a:lnTo>
                    <a:lnTo>
                      <a:pt x="258" y="1140"/>
                    </a:lnTo>
                    <a:lnTo>
                      <a:pt x="258" y="1134"/>
                    </a:lnTo>
                    <a:lnTo>
                      <a:pt x="252" y="1134"/>
                    </a:lnTo>
                    <a:lnTo>
                      <a:pt x="252" y="1128"/>
                    </a:lnTo>
                    <a:lnTo>
                      <a:pt x="252" y="1122"/>
                    </a:lnTo>
                    <a:lnTo>
                      <a:pt x="252" y="1116"/>
                    </a:lnTo>
                    <a:lnTo>
                      <a:pt x="252" y="1110"/>
                    </a:lnTo>
                    <a:lnTo>
                      <a:pt x="252" y="1104"/>
                    </a:lnTo>
                    <a:lnTo>
                      <a:pt x="246" y="1104"/>
                    </a:lnTo>
                    <a:lnTo>
                      <a:pt x="246" y="1098"/>
                    </a:lnTo>
                    <a:lnTo>
                      <a:pt x="246" y="1104"/>
                    </a:lnTo>
                    <a:lnTo>
                      <a:pt x="246" y="1098"/>
                    </a:lnTo>
                    <a:lnTo>
                      <a:pt x="246" y="1092"/>
                    </a:lnTo>
                    <a:lnTo>
                      <a:pt x="240" y="1092"/>
                    </a:lnTo>
                    <a:lnTo>
                      <a:pt x="240" y="1086"/>
                    </a:lnTo>
                    <a:lnTo>
                      <a:pt x="240" y="1080"/>
                    </a:lnTo>
                    <a:lnTo>
                      <a:pt x="240" y="1086"/>
                    </a:lnTo>
                    <a:lnTo>
                      <a:pt x="240" y="1080"/>
                    </a:lnTo>
                    <a:lnTo>
                      <a:pt x="234" y="1080"/>
                    </a:lnTo>
                    <a:lnTo>
                      <a:pt x="234" y="1086"/>
                    </a:lnTo>
                    <a:lnTo>
                      <a:pt x="234" y="1080"/>
                    </a:lnTo>
                    <a:lnTo>
                      <a:pt x="228" y="1080"/>
                    </a:lnTo>
                    <a:lnTo>
                      <a:pt x="234" y="1080"/>
                    </a:lnTo>
                    <a:lnTo>
                      <a:pt x="228" y="1080"/>
                    </a:lnTo>
                    <a:lnTo>
                      <a:pt x="228" y="1074"/>
                    </a:lnTo>
                    <a:lnTo>
                      <a:pt x="228" y="1068"/>
                    </a:lnTo>
                    <a:lnTo>
                      <a:pt x="222" y="1068"/>
                    </a:lnTo>
                    <a:lnTo>
                      <a:pt x="216" y="1068"/>
                    </a:lnTo>
                    <a:lnTo>
                      <a:pt x="222" y="1068"/>
                    </a:lnTo>
                    <a:lnTo>
                      <a:pt x="216" y="1068"/>
                    </a:lnTo>
                    <a:lnTo>
                      <a:pt x="210" y="1068"/>
                    </a:lnTo>
                    <a:lnTo>
                      <a:pt x="210" y="1062"/>
                    </a:lnTo>
                    <a:lnTo>
                      <a:pt x="216" y="1062"/>
                    </a:lnTo>
                    <a:lnTo>
                      <a:pt x="210" y="1062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0" y="1056"/>
                    </a:lnTo>
                    <a:lnTo>
                      <a:pt x="216" y="1056"/>
                    </a:lnTo>
                    <a:lnTo>
                      <a:pt x="216" y="1050"/>
                    </a:lnTo>
                    <a:lnTo>
                      <a:pt x="216" y="1044"/>
                    </a:lnTo>
                    <a:lnTo>
                      <a:pt x="210" y="1044"/>
                    </a:lnTo>
                    <a:lnTo>
                      <a:pt x="216" y="1044"/>
                    </a:lnTo>
                    <a:lnTo>
                      <a:pt x="210" y="1044"/>
                    </a:lnTo>
                    <a:lnTo>
                      <a:pt x="210" y="1038"/>
                    </a:lnTo>
                    <a:lnTo>
                      <a:pt x="210" y="1032"/>
                    </a:lnTo>
                    <a:lnTo>
                      <a:pt x="204" y="1032"/>
                    </a:lnTo>
                    <a:lnTo>
                      <a:pt x="204" y="1026"/>
                    </a:lnTo>
                    <a:lnTo>
                      <a:pt x="198" y="1026"/>
                    </a:lnTo>
                    <a:lnTo>
                      <a:pt x="198" y="1020"/>
                    </a:lnTo>
                    <a:lnTo>
                      <a:pt x="192" y="1020"/>
                    </a:lnTo>
                    <a:lnTo>
                      <a:pt x="192" y="1014"/>
                    </a:lnTo>
                    <a:lnTo>
                      <a:pt x="186" y="1014"/>
                    </a:lnTo>
                    <a:lnTo>
                      <a:pt x="186" y="1008"/>
                    </a:lnTo>
                    <a:lnTo>
                      <a:pt x="180" y="1008"/>
                    </a:lnTo>
                    <a:lnTo>
                      <a:pt x="174" y="1008"/>
                    </a:lnTo>
                    <a:lnTo>
                      <a:pt x="174" y="1002"/>
                    </a:lnTo>
                    <a:lnTo>
                      <a:pt x="168" y="1002"/>
                    </a:lnTo>
                    <a:lnTo>
                      <a:pt x="168" y="996"/>
                    </a:lnTo>
                    <a:lnTo>
                      <a:pt x="162" y="996"/>
                    </a:lnTo>
                    <a:lnTo>
                      <a:pt x="162" y="990"/>
                    </a:lnTo>
                    <a:lnTo>
                      <a:pt x="162" y="996"/>
                    </a:lnTo>
                    <a:lnTo>
                      <a:pt x="162" y="990"/>
                    </a:lnTo>
                    <a:lnTo>
                      <a:pt x="168" y="990"/>
                    </a:lnTo>
                    <a:lnTo>
                      <a:pt x="162" y="990"/>
                    </a:lnTo>
                    <a:lnTo>
                      <a:pt x="162" y="984"/>
                    </a:lnTo>
                    <a:lnTo>
                      <a:pt x="162" y="978"/>
                    </a:lnTo>
                    <a:lnTo>
                      <a:pt x="162" y="972"/>
                    </a:lnTo>
                    <a:lnTo>
                      <a:pt x="156" y="972"/>
                    </a:lnTo>
                    <a:lnTo>
                      <a:pt x="156" y="966"/>
                    </a:lnTo>
                    <a:lnTo>
                      <a:pt x="150" y="966"/>
                    </a:lnTo>
                    <a:lnTo>
                      <a:pt x="150" y="960"/>
                    </a:lnTo>
                    <a:lnTo>
                      <a:pt x="150" y="954"/>
                    </a:lnTo>
                    <a:lnTo>
                      <a:pt x="150" y="960"/>
                    </a:lnTo>
                    <a:lnTo>
                      <a:pt x="144" y="954"/>
                    </a:lnTo>
                    <a:lnTo>
                      <a:pt x="144" y="948"/>
                    </a:lnTo>
                    <a:lnTo>
                      <a:pt x="138" y="948"/>
                    </a:lnTo>
                    <a:lnTo>
                      <a:pt x="138" y="942"/>
                    </a:lnTo>
                    <a:lnTo>
                      <a:pt x="132" y="942"/>
                    </a:lnTo>
                    <a:lnTo>
                      <a:pt x="132" y="936"/>
                    </a:lnTo>
                    <a:lnTo>
                      <a:pt x="126" y="936"/>
                    </a:lnTo>
                    <a:lnTo>
                      <a:pt x="120" y="936"/>
                    </a:lnTo>
                    <a:lnTo>
                      <a:pt x="120" y="930"/>
                    </a:lnTo>
                    <a:lnTo>
                      <a:pt x="114" y="930"/>
                    </a:lnTo>
                    <a:lnTo>
                      <a:pt x="108" y="930"/>
                    </a:lnTo>
                    <a:lnTo>
                      <a:pt x="108" y="924"/>
                    </a:lnTo>
                    <a:lnTo>
                      <a:pt x="108" y="918"/>
                    </a:lnTo>
                    <a:lnTo>
                      <a:pt x="102" y="918"/>
                    </a:lnTo>
                    <a:lnTo>
                      <a:pt x="102" y="912"/>
                    </a:lnTo>
                    <a:lnTo>
                      <a:pt x="108" y="912"/>
                    </a:lnTo>
                    <a:lnTo>
                      <a:pt x="108" y="906"/>
                    </a:lnTo>
                    <a:lnTo>
                      <a:pt x="108" y="900"/>
                    </a:lnTo>
                    <a:lnTo>
                      <a:pt x="114" y="900"/>
                    </a:lnTo>
                    <a:lnTo>
                      <a:pt x="108" y="900"/>
                    </a:lnTo>
                    <a:lnTo>
                      <a:pt x="114" y="900"/>
                    </a:lnTo>
                    <a:lnTo>
                      <a:pt x="114" y="906"/>
                    </a:lnTo>
                    <a:lnTo>
                      <a:pt x="108" y="912"/>
                    </a:lnTo>
                    <a:lnTo>
                      <a:pt x="114" y="912"/>
                    </a:lnTo>
                    <a:lnTo>
                      <a:pt x="120" y="912"/>
                    </a:lnTo>
                    <a:lnTo>
                      <a:pt x="120" y="918"/>
                    </a:lnTo>
                    <a:lnTo>
                      <a:pt x="126" y="918"/>
                    </a:lnTo>
                    <a:lnTo>
                      <a:pt x="126" y="924"/>
                    </a:lnTo>
                    <a:lnTo>
                      <a:pt x="120" y="924"/>
                    </a:lnTo>
                    <a:lnTo>
                      <a:pt x="126" y="924"/>
                    </a:lnTo>
                    <a:lnTo>
                      <a:pt x="126" y="930"/>
                    </a:lnTo>
                    <a:lnTo>
                      <a:pt x="132" y="930"/>
                    </a:lnTo>
                    <a:lnTo>
                      <a:pt x="132" y="936"/>
                    </a:lnTo>
                    <a:lnTo>
                      <a:pt x="138" y="936"/>
                    </a:lnTo>
                    <a:lnTo>
                      <a:pt x="138" y="942"/>
                    </a:lnTo>
                    <a:lnTo>
                      <a:pt x="144" y="942"/>
                    </a:lnTo>
                    <a:lnTo>
                      <a:pt x="144" y="948"/>
                    </a:lnTo>
                    <a:lnTo>
                      <a:pt x="150" y="948"/>
                    </a:lnTo>
                    <a:lnTo>
                      <a:pt x="150" y="942"/>
                    </a:lnTo>
                    <a:lnTo>
                      <a:pt x="150" y="936"/>
                    </a:lnTo>
                    <a:lnTo>
                      <a:pt x="150" y="942"/>
                    </a:lnTo>
                    <a:lnTo>
                      <a:pt x="144" y="942"/>
                    </a:lnTo>
                    <a:lnTo>
                      <a:pt x="144" y="936"/>
                    </a:lnTo>
                    <a:lnTo>
                      <a:pt x="138" y="936"/>
                    </a:lnTo>
                    <a:lnTo>
                      <a:pt x="138" y="930"/>
                    </a:lnTo>
                    <a:lnTo>
                      <a:pt x="144" y="930"/>
                    </a:lnTo>
                    <a:lnTo>
                      <a:pt x="144" y="936"/>
                    </a:lnTo>
                    <a:lnTo>
                      <a:pt x="144" y="930"/>
                    </a:lnTo>
                    <a:lnTo>
                      <a:pt x="144" y="924"/>
                    </a:lnTo>
                    <a:lnTo>
                      <a:pt x="138" y="924"/>
                    </a:lnTo>
                    <a:lnTo>
                      <a:pt x="132" y="924"/>
                    </a:lnTo>
                    <a:lnTo>
                      <a:pt x="132" y="918"/>
                    </a:lnTo>
                    <a:lnTo>
                      <a:pt x="126" y="918"/>
                    </a:lnTo>
                    <a:lnTo>
                      <a:pt x="126" y="912"/>
                    </a:lnTo>
                    <a:lnTo>
                      <a:pt x="120" y="912"/>
                    </a:lnTo>
                    <a:lnTo>
                      <a:pt x="126" y="912"/>
                    </a:lnTo>
                    <a:lnTo>
                      <a:pt x="126" y="906"/>
                    </a:lnTo>
                    <a:lnTo>
                      <a:pt x="120" y="906"/>
                    </a:lnTo>
                    <a:lnTo>
                      <a:pt x="126" y="906"/>
                    </a:lnTo>
                    <a:lnTo>
                      <a:pt x="126" y="900"/>
                    </a:lnTo>
                    <a:lnTo>
                      <a:pt x="126" y="894"/>
                    </a:lnTo>
                    <a:lnTo>
                      <a:pt x="126" y="888"/>
                    </a:lnTo>
                    <a:lnTo>
                      <a:pt x="120" y="888"/>
                    </a:lnTo>
                    <a:lnTo>
                      <a:pt x="120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08" y="888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08" y="882"/>
                    </a:lnTo>
                    <a:lnTo>
                      <a:pt x="114" y="882"/>
                    </a:lnTo>
                    <a:lnTo>
                      <a:pt x="114" y="876"/>
                    </a:lnTo>
                    <a:lnTo>
                      <a:pt x="108" y="876"/>
                    </a:lnTo>
                    <a:lnTo>
                      <a:pt x="102" y="876"/>
                    </a:lnTo>
                    <a:lnTo>
                      <a:pt x="102" y="882"/>
                    </a:lnTo>
                    <a:lnTo>
                      <a:pt x="96" y="882"/>
                    </a:lnTo>
                    <a:lnTo>
                      <a:pt x="96" y="888"/>
                    </a:lnTo>
                    <a:lnTo>
                      <a:pt x="102" y="888"/>
                    </a:lnTo>
                    <a:lnTo>
                      <a:pt x="108" y="888"/>
                    </a:lnTo>
                    <a:lnTo>
                      <a:pt x="108" y="894"/>
                    </a:lnTo>
                    <a:lnTo>
                      <a:pt x="102" y="894"/>
                    </a:lnTo>
                    <a:lnTo>
                      <a:pt x="108" y="894"/>
                    </a:lnTo>
                    <a:lnTo>
                      <a:pt x="102" y="894"/>
                    </a:lnTo>
                    <a:lnTo>
                      <a:pt x="102" y="888"/>
                    </a:lnTo>
                    <a:lnTo>
                      <a:pt x="96" y="888"/>
                    </a:lnTo>
                    <a:lnTo>
                      <a:pt x="96" y="894"/>
                    </a:lnTo>
                    <a:lnTo>
                      <a:pt x="90" y="894"/>
                    </a:lnTo>
                    <a:lnTo>
                      <a:pt x="90" y="900"/>
                    </a:lnTo>
                    <a:lnTo>
                      <a:pt x="90" y="894"/>
                    </a:lnTo>
                    <a:lnTo>
                      <a:pt x="84" y="894"/>
                    </a:lnTo>
                    <a:lnTo>
                      <a:pt x="84" y="888"/>
                    </a:lnTo>
                    <a:lnTo>
                      <a:pt x="84" y="882"/>
                    </a:lnTo>
                    <a:lnTo>
                      <a:pt x="78" y="882"/>
                    </a:lnTo>
                    <a:lnTo>
                      <a:pt x="78" y="876"/>
                    </a:lnTo>
                    <a:lnTo>
                      <a:pt x="78" y="870"/>
                    </a:lnTo>
                    <a:lnTo>
                      <a:pt x="78" y="864"/>
                    </a:lnTo>
                    <a:lnTo>
                      <a:pt x="78" y="870"/>
                    </a:lnTo>
                    <a:lnTo>
                      <a:pt x="78" y="864"/>
                    </a:lnTo>
                    <a:lnTo>
                      <a:pt x="78" y="858"/>
                    </a:lnTo>
                    <a:lnTo>
                      <a:pt x="78" y="852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2" y="852"/>
                    </a:lnTo>
                    <a:lnTo>
                      <a:pt x="72" y="846"/>
                    </a:lnTo>
                    <a:lnTo>
                      <a:pt x="72" y="840"/>
                    </a:lnTo>
                    <a:lnTo>
                      <a:pt x="78" y="840"/>
                    </a:lnTo>
                    <a:lnTo>
                      <a:pt x="78" y="834"/>
                    </a:lnTo>
                    <a:lnTo>
                      <a:pt x="72" y="834"/>
                    </a:lnTo>
                    <a:lnTo>
                      <a:pt x="78" y="834"/>
                    </a:lnTo>
                    <a:lnTo>
                      <a:pt x="72" y="834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72" y="828"/>
                    </a:lnTo>
                    <a:lnTo>
                      <a:pt x="66" y="828"/>
                    </a:lnTo>
                    <a:lnTo>
                      <a:pt x="66" y="822"/>
                    </a:lnTo>
                    <a:lnTo>
                      <a:pt x="66" y="828"/>
                    </a:lnTo>
                    <a:lnTo>
                      <a:pt x="66" y="822"/>
                    </a:lnTo>
                    <a:lnTo>
                      <a:pt x="66" y="816"/>
                    </a:lnTo>
                    <a:lnTo>
                      <a:pt x="72" y="816"/>
                    </a:lnTo>
                    <a:lnTo>
                      <a:pt x="66" y="816"/>
                    </a:lnTo>
                    <a:lnTo>
                      <a:pt x="72" y="816"/>
                    </a:lnTo>
                    <a:lnTo>
                      <a:pt x="72" y="810"/>
                    </a:lnTo>
                    <a:lnTo>
                      <a:pt x="72" y="816"/>
                    </a:lnTo>
                    <a:lnTo>
                      <a:pt x="78" y="816"/>
                    </a:lnTo>
                    <a:lnTo>
                      <a:pt x="78" y="810"/>
                    </a:lnTo>
                    <a:lnTo>
                      <a:pt x="84" y="810"/>
                    </a:lnTo>
                    <a:lnTo>
                      <a:pt x="84" y="804"/>
                    </a:lnTo>
                    <a:lnTo>
                      <a:pt x="78" y="804"/>
                    </a:lnTo>
                    <a:lnTo>
                      <a:pt x="78" y="798"/>
                    </a:lnTo>
                    <a:lnTo>
                      <a:pt x="78" y="792"/>
                    </a:lnTo>
                    <a:lnTo>
                      <a:pt x="84" y="792"/>
                    </a:lnTo>
                    <a:lnTo>
                      <a:pt x="84" y="786"/>
                    </a:lnTo>
                    <a:lnTo>
                      <a:pt x="84" y="780"/>
                    </a:lnTo>
                    <a:lnTo>
                      <a:pt x="84" y="786"/>
                    </a:lnTo>
                    <a:lnTo>
                      <a:pt x="90" y="786"/>
                    </a:lnTo>
                    <a:lnTo>
                      <a:pt x="90" y="780"/>
                    </a:lnTo>
                    <a:lnTo>
                      <a:pt x="90" y="786"/>
                    </a:lnTo>
                    <a:lnTo>
                      <a:pt x="96" y="786"/>
                    </a:lnTo>
                    <a:lnTo>
                      <a:pt x="96" y="780"/>
                    </a:lnTo>
                    <a:lnTo>
                      <a:pt x="96" y="774"/>
                    </a:lnTo>
                    <a:lnTo>
                      <a:pt x="96" y="780"/>
                    </a:lnTo>
                    <a:lnTo>
                      <a:pt x="96" y="774"/>
                    </a:lnTo>
                    <a:lnTo>
                      <a:pt x="96" y="780"/>
                    </a:lnTo>
                    <a:lnTo>
                      <a:pt x="102" y="780"/>
                    </a:lnTo>
                    <a:lnTo>
                      <a:pt x="102" y="786"/>
                    </a:lnTo>
                    <a:lnTo>
                      <a:pt x="108" y="786"/>
                    </a:lnTo>
                    <a:lnTo>
                      <a:pt x="108" y="792"/>
                    </a:lnTo>
                    <a:lnTo>
                      <a:pt x="108" y="786"/>
                    </a:lnTo>
                    <a:lnTo>
                      <a:pt x="108" y="792"/>
                    </a:lnTo>
                    <a:lnTo>
                      <a:pt x="114" y="792"/>
                    </a:lnTo>
                    <a:lnTo>
                      <a:pt x="108" y="792"/>
                    </a:lnTo>
                    <a:lnTo>
                      <a:pt x="114" y="792"/>
                    </a:lnTo>
                    <a:lnTo>
                      <a:pt x="114" y="798"/>
                    </a:lnTo>
                    <a:lnTo>
                      <a:pt x="120" y="798"/>
                    </a:lnTo>
                    <a:lnTo>
                      <a:pt x="120" y="804"/>
                    </a:lnTo>
                    <a:lnTo>
                      <a:pt x="126" y="804"/>
                    </a:lnTo>
                    <a:lnTo>
                      <a:pt x="132" y="804"/>
                    </a:lnTo>
                    <a:lnTo>
                      <a:pt x="138" y="804"/>
                    </a:lnTo>
                    <a:lnTo>
                      <a:pt x="144" y="804"/>
                    </a:lnTo>
                    <a:lnTo>
                      <a:pt x="144" y="798"/>
                    </a:lnTo>
                    <a:lnTo>
                      <a:pt x="150" y="798"/>
                    </a:lnTo>
                    <a:lnTo>
                      <a:pt x="144" y="798"/>
                    </a:lnTo>
                    <a:lnTo>
                      <a:pt x="144" y="804"/>
                    </a:lnTo>
                    <a:lnTo>
                      <a:pt x="144" y="798"/>
                    </a:lnTo>
                    <a:lnTo>
                      <a:pt x="150" y="798"/>
                    </a:lnTo>
                    <a:lnTo>
                      <a:pt x="150" y="792"/>
                    </a:lnTo>
                    <a:lnTo>
                      <a:pt x="156" y="792"/>
                    </a:lnTo>
                    <a:lnTo>
                      <a:pt x="156" y="786"/>
                    </a:lnTo>
                    <a:lnTo>
                      <a:pt x="162" y="786"/>
                    </a:lnTo>
                    <a:lnTo>
                      <a:pt x="162" y="780"/>
                    </a:lnTo>
                    <a:lnTo>
                      <a:pt x="162" y="774"/>
                    </a:lnTo>
                    <a:lnTo>
                      <a:pt x="168" y="774"/>
                    </a:lnTo>
                    <a:lnTo>
                      <a:pt x="168" y="768"/>
                    </a:lnTo>
                    <a:lnTo>
                      <a:pt x="174" y="768"/>
                    </a:lnTo>
                    <a:lnTo>
                      <a:pt x="168" y="768"/>
                    </a:lnTo>
                    <a:lnTo>
                      <a:pt x="174" y="768"/>
                    </a:lnTo>
                    <a:lnTo>
                      <a:pt x="174" y="762"/>
                    </a:lnTo>
                    <a:lnTo>
                      <a:pt x="180" y="762"/>
                    </a:lnTo>
                    <a:lnTo>
                      <a:pt x="180" y="756"/>
                    </a:lnTo>
                    <a:lnTo>
                      <a:pt x="180" y="750"/>
                    </a:lnTo>
                    <a:lnTo>
                      <a:pt x="186" y="750"/>
                    </a:lnTo>
                    <a:lnTo>
                      <a:pt x="186" y="744"/>
                    </a:lnTo>
                    <a:lnTo>
                      <a:pt x="186" y="738"/>
                    </a:lnTo>
                    <a:lnTo>
                      <a:pt x="192" y="738"/>
                    </a:lnTo>
                    <a:lnTo>
                      <a:pt x="192" y="732"/>
                    </a:lnTo>
                    <a:lnTo>
                      <a:pt x="192" y="726"/>
                    </a:lnTo>
                    <a:lnTo>
                      <a:pt x="192" y="720"/>
                    </a:lnTo>
                    <a:lnTo>
                      <a:pt x="192" y="714"/>
                    </a:lnTo>
                    <a:lnTo>
                      <a:pt x="192" y="708"/>
                    </a:lnTo>
                    <a:lnTo>
                      <a:pt x="198" y="708"/>
                    </a:lnTo>
                    <a:lnTo>
                      <a:pt x="192" y="708"/>
                    </a:lnTo>
                    <a:lnTo>
                      <a:pt x="198" y="708"/>
                    </a:lnTo>
                    <a:lnTo>
                      <a:pt x="198" y="702"/>
                    </a:lnTo>
                    <a:lnTo>
                      <a:pt x="198" y="696"/>
                    </a:lnTo>
                    <a:lnTo>
                      <a:pt x="198" y="690"/>
                    </a:lnTo>
                    <a:lnTo>
                      <a:pt x="198" y="684"/>
                    </a:lnTo>
                    <a:lnTo>
                      <a:pt x="198" y="678"/>
                    </a:lnTo>
                    <a:lnTo>
                      <a:pt x="192" y="678"/>
                    </a:lnTo>
                    <a:lnTo>
                      <a:pt x="192" y="672"/>
                    </a:lnTo>
                    <a:lnTo>
                      <a:pt x="192" y="666"/>
                    </a:lnTo>
                    <a:lnTo>
                      <a:pt x="192" y="660"/>
                    </a:lnTo>
                    <a:lnTo>
                      <a:pt x="192" y="654"/>
                    </a:lnTo>
                    <a:lnTo>
                      <a:pt x="186" y="654"/>
                    </a:lnTo>
                    <a:lnTo>
                      <a:pt x="186" y="648"/>
                    </a:lnTo>
                    <a:lnTo>
                      <a:pt x="186" y="642"/>
                    </a:lnTo>
                    <a:lnTo>
                      <a:pt x="192" y="642"/>
                    </a:lnTo>
                    <a:lnTo>
                      <a:pt x="192" y="636"/>
                    </a:lnTo>
                    <a:lnTo>
                      <a:pt x="198" y="636"/>
                    </a:lnTo>
                    <a:lnTo>
                      <a:pt x="192" y="636"/>
                    </a:lnTo>
                    <a:lnTo>
                      <a:pt x="198" y="636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92" y="624"/>
                    </a:lnTo>
                    <a:lnTo>
                      <a:pt x="192" y="618"/>
                    </a:lnTo>
                    <a:lnTo>
                      <a:pt x="192" y="612"/>
                    </a:lnTo>
                    <a:lnTo>
                      <a:pt x="186" y="612"/>
                    </a:lnTo>
                    <a:lnTo>
                      <a:pt x="192" y="612"/>
                    </a:lnTo>
                    <a:lnTo>
                      <a:pt x="192" y="606"/>
                    </a:lnTo>
                    <a:lnTo>
                      <a:pt x="186" y="606"/>
                    </a:lnTo>
                    <a:lnTo>
                      <a:pt x="186" y="600"/>
                    </a:lnTo>
                    <a:lnTo>
                      <a:pt x="186" y="594"/>
                    </a:lnTo>
                    <a:lnTo>
                      <a:pt x="180" y="594"/>
                    </a:lnTo>
                    <a:lnTo>
                      <a:pt x="186" y="594"/>
                    </a:lnTo>
                    <a:lnTo>
                      <a:pt x="180" y="594"/>
                    </a:lnTo>
                    <a:lnTo>
                      <a:pt x="180" y="588"/>
                    </a:lnTo>
                    <a:lnTo>
                      <a:pt x="180" y="582"/>
                    </a:lnTo>
                    <a:lnTo>
                      <a:pt x="180" y="576"/>
                    </a:lnTo>
                    <a:lnTo>
                      <a:pt x="180" y="570"/>
                    </a:lnTo>
                    <a:lnTo>
                      <a:pt x="180" y="564"/>
                    </a:lnTo>
                    <a:lnTo>
                      <a:pt x="180" y="558"/>
                    </a:lnTo>
                    <a:lnTo>
                      <a:pt x="180" y="552"/>
                    </a:lnTo>
                    <a:lnTo>
                      <a:pt x="180" y="546"/>
                    </a:lnTo>
                    <a:lnTo>
                      <a:pt x="174" y="546"/>
                    </a:lnTo>
                    <a:lnTo>
                      <a:pt x="174" y="540"/>
                    </a:lnTo>
                    <a:lnTo>
                      <a:pt x="174" y="534"/>
                    </a:lnTo>
                    <a:lnTo>
                      <a:pt x="168" y="534"/>
                    </a:lnTo>
                    <a:lnTo>
                      <a:pt x="174" y="534"/>
                    </a:lnTo>
                    <a:lnTo>
                      <a:pt x="174" y="528"/>
                    </a:lnTo>
                    <a:lnTo>
                      <a:pt x="168" y="528"/>
                    </a:lnTo>
                    <a:lnTo>
                      <a:pt x="168" y="522"/>
                    </a:lnTo>
                    <a:lnTo>
                      <a:pt x="168" y="516"/>
                    </a:lnTo>
                    <a:lnTo>
                      <a:pt x="162" y="516"/>
                    </a:lnTo>
                    <a:lnTo>
                      <a:pt x="162" y="510"/>
                    </a:lnTo>
                    <a:lnTo>
                      <a:pt x="168" y="510"/>
                    </a:lnTo>
                    <a:lnTo>
                      <a:pt x="168" y="504"/>
                    </a:lnTo>
                    <a:lnTo>
                      <a:pt x="168" y="510"/>
                    </a:lnTo>
                    <a:lnTo>
                      <a:pt x="168" y="504"/>
                    </a:lnTo>
                    <a:lnTo>
                      <a:pt x="168" y="498"/>
                    </a:lnTo>
                    <a:lnTo>
                      <a:pt x="168" y="492"/>
                    </a:lnTo>
                    <a:lnTo>
                      <a:pt x="162" y="492"/>
                    </a:lnTo>
                    <a:lnTo>
                      <a:pt x="162" y="486"/>
                    </a:lnTo>
                    <a:lnTo>
                      <a:pt x="162" y="480"/>
                    </a:lnTo>
                    <a:lnTo>
                      <a:pt x="156" y="480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6" y="474"/>
                    </a:lnTo>
                    <a:lnTo>
                      <a:pt x="150" y="474"/>
                    </a:lnTo>
                    <a:lnTo>
                      <a:pt x="150" y="468"/>
                    </a:lnTo>
                    <a:lnTo>
                      <a:pt x="150" y="462"/>
                    </a:lnTo>
                    <a:lnTo>
                      <a:pt x="150" y="456"/>
                    </a:lnTo>
                    <a:lnTo>
                      <a:pt x="150" y="450"/>
                    </a:lnTo>
                    <a:lnTo>
                      <a:pt x="144" y="450"/>
                    </a:lnTo>
                    <a:lnTo>
                      <a:pt x="144" y="444"/>
                    </a:lnTo>
                    <a:lnTo>
                      <a:pt x="144" y="438"/>
                    </a:lnTo>
                    <a:lnTo>
                      <a:pt x="138" y="438"/>
                    </a:lnTo>
                    <a:lnTo>
                      <a:pt x="138" y="432"/>
                    </a:lnTo>
                    <a:lnTo>
                      <a:pt x="132" y="432"/>
                    </a:lnTo>
                    <a:lnTo>
                      <a:pt x="132" y="426"/>
                    </a:lnTo>
                    <a:lnTo>
                      <a:pt x="126" y="426"/>
                    </a:lnTo>
                    <a:lnTo>
                      <a:pt x="126" y="420"/>
                    </a:lnTo>
                    <a:lnTo>
                      <a:pt x="126" y="414"/>
                    </a:lnTo>
                    <a:lnTo>
                      <a:pt x="120" y="414"/>
                    </a:lnTo>
                    <a:lnTo>
                      <a:pt x="120" y="408"/>
                    </a:lnTo>
                    <a:lnTo>
                      <a:pt x="120" y="414"/>
                    </a:lnTo>
                    <a:lnTo>
                      <a:pt x="120" y="408"/>
                    </a:lnTo>
                    <a:lnTo>
                      <a:pt x="120" y="402"/>
                    </a:lnTo>
                    <a:lnTo>
                      <a:pt x="114" y="402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08" y="390"/>
                    </a:lnTo>
                    <a:lnTo>
                      <a:pt x="108" y="384"/>
                    </a:lnTo>
                    <a:lnTo>
                      <a:pt x="102" y="384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6" y="372"/>
                    </a:lnTo>
                    <a:lnTo>
                      <a:pt x="90" y="372"/>
                    </a:lnTo>
                    <a:lnTo>
                      <a:pt x="90" y="366"/>
                    </a:lnTo>
                    <a:lnTo>
                      <a:pt x="84" y="366"/>
                    </a:lnTo>
                    <a:lnTo>
                      <a:pt x="84" y="360"/>
                    </a:lnTo>
                    <a:lnTo>
                      <a:pt x="78" y="360"/>
                    </a:lnTo>
                    <a:lnTo>
                      <a:pt x="84" y="360"/>
                    </a:lnTo>
                    <a:lnTo>
                      <a:pt x="78" y="360"/>
                    </a:lnTo>
                    <a:lnTo>
                      <a:pt x="78" y="354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72" y="342"/>
                    </a:lnTo>
                    <a:lnTo>
                      <a:pt x="66" y="342"/>
                    </a:lnTo>
                    <a:lnTo>
                      <a:pt x="60" y="342"/>
                    </a:lnTo>
                    <a:lnTo>
                      <a:pt x="60" y="336"/>
                    </a:lnTo>
                    <a:lnTo>
                      <a:pt x="60" y="330"/>
                    </a:lnTo>
                    <a:lnTo>
                      <a:pt x="54" y="330"/>
                    </a:lnTo>
                    <a:lnTo>
                      <a:pt x="54" y="324"/>
                    </a:lnTo>
                    <a:lnTo>
                      <a:pt x="48" y="324"/>
                    </a:lnTo>
                    <a:lnTo>
                      <a:pt x="48" y="318"/>
                    </a:lnTo>
                    <a:lnTo>
                      <a:pt x="42" y="318"/>
                    </a:lnTo>
                    <a:lnTo>
                      <a:pt x="42" y="312"/>
                    </a:lnTo>
                    <a:lnTo>
                      <a:pt x="42" y="306"/>
                    </a:lnTo>
                    <a:lnTo>
                      <a:pt x="42" y="300"/>
                    </a:lnTo>
                    <a:lnTo>
                      <a:pt x="42" y="294"/>
                    </a:lnTo>
                    <a:lnTo>
                      <a:pt x="36" y="294"/>
                    </a:lnTo>
                    <a:lnTo>
                      <a:pt x="36" y="288"/>
                    </a:lnTo>
                    <a:lnTo>
                      <a:pt x="30" y="288"/>
                    </a:lnTo>
                    <a:lnTo>
                      <a:pt x="30" y="282"/>
                    </a:lnTo>
                    <a:lnTo>
                      <a:pt x="24" y="282"/>
                    </a:lnTo>
                    <a:lnTo>
                      <a:pt x="18" y="282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2" y="270"/>
                    </a:lnTo>
                    <a:lnTo>
                      <a:pt x="12" y="264"/>
                    </a:lnTo>
                    <a:lnTo>
                      <a:pt x="6" y="264"/>
                    </a:lnTo>
                    <a:lnTo>
                      <a:pt x="6" y="258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18" y="264"/>
                    </a:lnTo>
                    <a:lnTo>
                      <a:pt x="18" y="246"/>
                    </a:lnTo>
                    <a:lnTo>
                      <a:pt x="12" y="228"/>
                    </a:lnTo>
                    <a:lnTo>
                      <a:pt x="42" y="204"/>
                    </a:lnTo>
                    <a:lnTo>
                      <a:pt x="24" y="174"/>
                    </a:lnTo>
                    <a:lnTo>
                      <a:pt x="60" y="168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78" y="120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90" y="126"/>
                    </a:lnTo>
                    <a:lnTo>
                      <a:pt x="108" y="144"/>
                    </a:lnTo>
                    <a:lnTo>
                      <a:pt x="114" y="138"/>
                    </a:lnTo>
                    <a:lnTo>
                      <a:pt x="120" y="132"/>
                    </a:lnTo>
                    <a:lnTo>
                      <a:pt x="138" y="132"/>
                    </a:lnTo>
                    <a:lnTo>
                      <a:pt x="150" y="102"/>
                    </a:lnTo>
                    <a:lnTo>
                      <a:pt x="162" y="78"/>
                    </a:lnTo>
                    <a:lnTo>
                      <a:pt x="168" y="48"/>
                    </a:lnTo>
                    <a:lnTo>
                      <a:pt x="174" y="30"/>
                    </a:lnTo>
                    <a:lnTo>
                      <a:pt x="168" y="6"/>
                    </a:lnTo>
                    <a:lnTo>
                      <a:pt x="204" y="48"/>
                    </a:lnTo>
                    <a:lnTo>
                      <a:pt x="198" y="24"/>
                    </a:lnTo>
                    <a:lnTo>
                      <a:pt x="198" y="6"/>
                    </a:lnTo>
                    <a:lnTo>
                      <a:pt x="216" y="0"/>
                    </a:lnTo>
                    <a:lnTo>
                      <a:pt x="246" y="36"/>
                    </a:lnTo>
                    <a:lnTo>
                      <a:pt x="276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</p:grpSp>
        <p:sp>
          <p:nvSpPr>
            <p:cNvPr id="115" name="Freeform 12"/>
            <p:cNvSpPr>
              <a:spLocks noChangeAspect="1" noEditPoints="1"/>
            </p:cNvSpPr>
            <p:nvPr/>
          </p:nvSpPr>
          <p:spPr bwMode="auto">
            <a:xfrm>
              <a:off x="1912045" y="4837112"/>
              <a:ext cx="170408" cy="174934"/>
            </a:xfrm>
            <a:custGeom>
              <a:avLst/>
              <a:gdLst>
                <a:gd name="T0" fmla="*/ 2147483647 w 2700"/>
                <a:gd name="T1" fmla="*/ 2147483647 h 2772"/>
                <a:gd name="T2" fmla="*/ 2147483647 w 2700"/>
                <a:gd name="T3" fmla="*/ 2147483647 h 2772"/>
                <a:gd name="T4" fmla="*/ 2147483647 w 2700"/>
                <a:gd name="T5" fmla="*/ 2147483647 h 2772"/>
                <a:gd name="T6" fmla="*/ 2147483647 w 2700"/>
                <a:gd name="T7" fmla="*/ 2147483647 h 2772"/>
                <a:gd name="T8" fmla="*/ 2147483647 w 2700"/>
                <a:gd name="T9" fmla="*/ 2147483647 h 2772"/>
                <a:gd name="T10" fmla="*/ 2147483647 w 2700"/>
                <a:gd name="T11" fmla="*/ 2147483647 h 2772"/>
                <a:gd name="T12" fmla="*/ 2147483647 w 2700"/>
                <a:gd name="T13" fmla="*/ 2147483647 h 2772"/>
                <a:gd name="T14" fmla="*/ 2147483647 w 2700"/>
                <a:gd name="T15" fmla="*/ 2147483647 h 2772"/>
                <a:gd name="T16" fmla="*/ 2147483647 w 2700"/>
                <a:gd name="T17" fmla="*/ 2147483647 h 2772"/>
                <a:gd name="T18" fmla="*/ 2147483647 w 2700"/>
                <a:gd name="T19" fmla="*/ 2147483647 h 2772"/>
                <a:gd name="T20" fmla="*/ 2147483647 w 2700"/>
                <a:gd name="T21" fmla="*/ 2147483647 h 2772"/>
                <a:gd name="T22" fmla="*/ 2147483647 w 2700"/>
                <a:gd name="T23" fmla="*/ 2147483647 h 2772"/>
                <a:gd name="T24" fmla="*/ 2147483647 w 2700"/>
                <a:gd name="T25" fmla="*/ 2147483647 h 2772"/>
                <a:gd name="T26" fmla="*/ 2147483647 w 2700"/>
                <a:gd name="T27" fmla="*/ 2147483647 h 2772"/>
                <a:gd name="T28" fmla="*/ 2147483647 w 2700"/>
                <a:gd name="T29" fmla="*/ 2147483647 h 2772"/>
                <a:gd name="T30" fmla="*/ 2147483647 w 2700"/>
                <a:gd name="T31" fmla="*/ 2147483647 h 2772"/>
                <a:gd name="T32" fmla="*/ 2147483647 w 2700"/>
                <a:gd name="T33" fmla="*/ 2147483647 h 2772"/>
                <a:gd name="T34" fmla="*/ 2147483647 w 2700"/>
                <a:gd name="T35" fmla="*/ 2147483647 h 2772"/>
                <a:gd name="T36" fmla="*/ 2147483647 w 2700"/>
                <a:gd name="T37" fmla="*/ 2147483647 h 2772"/>
                <a:gd name="T38" fmla="*/ 2147483647 w 2700"/>
                <a:gd name="T39" fmla="*/ 2147483647 h 2772"/>
                <a:gd name="T40" fmla="*/ 2147483647 w 2700"/>
                <a:gd name="T41" fmla="*/ 2147483647 h 2772"/>
                <a:gd name="T42" fmla="*/ 2147483647 w 2700"/>
                <a:gd name="T43" fmla="*/ 2147483647 h 2772"/>
                <a:gd name="T44" fmla="*/ 2147483647 w 2700"/>
                <a:gd name="T45" fmla="*/ 2147483647 h 2772"/>
                <a:gd name="T46" fmla="*/ 2147483647 w 2700"/>
                <a:gd name="T47" fmla="*/ 2147483647 h 2772"/>
                <a:gd name="T48" fmla="*/ 2147483647 w 2700"/>
                <a:gd name="T49" fmla="*/ 2147483647 h 2772"/>
                <a:gd name="T50" fmla="*/ 2147483647 w 2700"/>
                <a:gd name="T51" fmla="*/ 2147483647 h 2772"/>
                <a:gd name="T52" fmla="*/ 2147483647 w 2700"/>
                <a:gd name="T53" fmla="*/ 2147483647 h 2772"/>
                <a:gd name="T54" fmla="*/ 2147483647 w 2700"/>
                <a:gd name="T55" fmla="*/ 2147483647 h 2772"/>
                <a:gd name="T56" fmla="*/ 2147483647 w 2700"/>
                <a:gd name="T57" fmla="*/ 2147483647 h 2772"/>
                <a:gd name="T58" fmla="*/ 2147483647 w 2700"/>
                <a:gd name="T59" fmla="*/ 2147483647 h 2772"/>
                <a:gd name="T60" fmla="*/ 2147483647 w 2700"/>
                <a:gd name="T61" fmla="*/ 2147483647 h 2772"/>
                <a:gd name="T62" fmla="*/ 2147483647 w 2700"/>
                <a:gd name="T63" fmla="*/ 2147483647 h 2772"/>
                <a:gd name="T64" fmla="*/ 2147483647 w 2700"/>
                <a:gd name="T65" fmla="*/ 2147483647 h 2772"/>
                <a:gd name="T66" fmla="*/ 2147483647 w 2700"/>
                <a:gd name="T67" fmla="*/ 2147483647 h 2772"/>
                <a:gd name="T68" fmla="*/ 2147483647 w 2700"/>
                <a:gd name="T69" fmla="*/ 2147483647 h 2772"/>
                <a:gd name="T70" fmla="*/ 2147483647 w 2700"/>
                <a:gd name="T71" fmla="*/ 2147483647 h 2772"/>
                <a:gd name="T72" fmla="*/ 2147483647 w 2700"/>
                <a:gd name="T73" fmla="*/ 2147483647 h 2772"/>
                <a:gd name="T74" fmla="*/ 2147483647 w 2700"/>
                <a:gd name="T75" fmla="*/ 2147483647 h 2772"/>
                <a:gd name="T76" fmla="*/ 2147483647 w 2700"/>
                <a:gd name="T77" fmla="*/ 2147483647 h 2772"/>
                <a:gd name="T78" fmla="*/ 2147483647 w 2700"/>
                <a:gd name="T79" fmla="*/ 2147483647 h 2772"/>
                <a:gd name="T80" fmla="*/ 2147483647 w 2700"/>
                <a:gd name="T81" fmla="*/ 2147483647 h 2772"/>
                <a:gd name="T82" fmla="*/ 2147483647 w 2700"/>
                <a:gd name="T83" fmla="*/ 2147483647 h 2772"/>
                <a:gd name="T84" fmla="*/ 2147483647 w 2700"/>
                <a:gd name="T85" fmla="*/ 2147483647 h 2772"/>
                <a:gd name="T86" fmla="*/ 2147483647 w 2700"/>
                <a:gd name="T87" fmla="*/ 2147483647 h 2772"/>
                <a:gd name="T88" fmla="*/ 2147483647 w 2700"/>
                <a:gd name="T89" fmla="*/ 2147483647 h 2772"/>
                <a:gd name="T90" fmla="*/ 2147483647 w 2700"/>
                <a:gd name="T91" fmla="*/ 2147483647 h 2772"/>
                <a:gd name="T92" fmla="*/ 2147483647 w 2700"/>
                <a:gd name="T93" fmla="*/ 2147483647 h 2772"/>
                <a:gd name="T94" fmla="*/ 2147483647 w 2700"/>
                <a:gd name="T95" fmla="*/ 2147483647 h 2772"/>
                <a:gd name="T96" fmla="*/ 2147483647 w 2700"/>
                <a:gd name="T97" fmla="*/ 2147483647 h 2772"/>
                <a:gd name="T98" fmla="*/ 2147483647 w 2700"/>
                <a:gd name="T99" fmla="*/ 2147483647 h 2772"/>
                <a:gd name="T100" fmla="*/ 2147483647 w 2700"/>
                <a:gd name="T101" fmla="*/ 2147483647 h 2772"/>
                <a:gd name="T102" fmla="*/ 2147483647 w 2700"/>
                <a:gd name="T103" fmla="*/ 2147483647 h 2772"/>
                <a:gd name="T104" fmla="*/ 2147483647 w 2700"/>
                <a:gd name="T105" fmla="*/ 2147483647 h 2772"/>
                <a:gd name="T106" fmla="*/ 2147483647 w 2700"/>
                <a:gd name="T107" fmla="*/ 2147483647 h 2772"/>
                <a:gd name="T108" fmla="*/ 2147483647 w 2700"/>
                <a:gd name="T109" fmla="*/ 2147483647 h 2772"/>
                <a:gd name="T110" fmla="*/ 2147483647 w 2700"/>
                <a:gd name="T111" fmla="*/ 2147483647 h 2772"/>
                <a:gd name="T112" fmla="*/ 2147483647 w 2700"/>
                <a:gd name="T113" fmla="*/ 2147483647 h 2772"/>
                <a:gd name="T114" fmla="*/ 2147483647 w 2700"/>
                <a:gd name="T115" fmla="*/ 2147483647 h 2772"/>
                <a:gd name="T116" fmla="*/ 2147483647 w 2700"/>
                <a:gd name="T117" fmla="*/ 2147483647 h 2772"/>
                <a:gd name="T118" fmla="*/ 2147483647 w 2700"/>
                <a:gd name="T119" fmla="*/ 2147483647 h 2772"/>
                <a:gd name="T120" fmla="*/ 2147483647 w 2700"/>
                <a:gd name="T121" fmla="*/ 2147483647 h 2772"/>
                <a:gd name="T122" fmla="*/ 2147483647 w 2700"/>
                <a:gd name="T123" fmla="*/ 2147483647 h 27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700" h="2772">
                  <a:moveTo>
                    <a:pt x="156" y="1614"/>
                  </a:moveTo>
                  <a:lnTo>
                    <a:pt x="162" y="1614"/>
                  </a:lnTo>
                  <a:lnTo>
                    <a:pt x="162" y="1620"/>
                  </a:lnTo>
                  <a:lnTo>
                    <a:pt x="156" y="1620"/>
                  </a:lnTo>
                  <a:lnTo>
                    <a:pt x="156" y="1614"/>
                  </a:lnTo>
                  <a:close/>
                  <a:moveTo>
                    <a:pt x="156" y="1608"/>
                  </a:moveTo>
                  <a:lnTo>
                    <a:pt x="156" y="1614"/>
                  </a:lnTo>
                  <a:lnTo>
                    <a:pt x="157" y="1614"/>
                  </a:lnTo>
                  <a:lnTo>
                    <a:pt x="156" y="1608"/>
                  </a:lnTo>
                  <a:close/>
                  <a:moveTo>
                    <a:pt x="150" y="1608"/>
                  </a:moveTo>
                  <a:lnTo>
                    <a:pt x="156" y="1608"/>
                  </a:lnTo>
                  <a:lnTo>
                    <a:pt x="150" y="1608"/>
                  </a:lnTo>
                  <a:close/>
                  <a:moveTo>
                    <a:pt x="150" y="1602"/>
                  </a:moveTo>
                  <a:lnTo>
                    <a:pt x="150" y="1608"/>
                  </a:lnTo>
                  <a:lnTo>
                    <a:pt x="151" y="1608"/>
                  </a:lnTo>
                  <a:lnTo>
                    <a:pt x="150" y="1602"/>
                  </a:lnTo>
                  <a:close/>
                  <a:moveTo>
                    <a:pt x="1032" y="36"/>
                  </a:moveTo>
                  <a:lnTo>
                    <a:pt x="1038" y="42"/>
                  </a:lnTo>
                  <a:lnTo>
                    <a:pt x="1050" y="42"/>
                  </a:lnTo>
                  <a:lnTo>
                    <a:pt x="1056" y="48"/>
                  </a:lnTo>
                  <a:lnTo>
                    <a:pt x="1062" y="48"/>
                  </a:lnTo>
                  <a:lnTo>
                    <a:pt x="1068" y="48"/>
                  </a:lnTo>
                  <a:lnTo>
                    <a:pt x="1068" y="54"/>
                  </a:lnTo>
                  <a:lnTo>
                    <a:pt x="1074" y="54"/>
                  </a:lnTo>
                  <a:lnTo>
                    <a:pt x="1080" y="54"/>
                  </a:lnTo>
                  <a:lnTo>
                    <a:pt x="1086" y="54"/>
                  </a:lnTo>
                  <a:lnTo>
                    <a:pt x="1086" y="60"/>
                  </a:lnTo>
                  <a:lnTo>
                    <a:pt x="1092" y="66"/>
                  </a:lnTo>
                  <a:lnTo>
                    <a:pt x="1092" y="72"/>
                  </a:lnTo>
                  <a:lnTo>
                    <a:pt x="1104" y="78"/>
                  </a:lnTo>
                  <a:lnTo>
                    <a:pt x="1110" y="84"/>
                  </a:lnTo>
                  <a:lnTo>
                    <a:pt x="1116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28" y="102"/>
                  </a:lnTo>
                  <a:lnTo>
                    <a:pt x="1134" y="108"/>
                  </a:lnTo>
                  <a:lnTo>
                    <a:pt x="1134" y="114"/>
                  </a:lnTo>
                  <a:lnTo>
                    <a:pt x="1134" y="120"/>
                  </a:lnTo>
                  <a:lnTo>
                    <a:pt x="1140" y="126"/>
                  </a:lnTo>
                  <a:lnTo>
                    <a:pt x="1140" y="132"/>
                  </a:lnTo>
                  <a:lnTo>
                    <a:pt x="1140" y="126"/>
                  </a:lnTo>
                  <a:lnTo>
                    <a:pt x="1146" y="126"/>
                  </a:lnTo>
                  <a:lnTo>
                    <a:pt x="1146" y="132"/>
                  </a:lnTo>
                  <a:lnTo>
                    <a:pt x="1152" y="132"/>
                  </a:lnTo>
                  <a:lnTo>
                    <a:pt x="1146" y="138"/>
                  </a:lnTo>
                  <a:lnTo>
                    <a:pt x="1146" y="144"/>
                  </a:lnTo>
                  <a:lnTo>
                    <a:pt x="1146" y="150"/>
                  </a:lnTo>
                  <a:lnTo>
                    <a:pt x="1152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68"/>
                  </a:lnTo>
                  <a:lnTo>
                    <a:pt x="1164" y="168"/>
                  </a:lnTo>
                  <a:lnTo>
                    <a:pt x="1170" y="174"/>
                  </a:lnTo>
                  <a:lnTo>
                    <a:pt x="1170" y="180"/>
                  </a:lnTo>
                  <a:lnTo>
                    <a:pt x="1164" y="180"/>
                  </a:lnTo>
                  <a:lnTo>
                    <a:pt x="1170" y="186"/>
                  </a:lnTo>
                  <a:lnTo>
                    <a:pt x="1176" y="186"/>
                  </a:lnTo>
                  <a:lnTo>
                    <a:pt x="1176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94" y="210"/>
                  </a:lnTo>
                  <a:lnTo>
                    <a:pt x="1194" y="216"/>
                  </a:lnTo>
                  <a:lnTo>
                    <a:pt x="1194" y="222"/>
                  </a:lnTo>
                  <a:lnTo>
                    <a:pt x="1200" y="222"/>
                  </a:lnTo>
                  <a:lnTo>
                    <a:pt x="1200" y="216"/>
                  </a:lnTo>
                  <a:lnTo>
                    <a:pt x="1200" y="222"/>
                  </a:lnTo>
                  <a:lnTo>
                    <a:pt x="1200" y="228"/>
                  </a:lnTo>
                  <a:lnTo>
                    <a:pt x="1200" y="234"/>
                  </a:lnTo>
                  <a:lnTo>
                    <a:pt x="1206" y="228"/>
                  </a:lnTo>
                  <a:lnTo>
                    <a:pt x="1212" y="228"/>
                  </a:lnTo>
                  <a:lnTo>
                    <a:pt x="1218" y="228"/>
                  </a:lnTo>
                  <a:lnTo>
                    <a:pt x="1218" y="234"/>
                  </a:lnTo>
                  <a:lnTo>
                    <a:pt x="1212" y="234"/>
                  </a:lnTo>
                  <a:lnTo>
                    <a:pt x="1206" y="234"/>
                  </a:lnTo>
                  <a:lnTo>
                    <a:pt x="1206" y="246"/>
                  </a:lnTo>
                  <a:lnTo>
                    <a:pt x="1206" y="252"/>
                  </a:lnTo>
                  <a:lnTo>
                    <a:pt x="1212" y="258"/>
                  </a:lnTo>
                  <a:lnTo>
                    <a:pt x="1224" y="270"/>
                  </a:lnTo>
                  <a:lnTo>
                    <a:pt x="1224" y="276"/>
                  </a:lnTo>
                  <a:lnTo>
                    <a:pt x="1218" y="276"/>
                  </a:lnTo>
                  <a:lnTo>
                    <a:pt x="1218" y="282"/>
                  </a:lnTo>
                  <a:lnTo>
                    <a:pt x="1212" y="282"/>
                  </a:lnTo>
                  <a:lnTo>
                    <a:pt x="1212" y="288"/>
                  </a:lnTo>
                  <a:lnTo>
                    <a:pt x="1218" y="288"/>
                  </a:lnTo>
                  <a:lnTo>
                    <a:pt x="1224" y="294"/>
                  </a:lnTo>
                  <a:lnTo>
                    <a:pt x="1218" y="306"/>
                  </a:lnTo>
                  <a:lnTo>
                    <a:pt x="1218" y="312"/>
                  </a:lnTo>
                  <a:lnTo>
                    <a:pt x="1224" y="312"/>
                  </a:lnTo>
                  <a:lnTo>
                    <a:pt x="1230" y="318"/>
                  </a:lnTo>
                  <a:lnTo>
                    <a:pt x="1236" y="324"/>
                  </a:lnTo>
                  <a:lnTo>
                    <a:pt x="1236" y="336"/>
                  </a:lnTo>
                  <a:lnTo>
                    <a:pt x="1242" y="336"/>
                  </a:lnTo>
                  <a:lnTo>
                    <a:pt x="1242" y="342"/>
                  </a:lnTo>
                  <a:lnTo>
                    <a:pt x="1242" y="348"/>
                  </a:lnTo>
                  <a:lnTo>
                    <a:pt x="1242" y="354"/>
                  </a:lnTo>
                  <a:lnTo>
                    <a:pt x="1254" y="348"/>
                  </a:lnTo>
                  <a:lnTo>
                    <a:pt x="1254" y="360"/>
                  </a:lnTo>
                  <a:lnTo>
                    <a:pt x="1254" y="366"/>
                  </a:lnTo>
                  <a:lnTo>
                    <a:pt x="1260" y="366"/>
                  </a:lnTo>
                  <a:lnTo>
                    <a:pt x="1260" y="372"/>
                  </a:lnTo>
                  <a:lnTo>
                    <a:pt x="1260" y="378"/>
                  </a:lnTo>
                  <a:lnTo>
                    <a:pt x="1260" y="384"/>
                  </a:lnTo>
                  <a:lnTo>
                    <a:pt x="1260" y="390"/>
                  </a:lnTo>
                  <a:lnTo>
                    <a:pt x="1266" y="390"/>
                  </a:lnTo>
                  <a:lnTo>
                    <a:pt x="1266" y="396"/>
                  </a:lnTo>
                  <a:lnTo>
                    <a:pt x="1272" y="396"/>
                  </a:lnTo>
                  <a:lnTo>
                    <a:pt x="1272" y="402"/>
                  </a:lnTo>
                  <a:lnTo>
                    <a:pt x="1266" y="408"/>
                  </a:lnTo>
                  <a:lnTo>
                    <a:pt x="1266" y="414"/>
                  </a:lnTo>
                  <a:lnTo>
                    <a:pt x="1272" y="426"/>
                  </a:lnTo>
                  <a:lnTo>
                    <a:pt x="1266" y="432"/>
                  </a:lnTo>
                  <a:lnTo>
                    <a:pt x="1272" y="438"/>
                  </a:lnTo>
                  <a:lnTo>
                    <a:pt x="1272" y="444"/>
                  </a:lnTo>
                  <a:lnTo>
                    <a:pt x="1272" y="450"/>
                  </a:lnTo>
                  <a:lnTo>
                    <a:pt x="1266" y="450"/>
                  </a:lnTo>
                  <a:lnTo>
                    <a:pt x="1272" y="456"/>
                  </a:lnTo>
                  <a:lnTo>
                    <a:pt x="1278" y="456"/>
                  </a:lnTo>
                  <a:lnTo>
                    <a:pt x="1278" y="462"/>
                  </a:lnTo>
                  <a:lnTo>
                    <a:pt x="1278" y="468"/>
                  </a:lnTo>
                  <a:lnTo>
                    <a:pt x="1272" y="468"/>
                  </a:lnTo>
                  <a:lnTo>
                    <a:pt x="1272" y="474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92"/>
                  </a:lnTo>
                  <a:lnTo>
                    <a:pt x="1260" y="498"/>
                  </a:lnTo>
                  <a:lnTo>
                    <a:pt x="1260" y="504"/>
                  </a:lnTo>
                  <a:lnTo>
                    <a:pt x="1254" y="510"/>
                  </a:lnTo>
                  <a:lnTo>
                    <a:pt x="1248" y="510"/>
                  </a:lnTo>
                  <a:lnTo>
                    <a:pt x="1248" y="516"/>
                  </a:lnTo>
                  <a:lnTo>
                    <a:pt x="1242" y="522"/>
                  </a:lnTo>
                  <a:lnTo>
                    <a:pt x="1236" y="528"/>
                  </a:lnTo>
                  <a:lnTo>
                    <a:pt x="1236" y="534"/>
                  </a:lnTo>
                  <a:lnTo>
                    <a:pt x="1236" y="540"/>
                  </a:lnTo>
                  <a:lnTo>
                    <a:pt x="1230" y="540"/>
                  </a:lnTo>
                  <a:lnTo>
                    <a:pt x="1230" y="552"/>
                  </a:lnTo>
                  <a:lnTo>
                    <a:pt x="1224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12" y="564"/>
                  </a:lnTo>
                  <a:lnTo>
                    <a:pt x="1206" y="576"/>
                  </a:lnTo>
                  <a:lnTo>
                    <a:pt x="1206" y="588"/>
                  </a:lnTo>
                  <a:lnTo>
                    <a:pt x="1206" y="594"/>
                  </a:lnTo>
                  <a:lnTo>
                    <a:pt x="1206" y="606"/>
                  </a:lnTo>
                  <a:lnTo>
                    <a:pt x="1212" y="612"/>
                  </a:lnTo>
                  <a:lnTo>
                    <a:pt x="1212" y="618"/>
                  </a:lnTo>
                  <a:lnTo>
                    <a:pt x="1218" y="624"/>
                  </a:lnTo>
                  <a:lnTo>
                    <a:pt x="1218" y="630"/>
                  </a:lnTo>
                  <a:lnTo>
                    <a:pt x="1218" y="642"/>
                  </a:lnTo>
                  <a:lnTo>
                    <a:pt x="1212" y="648"/>
                  </a:lnTo>
                  <a:lnTo>
                    <a:pt x="1212" y="654"/>
                  </a:lnTo>
                  <a:lnTo>
                    <a:pt x="1218" y="666"/>
                  </a:lnTo>
                  <a:lnTo>
                    <a:pt x="1218" y="672"/>
                  </a:lnTo>
                  <a:lnTo>
                    <a:pt x="1218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0"/>
                  </a:lnTo>
                  <a:lnTo>
                    <a:pt x="1224" y="696"/>
                  </a:lnTo>
                  <a:lnTo>
                    <a:pt x="1224" y="702"/>
                  </a:lnTo>
                  <a:lnTo>
                    <a:pt x="1230" y="702"/>
                  </a:lnTo>
                  <a:lnTo>
                    <a:pt x="1236" y="702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42" y="720"/>
                  </a:lnTo>
                  <a:lnTo>
                    <a:pt x="1242" y="714"/>
                  </a:lnTo>
                  <a:lnTo>
                    <a:pt x="1248" y="708"/>
                  </a:lnTo>
                  <a:lnTo>
                    <a:pt x="1254" y="708"/>
                  </a:lnTo>
                  <a:lnTo>
                    <a:pt x="1260" y="708"/>
                  </a:lnTo>
                  <a:lnTo>
                    <a:pt x="1260" y="702"/>
                  </a:lnTo>
                  <a:lnTo>
                    <a:pt x="1266" y="702"/>
                  </a:lnTo>
                  <a:lnTo>
                    <a:pt x="1266" y="696"/>
                  </a:lnTo>
                  <a:lnTo>
                    <a:pt x="1272" y="696"/>
                  </a:lnTo>
                  <a:lnTo>
                    <a:pt x="1278" y="690"/>
                  </a:lnTo>
                  <a:lnTo>
                    <a:pt x="1284" y="690"/>
                  </a:lnTo>
                  <a:lnTo>
                    <a:pt x="1290" y="684"/>
                  </a:lnTo>
                  <a:lnTo>
                    <a:pt x="1296" y="684"/>
                  </a:lnTo>
                  <a:lnTo>
                    <a:pt x="1302" y="684"/>
                  </a:lnTo>
                  <a:lnTo>
                    <a:pt x="1308" y="684"/>
                  </a:lnTo>
                  <a:lnTo>
                    <a:pt x="1314" y="684"/>
                  </a:lnTo>
                  <a:lnTo>
                    <a:pt x="1320" y="684"/>
                  </a:lnTo>
                  <a:lnTo>
                    <a:pt x="1326" y="690"/>
                  </a:lnTo>
                  <a:lnTo>
                    <a:pt x="1326" y="696"/>
                  </a:lnTo>
                  <a:lnTo>
                    <a:pt x="1332" y="696"/>
                  </a:lnTo>
                  <a:lnTo>
                    <a:pt x="1338" y="702"/>
                  </a:lnTo>
                  <a:lnTo>
                    <a:pt x="1344" y="702"/>
                  </a:lnTo>
                  <a:lnTo>
                    <a:pt x="1356" y="702"/>
                  </a:lnTo>
                  <a:lnTo>
                    <a:pt x="1374" y="708"/>
                  </a:lnTo>
                  <a:lnTo>
                    <a:pt x="1380" y="708"/>
                  </a:lnTo>
                  <a:lnTo>
                    <a:pt x="1380" y="702"/>
                  </a:lnTo>
                  <a:lnTo>
                    <a:pt x="1392" y="696"/>
                  </a:lnTo>
                  <a:lnTo>
                    <a:pt x="1398" y="696"/>
                  </a:lnTo>
                  <a:lnTo>
                    <a:pt x="1404" y="696"/>
                  </a:lnTo>
                  <a:lnTo>
                    <a:pt x="1410" y="696"/>
                  </a:lnTo>
                  <a:lnTo>
                    <a:pt x="1416" y="696"/>
                  </a:lnTo>
                  <a:lnTo>
                    <a:pt x="1422" y="696"/>
                  </a:lnTo>
                  <a:lnTo>
                    <a:pt x="1428" y="690"/>
                  </a:lnTo>
                  <a:lnTo>
                    <a:pt x="1434" y="690"/>
                  </a:lnTo>
                  <a:lnTo>
                    <a:pt x="1440" y="690"/>
                  </a:lnTo>
                  <a:lnTo>
                    <a:pt x="1446" y="690"/>
                  </a:lnTo>
                  <a:lnTo>
                    <a:pt x="1452" y="690"/>
                  </a:lnTo>
                  <a:lnTo>
                    <a:pt x="1458" y="690"/>
                  </a:lnTo>
                  <a:lnTo>
                    <a:pt x="1464" y="690"/>
                  </a:lnTo>
                  <a:lnTo>
                    <a:pt x="1470" y="696"/>
                  </a:lnTo>
                  <a:lnTo>
                    <a:pt x="1476" y="696"/>
                  </a:lnTo>
                  <a:lnTo>
                    <a:pt x="1482" y="696"/>
                  </a:lnTo>
                  <a:lnTo>
                    <a:pt x="1488" y="696"/>
                  </a:lnTo>
                  <a:lnTo>
                    <a:pt x="1494" y="696"/>
                  </a:lnTo>
                  <a:lnTo>
                    <a:pt x="1500" y="696"/>
                  </a:lnTo>
                  <a:lnTo>
                    <a:pt x="1506" y="696"/>
                  </a:lnTo>
                  <a:lnTo>
                    <a:pt x="1512" y="696"/>
                  </a:lnTo>
                  <a:lnTo>
                    <a:pt x="1518" y="702"/>
                  </a:lnTo>
                  <a:lnTo>
                    <a:pt x="1524" y="702"/>
                  </a:lnTo>
                  <a:lnTo>
                    <a:pt x="1524" y="696"/>
                  </a:lnTo>
                  <a:lnTo>
                    <a:pt x="1530" y="702"/>
                  </a:lnTo>
                  <a:lnTo>
                    <a:pt x="1530" y="696"/>
                  </a:lnTo>
                  <a:lnTo>
                    <a:pt x="1536" y="696"/>
                  </a:lnTo>
                  <a:lnTo>
                    <a:pt x="1542" y="696"/>
                  </a:lnTo>
                  <a:lnTo>
                    <a:pt x="1554" y="684"/>
                  </a:lnTo>
                  <a:lnTo>
                    <a:pt x="1560" y="684"/>
                  </a:lnTo>
                  <a:lnTo>
                    <a:pt x="1560" y="678"/>
                  </a:lnTo>
                  <a:lnTo>
                    <a:pt x="1566" y="678"/>
                  </a:lnTo>
                  <a:lnTo>
                    <a:pt x="1566" y="672"/>
                  </a:lnTo>
                  <a:lnTo>
                    <a:pt x="1566" y="666"/>
                  </a:lnTo>
                  <a:lnTo>
                    <a:pt x="1566" y="660"/>
                  </a:lnTo>
                  <a:lnTo>
                    <a:pt x="1566" y="648"/>
                  </a:lnTo>
                  <a:lnTo>
                    <a:pt x="1560" y="648"/>
                  </a:lnTo>
                  <a:lnTo>
                    <a:pt x="1560" y="642"/>
                  </a:lnTo>
                  <a:lnTo>
                    <a:pt x="1566" y="636"/>
                  </a:lnTo>
                  <a:lnTo>
                    <a:pt x="1572" y="630"/>
                  </a:lnTo>
                  <a:lnTo>
                    <a:pt x="1578" y="630"/>
                  </a:lnTo>
                  <a:lnTo>
                    <a:pt x="1584" y="630"/>
                  </a:lnTo>
                  <a:lnTo>
                    <a:pt x="1590" y="630"/>
                  </a:lnTo>
                  <a:lnTo>
                    <a:pt x="1602" y="630"/>
                  </a:lnTo>
                  <a:lnTo>
                    <a:pt x="1608" y="630"/>
                  </a:lnTo>
                  <a:lnTo>
                    <a:pt x="1614" y="630"/>
                  </a:lnTo>
                  <a:lnTo>
                    <a:pt x="1620" y="630"/>
                  </a:lnTo>
                  <a:lnTo>
                    <a:pt x="1632" y="624"/>
                  </a:lnTo>
                  <a:lnTo>
                    <a:pt x="1638" y="618"/>
                  </a:lnTo>
                  <a:lnTo>
                    <a:pt x="1644" y="618"/>
                  </a:lnTo>
                  <a:lnTo>
                    <a:pt x="1650" y="612"/>
                  </a:lnTo>
                  <a:lnTo>
                    <a:pt x="1650" y="606"/>
                  </a:lnTo>
                  <a:lnTo>
                    <a:pt x="1656" y="600"/>
                  </a:lnTo>
                  <a:lnTo>
                    <a:pt x="1662" y="588"/>
                  </a:lnTo>
                  <a:lnTo>
                    <a:pt x="1668" y="588"/>
                  </a:lnTo>
                  <a:lnTo>
                    <a:pt x="1668" y="582"/>
                  </a:lnTo>
                  <a:lnTo>
                    <a:pt x="1674" y="582"/>
                  </a:lnTo>
                  <a:lnTo>
                    <a:pt x="1674" y="576"/>
                  </a:lnTo>
                  <a:lnTo>
                    <a:pt x="1680" y="576"/>
                  </a:lnTo>
                  <a:lnTo>
                    <a:pt x="1680" y="570"/>
                  </a:lnTo>
                  <a:lnTo>
                    <a:pt x="1680" y="564"/>
                  </a:lnTo>
                  <a:lnTo>
                    <a:pt x="1686" y="564"/>
                  </a:lnTo>
                  <a:lnTo>
                    <a:pt x="1686" y="558"/>
                  </a:lnTo>
                  <a:lnTo>
                    <a:pt x="1686" y="552"/>
                  </a:lnTo>
                  <a:lnTo>
                    <a:pt x="1686" y="546"/>
                  </a:lnTo>
                  <a:lnTo>
                    <a:pt x="1692" y="546"/>
                  </a:lnTo>
                  <a:lnTo>
                    <a:pt x="1686" y="540"/>
                  </a:lnTo>
                  <a:lnTo>
                    <a:pt x="1692" y="534"/>
                  </a:lnTo>
                  <a:lnTo>
                    <a:pt x="1698" y="534"/>
                  </a:lnTo>
                  <a:lnTo>
                    <a:pt x="1698" y="528"/>
                  </a:lnTo>
                  <a:lnTo>
                    <a:pt x="1704" y="522"/>
                  </a:lnTo>
                  <a:lnTo>
                    <a:pt x="1710" y="522"/>
                  </a:lnTo>
                  <a:lnTo>
                    <a:pt x="1716" y="516"/>
                  </a:lnTo>
                  <a:lnTo>
                    <a:pt x="1722" y="516"/>
                  </a:lnTo>
                  <a:lnTo>
                    <a:pt x="1728" y="510"/>
                  </a:lnTo>
                  <a:lnTo>
                    <a:pt x="1734" y="510"/>
                  </a:lnTo>
                  <a:lnTo>
                    <a:pt x="1740" y="510"/>
                  </a:lnTo>
                  <a:lnTo>
                    <a:pt x="1740" y="504"/>
                  </a:lnTo>
                  <a:lnTo>
                    <a:pt x="1740" y="498"/>
                  </a:lnTo>
                  <a:lnTo>
                    <a:pt x="1746" y="498"/>
                  </a:lnTo>
                  <a:lnTo>
                    <a:pt x="1752" y="492"/>
                  </a:lnTo>
                  <a:lnTo>
                    <a:pt x="1746" y="486"/>
                  </a:lnTo>
                  <a:lnTo>
                    <a:pt x="1752" y="486"/>
                  </a:lnTo>
                  <a:lnTo>
                    <a:pt x="1752" y="480"/>
                  </a:lnTo>
                  <a:lnTo>
                    <a:pt x="1758" y="474"/>
                  </a:lnTo>
                  <a:lnTo>
                    <a:pt x="1764" y="480"/>
                  </a:lnTo>
                  <a:lnTo>
                    <a:pt x="1770" y="474"/>
                  </a:lnTo>
                  <a:lnTo>
                    <a:pt x="1770" y="468"/>
                  </a:lnTo>
                  <a:lnTo>
                    <a:pt x="1782" y="474"/>
                  </a:lnTo>
                  <a:lnTo>
                    <a:pt x="1788" y="474"/>
                  </a:lnTo>
                  <a:lnTo>
                    <a:pt x="1794" y="474"/>
                  </a:lnTo>
                  <a:lnTo>
                    <a:pt x="1800" y="474"/>
                  </a:lnTo>
                  <a:lnTo>
                    <a:pt x="1800" y="468"/>
                  </a:lnTo>
                  <a:lnTo>
                    <a:pt x="1806" y="462"/>
                  </a:lnTo>
                  <a:lnTo>
                    <a:pt x="1806" y="456"/>
                  </a:lnTo>
                  <a:lnTo>
                    <a:pt x="1806" y="450"/>
                  </a:lnTo>
                  <a:lnTo>
                    <a:pt x="1812" y="450"/>
                  </a:lnTo>
                  <a:lnTo>
                    <a:pt x="1812" y="444"/>
                  </a:lnTo>
                  <a:lnTo>
                    <a:pt x="1818" y="444"/>
                  </a:lnTo>
                  <a:lnTo>
                    <a:pt x="1818" y="438"/>
                  </a:lnTo>
                  <a:lnTo>
                    <a:pt x="1836" y="438"/>
                  </a:lnTo>
                  <a:lnTo>
                    <a:pt x="1842" y="540"/>
                  </a:lnTo>
                  <a:lnTo>
                    <a:pt x="1836" y="546"/>
                  </a:lnTo>
                  <a:lnTo>
                    <a:pt x="1836" y="564"/>
                  </a:lnTo>
                  <a:lnTo>
                    <a:pt x="1842" y="570"/>
                  </a:lnTo>
                  <a:lnTo>
                    <a:pt x="1842" y="588"/>
                  </a:lnTo>
                  <a:lnTo>
                    <a:pt x="1842" y="594"/>
                  </a:lnTo>
                  <a:lnTo>
                    <a:pt x="1848" y="594"/>
                  </a:lnTo>
                  <a:lnTo>
                    <a:pt x="1854" y="594"/>
                  </a:lnTo>
                  <a:lnTo>
                    <a:pt x="1860" y="594"/>
                  </a:lnTo>
                  <a:lnTo>
                    <a:pt x="1860" y="588"/>
                  </a:lnTo>
                  <a:lnTo>
                    <a:pt x="1866" y="588"/>
                  </a:lnTo>
                  <a:lnTo>
                    <a:pt x="1872" y="588"/>
                  </a:lnTo>
                  <a:lnTo>
                    <a:pt x="1872" y="594"/>
                  </a:lnTo>
                  <a:lnTo>
                    <a:pt x="1884" y="588"/>
                  </a:lnTo>
                  <a:lnTo>
                    <a:pt x="1890" y="594"/>
                  </a:lnTo>
                  <a:lnTo>
                    <a:pt x="1890" y="600"/>
                  </a:lnTo>
                  <a:lnTo>
                    <a:pt x="1896" y="600"/>
                  </a:lnTo>
                  <a:lnTo>
                    <a:pt x="1902" y="600"/>
                  </a:lnTo>
                  <a:lnTo>
                    <a:pt x="1908" y="600"/>
                  </a:lnTo>
                  <a:lnTo>
                    <a:pt x="1914" y="600"/>
                  </a:lnTo>
                  <a:lnTo>
                    <a:pt x="1914" y="612"/>
                  </a:lnTo>
                  <a:lnTo>
                    <a:pt x="1920" y="612"/>
                  </a:lnTo>
                  <a:lnTo>
                    <a:pt x="1920" y="606"/>
                  </a:lnTo>
                  <a:lnTo>
                    <a:pt x="1926" y="606"/>
                  </a:lnTo>
                  <a:lnTo>
                    <a:pt x="1932" y="618"/>
                  </a:lnTo>
                  <a:lnTo>
                    <a:pt x="1938" y="624"/>
                  </a:lnTo>
                  <a:lnTo>
                    <a:pt x="1944" y="624"/>
                  </a:lnTo>
                  <a:lnTo>
                    <a:pt x="1950" y="624"/>
                  </a:lnTo>
                  <a:lnTo>
                    <a:pt x="1950" y="630"/>
                  </a:lnTo>
                  <a:lnTo>
                    <a:pt x="1944" y="642"/>
                  </a:lnTo>
                  <a:lnTo>
                    <a:pt x="1938" y="654"/>
                  </a:lnTo>
                  <a:lnTo>
                    <a:pt x="1944" y="660"/>
                  </a:lnTo>
                  <a:lnTo>
                    <a:pt x="1950" y="666"/>
                  </a:lnTo>
                  <a:lnTo>
                    <a:pt x="1938" y="672"/>
                  </a:lnTo>
                  <a:lnTo>
                    <a:pt x="1938" y="690"/>
                  </a:lnTo>
                  <a:lnTo>
                    <a:pt x="1944" y="702"/>
                  </a:lnTo>
                  <a:lnTo>
                    <a:pt x="1944" y="708"/>
                  </a:lnTo>
                  <a:lnTo>
                    <a:pt x="1944" y="720"/>
                  </a:lnTo>
                  <a:lnTo>
                    <a:pt x="1956" y="732"/>
                  </a:lnTo>
                  <a:lnTo>
                    <a:pt x="1956" y="738"/>
                  </a:lnTo>
                  <a:lnTo>
                    <a:pt x="1950" y="744"/>
                  </a:lnTo>
                  <a:lnTo>
                    <a:pt x="1938" y="744"/>
                  </a:lnTo>
                  <a:lnTo>
                    <a:pt x="1932" y="750"/>
                  </a:lnTo>
                  <a:lnTo>
                    <a:pt x="1932" y="762"/>
                  </a:lnTo>
                  <a:lnTo>
                    <a:pt x="1932" y="774"/>
                  </a:lnTo>
                  <a:lnTo>
                    <a:pt x="1938" y="792"/>
                  </a:lnTo>
                  <a:lnTo>
                    <a:pt x="1938" y="798"/>
                  </a:lnTo>
                  <a:lnTo>
                    <a:pt x="1944" y="804"/>
                  </a:lnTo>
                  <a:lnTo>
                    <a:pt x="1944" y="810"/>
                  </a:lnTo>
                  <a:lnTo>
                    <a:pt x="1956" y="804"/>
                  </a:lnTo>
                  <a:lnTo>
                    <a:pt x="1962" y="804"/>
                  </a:lnTo>
                  <a:lnTo>
                    <a:pt x="1968" y="804"/>
                  </a:lnTo>
                  <a:lnTo>
                    <a:pt x="1968" y="816"/>
                  </a:lnTo>
                  <a:lnTo>
                    <a:pt x="1974" y="816"/>
                  </a:lnTo>
                  <a:lnTo>
                    <a:pt x="1980" y="822"/>
                  </a:lnTo>
                  <a:lnTo>
                    <a:pt x="1986" y="828"/>
                  </a:lnTo>
                  <a:lnTo>
                    <a:pt x="1998" y="840"/>
                  </a:lnTo>
                  <a:lnTo>
                    <a:pt x="2004" y="852"/>
                  </a:lnTo>
                  <a:lnTo>
                    <a:pt x="2010" y="852"/>
                  </a:lnTo>
                  <a:lnTo>
                    <a:pt x="2016" y="852"/>
                  </a:lnTo>
                  <a:lnTo>
                    <a:pt x="2028" y="852"/>
                  </a:lnTo>
                  <a:lnTo>
                    <a:pt x="2040" y="858"/>
                  </a:lnTo>
                  <a:lnTo>
                    <a:pt x="2046" y="864"/>
                  </a:lnTo>
                  <a:lnTo>
                    <a:pt x="2058" y="870"/>
                  </a:lnTo>
                  <a:lnTo>
                    <a:pt x="2064" y="876"/>
                  </a:lnTo>
                  <a:lnTo>
                    <a:pt x="2070" y="870"/>
                  </a:lnTo>
                  <a:lnTo>
                    <a:pt x="2076" y="870"/>
                  </a:lnTo>
                  <a:lnTo>
                    <a:pt x="2082" y="876"/>
                  </a:lnTo>
                  <a:lnTo>
                    <a:pt x="2082" y="882"/>
                  </a:lnTo>
                  <a:lnTo>
                    <a:pt x="2082" y="888"/>
                  </a:lnTo>
                  <a:lnTo>
                    <a:pt x="2082" y="894"/>
                  </a:lnTo>
                  <a:lnTo>
                    <a:pt x="2100" y="894"/>
                  </a:lnTo>
                  <a:lnTo>
                    <a:pt x="2112" y="894"/>
                  </a:lnTo>
                  <a:lnTo>
                    <a:pt x="2118" y="894"/>
                  </a:lnTo>
                  <a:lnTo>
                    <a:pt x="2130" y="906"/>
                  </a:lnTo>
                  <a:lnTo>
                    <a:pt x="2148" y="912"/>
                  </a:lnTo>
                  <a:lnTo>
                    <a:pt x="2160" y="918"/>
                  </a:lnTo>
                  <a:lnTo>
                    <a:pt x="2166" y="918"/>
                  </a:lnTo>
                  <a:lnTo>
                    <a:pt x="2178" y="894"/>
                  </a:lnTo>
                  <a:lnTo>
                    <a:pt x="2184" y="894"/>
                  </a:lnTo>
                  <a:lnTo>
                    <a:pt x="2202" y="900"/>
                  </a:lnTo>
                  <a:lnTo>
                    <a:pt x="2208" y="900"/>
                  </a:lnTo>
                  <a:lnTo>
                    <a:pt x="2208" y="894"/>
                  </a:lnTo>
                  <a:lnTo>
                    <a:pt x="2214" y="894"/>
                  </a:lnTo>
                  <a:lnTo>
                    <a:pt x="2214" y="888"/>
                  </a:lnTo>
                  <a:lnTo>
                    <a:pt x="2202" y="888"/>
                  </a:lnTo>
                  <a:lnTo>
                    <a:pt x="2202" y="882"/>
                  </a:lnTo>
                  <a:lnTo>
                    <a:pt x="2202" y="876"/>
                  </a:lnTo>
                  <a:lnTo>
                    <a:pt x="2208" y="870"/>
                  </a:lnTo>
                  <a:lnTo>
                    <a:pt x="2226" y="876"/>
                  </a:lnTo>
                  <a:lnTo>
                    <a:pt x="2232" y="876"/>
                  </a:lnTo>
                  <a:lnTo>
                    <a:pt x="2238" y="876"/>
                  </a:lnTo>
                  <a:lnTo>
                    <a:pt x="2238" y="870"/>
                  </a:lnTo>
                  <a:lnTo>
                    <a:pt x="2232" y="870"/>
                  </a:lnTo>
                  <a:lnTo>
                    <a:pt x="2232" y="864"/>
                  </a:lnTo>
                  <a:lnTo>
                    <a:pt x="2232" y="858"/>
                  </a:lnTo>
                  <a:lnTo>
                    <a:pt x="2232" y="852"/>
                  </a:lnTo>
                  <a:lnTo>
                    <a:pt x="2238" y="846"/>
                  </a:lnTo>
                  <a:lnTo>
                    <a:pt x="2238" y="840"/>
                  </a:lnTo>
                  <a:lnTo>
                    <a:pt x="2262" y="852"/>
                  </a:lnTo>
                  <a:lnTo>
                    <a:pt x="2250" y="876"/>
                  </a:lnTo>
                  <a:lnTo>
                    <a:pt x="2250" y="936"/>
                  </a:lnTo>
                  <a:lnTo>
                    <a:pt x="2268" y="942"/>
                  </a:lnTo>
                  <a:lnTo>
                    <a:pt x="2262" y="978"/>
                  </a:lnTo>
                  <a:lnTo>
                    <a:pt x="2274" y="984"/>
                  </a:lnTo>
                  <a:lnTo>
                    <a:pt x="2316" y="972"/>
                  </a:lnTo>
                  <a:lnTo>
                    <a:pt x="2364" y="966"/>
                  </a:lnTo>
                  <a:lnTo>
                    <a:pt x="2370" y="972"/>
                  </a:lnTo>
                  <a:lnTo>
                    <a:pt x="2370" y="978"/>
                  </a:lnTo>
                  <a:lnTo>
                    <a:pt x="2370" y="984"/>
                  </a:lnTo>
                  <a:lnTo>
                    <a:pt x="2370" y="996"/>
                  </a:lnTo>
                  <a:lnTo>
                    <a:pt x="2370" y="1002"/>
                  </a:lnTo>
                  <a:lnTo>
                    <a:pt x="2370" y="1008"/>
                  </a:lnTo>
                  <a:lnTo>
                    <a:pt x="2370" y="1014"/>
                  </a:lnTo>
                  <a:lnTo>
                    <a:pt x="2358" y="1020"/>
                  </a:lnTo>
                  <a:lnTo>
                    <a:pt x="2358" y="1026"/>
                  </a:lnTo>
                  <a:lnTo>
                    <a:pt x="2346" y="1038"/>
                  </a:lnTo>
                  <a:lnTo>
                    <a:pt x="2352" y="1044"/>
                  </a:lnTo>
                  <a:lnTo>
                    <a:pt x="2358" y="1050"/>
                  </a:lnTo>
                  <a:lnTo>
                    <a:pt x="2364" y="1050"/>
                  </a:lnTo>
                  <a:lnTo>
                    <a:pt x="2370" y="1050"/>
                  </a:lnTo>
                  <a:lnTo>
                    <a:pt x="2370" y="1056"/>
                  </a:lnTo>
                  <a:lnTo>
                    <a:pt x="2382" y="1062"/>
                  </a:lnTo>
                  <a:lnTo>
                    <a:pt x="2382" y="1068"/>
                  </a:lnTo>
                  <a:lnTo>
                    <a:pt x="2376" y="1068"/>
                  </a:lnTo>
                  <a:lnTo>
                    <a:pt x="2370" y="1080"/>
                  </a:lnTo>
                  <a:lnTo>
                    <a:pt x="2370" y="1086"/>
                  </a:lnTo>
                  <a:lnTo>
                    <a:pt x="2376" y="1086"/>
                  </a:lnTo>
                  <a:lnTo>
                    <a:pt x="2388" y="1098"/>
                  </a:lnTo>
                  <a:lnTo>
                    <a:pt x="2394" y="1104"/>
                  </a:lnTo>
                  <a:lnTo>
                    <a:pt x="2400" y="1104"/>
                  </a:lnTo>
                  <a:lnTo>
                    <a:pt x="2406" y="1098"/>
                  </a:lnTo>
                  <a:lnTo>
                    <a:pt x="2406" y="1092"/>
                  </a:lnTo>
                  <a:lnTo>
                    <a:pt x="2412" y="1092"/>
                  </a:lnTo>
                  <a:lnTo>
                    <a:pt x="2412" y="1086"/>
                  </a:lnTo>
                  <a:lnTo>
                    <a:pt x="2412" y="1080"/>
                  </a:lnTo>
                  <a:lnTo>
                    <a:pt x="2418" y="1080"/>
                  </a:lnTo>
                  <a:lnTo>
                    <a:pt x="2424" y="1080"/>
                  </a:lnTo>
                  <a:lnTo>
                    <a:pt x="2424" y="1074"/>
                  </a:lnTo>
                  <a:lnTo>
                    <a:pt x="2424" y="1068"/>
                  </a:lnTo>
                  <a:lnTo>
                    <a:pt x="2430" y="1068"/>
                  </a:lnTo>
                  <a:lnTo>
                    <a:pt x="2430" y="1062"/>
                  </a:lnTo>
                  <a:lnTo>
                    <a:pt x="2430" y="1056"/>
                  </a:lnTo>
                  <a:lnTo>
                    <a:pt x="2430" y="1050"/>
                  </a:lnTo>
                  <a:lnTo>
                    <a:pt x="2424" y="1044"/>
                  </a:lnTo>
                  <a:lnTo>
                    <a:pt x="2430" y="1038"/>
                  </a:lnTo>
                  <a:lnTo>
                    <a:pt x="2430" y="1032"/>
                  </a:lnTo>
                  <a:lnTo>
                    <a:pt x="2436" y="1032"/>
                  </a:lnTo>
                  <a:lnTo>
                    <a:pt x="2436" y="1026"/>
                  </a:lnTo>
                  <a:lnTo>
                    <a:pt x="2436" y="1020"/>
                  </a:lnTo>
                  <a:lnTo>
                    <a:pt x="2442" y="1020"/>
                  </a:lnTo>
                  <a:lnTo>
                    <a:pt x="2448" y="1020"/>
                  </a:lnTo>
                  <a:lnTo>
                    <a:pt x="2448" y="1014"/>
                  </a:lnTo>
                  <a:lnTo>
                    <a:pt x="2454" y="1008"/>
                  </a:lnTo>
                  <a:lnTo>
                    <a:pt x="2448" y="1002"/>
                  </a:lnTo>
                  <a:lnTo>
                    <a:pt x="2448" y="996"/>
                  </a:lnTo>
                  <a:lnTo>
                    <a:pt x="2454" y="996"/>
                  </a:lnTo>
                  <a:lnTo>
                    <a:pt x="2454" y="990"/>
                  </a:lnTo>
                  <a:lnTo>
                    <a:pt x="2454" y="984"/>
                  </a:lnTo>
                  <a:lnTo>
                    <a:pt x="2454" y="978"/>
                  </a:lnTo>
                  <a:lnTo>
                    <a:pt x="2448" y="978"/>
                  </a:lnTo>
                  <a:lnTo>
                    <a:pt x="2448" y="972"/>
                  </a:lnTo>
                  <a:lnTo>
                    <a:pt x="2442" y="966"/>
                  </a:lnTo>
                  <a:lnTo>
                    <a:pt x="2442" y="960"/>
                  </a:lnTo>
                  <a:lnTo>
                    <a:pt x="2448" y="954"/>
                  </a:lnTo>
                  <a:lnTo>
                    <a:pt x="2448" y="948"/>
                  </a:lnTo>
                  <a:lnTo>
                    <a:pt x="2454" y="948"/>
                  </a:lnTo>
                  <a:lnTo>
                    <a:pt x="2466" y="948"/>
                  </a:lnTo>
                  <a:lnTo>
                    <a:pt x="2466" y="942"/>
                  </a:lnTo>
                  <a:lnTo>
                    <a:pt x="2472" y="936"/>
                  </a:lnTo>
                  <a:lnTo>
                    <a:pt x="2472" y="942"/>
                  </a:lnTo>
                  <a:lnTo>
                    <a:pt x="2472" y="948"/>
                  </a:lnTo>
                  <a:lnTo>
                    <a:pt x="2478" y="954"/>
                  </a:lnTo>
                  <a:lnTo>
                    <a:pt x="2478" y="960"/>
                  </a:lnTo>
                  <a:lnTo>
                    <a:pt x="2478" y="966"/>
                  </a:lnTo>
                  <a:lnTo>
                    <a:pt x="2484" y="966"/>
                  </a:lnTo>
                  <a:lnTo>
                    <a:pt x="2496" y="966"/>
                  </a:lnTo>
                  <a:lnTo>
                    <a:pt x="2514" y="966"/>
                  </a:lnTo>
                  <a:lnTo>
                    <a:pt x="2538" y="966"/>
                  </a:lnTo>
                  <a:lnTo>
                    <a:pt x="2550" y="966"/>
                  </a:lnTo>
                  <a:lnTo>
                    <a:pt x="2550" y="972"/>
                  </a:lnTo>
                  <a:lnTo>
                    <a:pt x="2544" y="978"/>
                  </a:lnTo>
                  <a:lnTo>
                    <a:pt x="2538" y="984"/>
                  </a:lnTo>
                  <a:lnTo>
                    <a:pt x="2538" y="990"/>
                  </a:lnTo>
                  <a:lnTo>
                    <a:pt x="2532" y="996"/>
                  </a:lnTo>
                  <a:lnTo>
                    <a:pt x="2526" y="1002"/>
                  </a:lnTo>
                  <a:lnTo>
                    <a:pt x="2520" y="1008"/>
                  </a:lnTo>
                  <a:lnTo>
                    <a:pt x="2514" y="1014"/>
                  </a:lnTo>
                  <a:lnTo>
                    <a:pt x="2514" y="1020"/>
                  </a:lnTo>
                  <a:lnTo>
                    <a:pt x="2508" y="1026"/>
                  </a:lnTo>
                  <a:lnTo>
                    <a:pt x="2502" y="1026"/>
                  </a:lnTo>
                  <a:lnTo>
                    <a:pt x="2502" y="1032"/>
                  </a:lnTo>
                  <a:lnTo>
                    <a:pt x="2496" y="1038"/>
                  </a:lnTo>
                  <a:lnTo>
                    <a:pt x="2490" y="1038"/>
                  </a:lnTo>
                  <a:lnTo>
                    <a:pt x="2490" y="1044"/>
                  </a:lnTo>
                  <a:lnTo>
                    <a:pt x="2496" y="1050"/>
                  </a:lnTo>
                  <a:lnTo>
                    <a:pt x="2496" y="1056"/>
                  </a:lnTo>
                  <a:lnTo>
                    <a:pt x="2502" y="1056"/>
                  </a:lnTo>
                  <a:lnTo>
                    <a:pt x="2502" y="1062"/>
                  </a:lnTo>
                  <a:lnTo>
                    <a:pt x="2502" y="1068"/>
                  </a:lnTo>
                  <a:lnTo>
                    <a:pt x="2508" y="1074"/>
                  </a:lnTo>
                  <a:lnTo>
                    <a:pt x="2508" y="1080"/>
                  </a:lnTo>
                  <a:lnTo>
                    <a:pt x="2514" y="1080"/>
                  </a:lnTo>
                  <a:lnTo>
                    <a:pt x="2514" y="1086"/>
                  </a:lnTo>
                  <a:lnTo>
                    <a:pt x="2514" y="1092"/>
                  </a:lnTo>
                  <a:lnTo>
                    <a:pt x="2520" y="1098"/>
                  </a:lnTo>
                  <a:lnTo>
                    <a:pt x="2526" y="1104"/>
                  </a:lnTo>
                  <a:lnTo>
                    <a:pt x="2532" y="1104"/>
                  </a:lnTo>
                  <a:lnTo>
                    <a:pt x="2532" y="1098"/>
                  </a:lnTo>
                  <a:lnTo>
                    <a:pt x="2538" y="1098"/>
                  </a:lnTo>
                  <a:lnTo>
                    <a:pt x="2544" y="1110"/>
                  </a:lnTo>
                  <a:lnTo>
                    <a:pt x="2544" y="1116"/>
                  </a:lnTo>
                  <a:lnTo>
                    <a:pt x="2544" y="1122"/>
                  </a:lnTo>
                  <a:lnTo>
                    <a:pt x="2538" y="1122"/>
                  </a:lnTo>
                  <a:lnTo>
                    <a:pt x="2538" y="1128"/>
                  </a:lnTo>
                  <a:lnTo>
                    <a:pt x="2538" y="1134"/>
                  </a:lnTo>
                  <a:lnTo>
                    <a:pt x="2538" y="1140"/>
                  </a:lnTo>
                  <a:lnTo>
                    <a:pt x="2532" y="1146"/>
                  </a:lnTo>
                  <a:lnTo>
                    <a:pt x="2532" y="1152"/>
                  </a:lnTo>
                  <a:lnTo>
                    <a:pt x="2520" y="1152"/>
                  </a:lnTo>
                  <a:lnTo>
                    <a:pt x="2520" y="1164"/>
                  </a:lnTo>
                  <a:lnTo>
                    <a:pt x="2508" y="1164"/>
                  </a:lnTo>
                  <a:lnTo>
                    <a:pt x="2508" y="1170"/>
                  </a:lnTo>
                  <a:lnTo>
                    <a:pt x="2514" y="1170"/>
                  </a:lnTo>
                  <a:lnTo>
                    <a:pt x="2514" y="1176"/>
                  </a:lnTo>
                  <a:lnTo>
                    <a:pt x="2520" y="1176"/>
                  </a:lnTo>
                  <a:lnTo>
                    <a:pt x="2520" y="1182"/>
                  </a:lnTo>
                  <a:lnTo>
                    <a:pt x="2520" y="1188"/>
                  </a:lnTo>
                  <a:lnTo>
                    <a:pt x="2514" y="1194"/>
                  </a:lnTo>
                  <a:lnTo>
                    <a:pt x="2514" y="1200"/>
                  </a:lnTo>
                  <a:lnTo>
                    <a:pt x="2514" y="1206"/>
                  </a:lnTo>
                  <a:lnTo>
                    <a:pt x="2514" y="1212"/>
                  </a:lnTo>
                  <a:lnTo>
                    <a:pt x="2514" y="1218"/>
                  </a:lnTo>
                  <a:lnTo>
                    <a:pt x="2508" y="1218"/>
                  </a:lnTo>
                  <a:lnTo>
                    <a:pt x="2508" y="1224"/>
                  </a:lnTo>
                  <a:lnTo>
                    <a:pt x="2502" y="1230"/>
                  </a:lnTo>
                  <a:lnTo>
                    <a:pt x="2496" y="1236"/>
                  </a:lnTo>
                  <a:lnTo>
                    <a:pt x="2502" y="1242"/>
                  </a:lnTo>
                  <a:lnTo>
                    <a:pt x="2496" y="1248"/>
                  </a:lnTo>
                  <a:lnTo>
                    <a:pt x="2496" y="1254"/>
                  </a:lnTo>
                  <a:lnTo>
                    <a:pt x="2496" y="1260"/>
                  </a:lnTo>
                  <a:lnTo>
                    <a:pt x="2496" y="1266"/>
                  </a:lnTo>
                  <a:lnTo>
                    <a:pt x="2496" y="1272"/>
                  </a:lnTo>
                  <a:lnTo>
                    <a:pt x="2490" y="1278"/>
                  </a:lnTo>
                  <a:lnTo>
                    <a:pt x="2496" y="1284"/>
                  </a:lnTo>
                  <a:lnTo>
                    <a:pt x="2502" y="1284"/>
                  </a:lnTo>
                  <a:lnTo>
                    <a:pt x="2508" y="1284"/>
                  </a:lnTo>
                  <a:lnTo>
                    <a:pt x="2508" y="1290"/>
                  </a:lnTo>
                  <a:lnTo>
                    <a:pt x="2502" y="1296"/>
                  </a:lnTo>
                  <a:lnTo>
                    <a:pt x="2502" y="1302"/>
                  </a:lnTo>
                  <a:lnTo>
                    <a:pt x="2502" y="1308"/>
                  </a:lnTo>
                  <a:lnTo>
                    <a:pt x="2496" y="1308"/>
                  </a:lnTo>
                  <a:lnTo>
                    <a:pt x="2496" y="1314"/>
                  </a:lnTo>
                  <a:lnTo>
                    <a:pt x="2490" y="1320"/>
                  </a:lnTo>
                  <a:lnTo>
                    <a:pt x="2490" y="1326"/>
                  </a:lnTo>
                  <a:lnTo>
                    <a:pt x="2490" y="1332"/>
                  </a:lnTo>
                  <a:lnTo>
                    <a:pt x="2484" y="1332"/>
                  </a:lnTo>
                  <a:lnTo>
                    <a:pt x="2484" y="1338"/>
                  </a:lnTo>
                  <a:lnTo>
                    <a:pt x="2484" y="1344"/>
                  </a:lnTo>
                  <a:lnTo>
                    <a:pt x="2478" y="1350"/>
                  </a:lnTo>
                  <a:lnTo>
                    <a:pt x="2478" y="1356"/>
                  </a:lnTo>
                  <a:lnTo>
                    <a:pt x="2472" y="1362"/>
                  </a:lnTo>
                  <a:lnTo>
                    <a:pt x="2472" y="1368"/>
                  </a:lnTo>
                  <a:lnTo>
                    <a:pt x="2472" y="1374"/>
                  </a:lnTo>
                  <a:lnTo>
                    <a:pt x="2466" y="1374"/>
                  </a:lnTo>
                  <a:lnTo>
                    <a:pt x="2466" y="1380"/>
                  </a:lnTo>
                  <a:lnTo>
                    <a:pt x="2460" y="1386"/>
                  </a:lnTo>
                  <a:lnTo>
                    <a:pt x="2460" y="1392"/>
                  </a:lnTo>
                  <a:lnTo>
                    <a:pt x="2454" y="1398"/>
                  </a:lnTo>
                  <a:lnTo>
                    <a:pt x="2454" y="1404"/>
                  </a:lnTo>
                  <a:lnTo>
                    <a:pt x="2454" y="1410"/>
                  </a:lnTo>
                  <a:lnTo>
                    <a:pt x="2448" y="1416"/>
                  </a:lnTo>
                  <a:lnTo>
                    <a:pt x="2448" y="1422"/>
                  </a:lnTo>
                  <a:lnTo>
                    <a:pt x="2442" y="1428"/>
                  </a:lnTo>
                  <a:lnTo>
                    <a:pt x="2442" y="1434"/>
                  </a:lnTo>
                  <a:lnTo>
                    <a:pt x="2436" y="1440"/>
                  </a:lnTo>
                  <a:lnTo>
                    <a:pt x="2436" y="1446"/>
                  </a:lnTo>
                  <a:lnTo>
                    <a:pt x="2430" y="1452"/>
                  </a:lnTo>
                  <a:lnTo>
                    <a:pt x="2430" y="1458"/>
                  </a:lnTo>
                  <a:lnTo>
                    <a:pt x="2430" y="1464"/>
                  </a:lnTo>
                  <a:lnTo>
                    <a:pt x="2424" y="1470"/>
                  </a:lnTo>
                  <a:lnTo>
                    <a:pt x="2418" y="1476"/>
                  </a:lnTo>
                  <a:lnTo>
                    <a:pt x="2418" y="1482"/>
                  </a:lnTo>
                  <a:lnTo>
                    <a:pt x="2418" y="1488"/>
                  </a:lnTo>
                  <a:lnTo>
                    <a:pt x="2412" y="1488"/>
                  </a:lnTo>
                  <a:lnTo>
                    <a:pt x="2412" y="1494"/>
                  </a:lnTo>
                  <a:lnTo>
                    <a:pt x="2412" y="1500"/>
                  </a:lnTo>
                  <a:lnTo>
                    <a:pt x="2406" y="1506"/>
                  </a:lnTo>
                  <a:lnTo>
                    <a:pt x="2406" y="1512"/>
                  </a:lnTo>
                  <a:lnTo>
                    <a:pt x="2400" y="1512"/>
                  </a:lnTo>
                  <a:lnTo>
                    <a:pt x="2400" y="1518"/>
                  </a:lnTo>
                  <a:lnTo>
                    <a:pt x="2400" y="1524"/>
                  </a:lnTo>
                  <a:lnTo>
                    <a:pt x="2394" y="1530"/>
                  </a:lnTo>
                  <a:lnTo>
                    <a:pt x="2394" y="1536"/>
                  </a:lnTo>
                  <a:lnTo>
                    <a:pt x="2388" y="1542"/>
                  </a:lnTo>
                  <a:lnTo>
                    <a:pt x="2388" y="1548"/>
                  </a:lnTo>
                  <a:lnTo>
                    <a:pt x="2388" y="1554"/>
                  </a:lnTo>
                  <a:lnTo>
                    <a:pt x="2382" y="1554"/>
                  </a:lnTo>
                  <a:lnTo>
                    <a:pt x="2382" y="1560"/>
                  </a:lnTo>
                  <a:lnTo>
                    <a:pt x="2376" y="1566"/>
                  </a:lnTo>
                  <a:lnTo>
                    <a:pt x="2376" y="1572"/>
                  </a:lnTo>
                  <a:lnTo>
                    <a:pt x="2376" y="1578"/>
                  </a:lnTo>
                  <a:lnTo>
                    <a:pt x="2370" y="1578"/>
                  </a:lnTo>
                  <a:lnTo>
                    <a:pt x="2370" y="1584"/>
                  </a:lnTo>
                  <a:lnTo>
                    <a:pt x="2370" y="1590"/>
                  </a:lnTo>
                  <a:lnTo>
                    <a:pt x="2364" y="1596"/>
                  </a:lnTo>
                  <a:lnTo>
                    <a:pt x="2364" y="1602"/>
                  </a:lnTo>
                  <a:lnTo>
                    <a:pt x="2358" y="1608"/>
                  </a:lnTo>
                  <a:lnTo>
                    <a:pt x="2358" y="1614"/>
                  </a:lnTo>
                  <a:lnTo>
                    <a:pt x="2358" y="1620"/>
                  </a:lnTo>
                  <a:lnTo>
                    <a:pt x="2352" y="1620"/>
                  </a:lnTo>
                  <a:lnTo>
                    <a:pt x="2352" y="1626"/>
                  </a:lnTo>
                  <a:lnTo>
                    <a:pt x="2346" y="1632"/>
                  </a:lnTo>
                  <a:lnTo>
                    <a:pt x="2352" y="1638"/>
                  </a:lnTo>
                  <a:lnTo>
                    <a:pt x="2352" y="1644"/>
                  </a:lnTo>
                  <a:lnTo>
                    <a:pt x="2352" y="1650"/>
                  </a:lnTo>
                  <a:lnTo>
                    <a:pt x="2352" y="1656"/>
                  </a:lnTo>
                  <a:lnTo>
                    <a:pt x="2358" y="1656"/>
                  </a:lnTo>
                  <a:lnTo>
                    <a:pt x="2358" y="1662"/>
                  </a:lnTo>
                  <a:lnTo>
                    <a:pt x="2364" y="1662"/>
                  </a:lnTo>
                  <a:lnTo>
                    <a:pt x="2364" y="1668"/>
                  </a:lnTo>
                  <a:lnTo>
                    <a:pt x="2364" y="1674"/>
                  </a:lnTo>
                  <a:lnTo>
                    <a:pt x="2370" y="1674"/>
                  </a:lnTo>
                  <a:lnTo>
                    <a:pt x="2370" y="1680"/>
                  </a:lnTo>
                  <a:lnTo>
                    <a:pt x="2376" y="1680"/>
                  </a:lnTo>
                  <a:lnTo>
                    <a:pt x="2382" y="1680"/>
                  </a:lnTo>
                  <a:lnTo>
                    <a:pt x="2388" y="1680"/>
                  </a:lnTo>
                  <a:lnTo>
                    <a:pt x="2388" y="1686"/>
                  </a:lnTo>
                  <a:lnTo>
                    <a:pt x="2394" y="1686"/>
                  </a:lnTo>
                  <a:lnTo>
                    <a:pt x="2394" y="1692"/>
                  </a:lnTo>
                  <a:lnTo>
                    <a:pt x="2400" y="1692"/>
                  </a:lnTo>
                  <a:lnTo>
                    <a:pt x="2406" y="1692"/>
                  </a:lnTo>
                  <a:lnTo>
                    <a:pt x="2412" y="1698"/>
                  </a:lnTo>
                  <a:lnTo>
                    <a:pt x="2412" y="1704"/>
                  </a:lnTo>
                  <a:lnTo>
                    <a:pt x="2418" y="1704"/>
                  </a:lnTo>
                  <a:lnTo>
                    <a:pt x="2418" y="1710"/>
                  </a:lnTo>
                  <a:lnTo>
                    <a:pt x="2424" y="1710"/>
                  </a:lnTo>
                  <a:lnTo>
                    <a:pt x="2424" y="1716"/>
                  </a:lnTo>
                  <a:lnTo>
                    <a:pt x="2430" y="1716"/>
                  </a:lnTo>
                  <a:lnTo>
                    <a:pt x="2436" y="1716"/>
                  </a:lnTo>
                  <a:lnTo>
                    <a:pt x="2442" y="1716"/>
                  </a:lnTo>
                  <a:lnTo>
                    <a:pt x="2442" y="1722"/>
                  </a:lnTo>
                  <a:lnTo>
                    <a:pt x="2442" y="1728"/>
                  </a:lnTo>
                  <a:lnTo>
                    <a:pt x="2442" y="1734"/>
                  </a:lnTo>
                  <a:lnTo>
                    <a:pt x="2448" y="1734"/>
                  </a:lnTo>
                  <a:lnTo>
                    <a:pt x="2448" y="1740"/>
                  </a:lnTo>
                  <a:lnTo>
                    <a:pt x="2454" y="1740"/>
                  </a:lnTo>
                  <a:lnTo>
                    <a:pt x="2454" y="1746"/>
                  </a:lnTo>
                  <a:lnTo>
                    <a:pt x="2460" y="1746"/>
                  </a:lnTo>
                  <a:lnTo>
                    <a:pt x="2466" y="1746"/>
                  </a:lnTo>
                  <a:lnTo>
                    <a:pt x="2472" y="1746"/>
                  </a:lnTo>
                  <a:lnTo>
                    <a:pt x="2478" y="1746"/>
                  </a:lnTo>
                  <a:lnTo>
                    <a:pt x="2484" y="1752"/>
                  </a:lnTo>
                  <a:lnTo>
                    <a:pt x="2484" y="1758"/>
                  </a:lnTo>
                  <a:lnTo>
                    <a:pt x="2484" y="1764"/>
                  </a:lnTo>
                  <a:lnTo>
                    <a:pt x="2490" y="1764"/>
                  </a:lnTo>
                  <a:lnTo>
                    <a:pt x="2490" y="1770"/>
                  </a:lnTo>
                  <a:lnTo>
                    <a:pt x="2490" y="1776"/>
                  </a:lnTo>
                  <a:lnTo>
                    <a:pt x="2496" y="1776"/>
                  </a:lnTo>
                  <a:lnTo>
                    <a:pt x="2496" y="1782"/>
                  </a:lnTo>
                  <a:lnTo>
                    <a:pt x="2496" y="1788"/>
                  </a:lnTo>
                  <a:lnTo>
                    <a:pt x="2502" y="1788"/>
                  </a:lnTo>
                  <a:lnTo>
                    <a:pt x="2502" y="1794"/>
                  </a:lnTo>
                  <a:lnTo>
                    <a:pt x="2502" y="1800"/>
                  </a:lnTo>
                  <a:lnTo>
                    <a:pt x="2508" y="1800"/>
                  </a:lnTo>
                  <a:lnTo>
                    <a:pt x="2508" y="1806"/>
                  </a:lnTo>
                  <a:lnTo>
                    <a:pt x="2508" y="1812"/>
                  </a:lnTo>
                  <a:lnTo>
                    <a:pt x="2514" y="1812"/>
                  </a:lnTo>
                  <a:lnTo>
                    <a:pt x="2520" y="1812"/>
                  </a:lnTo>
                  <a:lnTo>
                    <a:pt x="2520" y="1818"/>
                  </a:lnTo>
                  <a:lnTo>
                    <a:pt x="2526" y="1818"/>
                  </a:lnTo>
                  <a:lnTo>
                    <a:pt x="2526" y="1824"/>
                  </a:lnTo>
                  <a:lnTo>
                    <a:pt x="2526" y="1830"/>
                  </a:lnTo>
                  <a:lnTo>
                    <a:pt x="2532" y="1830"/>
                  </a:lnTo>
                  <a:lnTo>
                    <a:pt x="2532" y="1836"/>
                  </a:lnTo>
                  <a:lnTo>
                    <a:pt x="2538" y="1842"/>
                  </a:lnTo>
                  <a:lnTo>
                    <a:pt x="2544" y="1842"/>
                  </a:lnTo>
                  <a:lnTo>
                    <a:pt x="2544" y="1848"/>
                  </a:lnTo>
                  <a:lnTo>
                    <a:pt x="2550" y="1848"/>
                  </a:lnTo>
                  <a:lnTo>
                    <a:pt x="2550" y="1854"/>
                  </a:lnTo>
                  <a:lnTo>
                    <a:pt x="2556" y="1860"/>
                  </a:lnTo>
                  <a:lnTo>
                    <a:pt x="2556" y="1866"/>
                  </a:lnTo>
                  <a:lnTo>
                    <a:pt x="2562" y="1866"/>
                  </a:lnTo>
                  <a:lnTo>
                    <a:pt x="2562" y="1872"/>
                  </a:lnTo>
                  <a:lnTo>
                    <a:pt x="2568" y="1872"/>
                  </a:lnTo>
                  <a:lnTo>
                    <a:pt x="2568" y="1878"/>
                  </a:lnTo>
                  <a:lnTo>
                    <a:pt x="2574" y="1878"/>
                  </a:lnTo>
                  <a:lnTo>
                    <a:pt x="2574" y="1884"/>
                  </a:lnTo>
                  <a:lnTo>
                    <a:pt x="2580" y="1884"/>
                  </a:lnTo>
                  <a:lnTo>
                    <a:pt x="2586" y="1884"/>
                  </a:lnTo>
                  <a:lnTo>
                    <a:pt x="2586" y="1890"/>
                  </a:lnTo>
                  <a:lnTo>
                    <a:pt x="2586" y="1896"/>
                  </a:lnTo>
                  <a:lnTo>
                    <a:pt x="2592" y="1902"/>
                  </a:lnTo>
                  <a:lnTo>
                    <a:pt x="2592" y="1908"/>
                  </a:lnTo>
                  <a:lnTo>
                    <a:pt x="2598" y="1908"/>
                  </a:lnTo>
                  <a:lnTo>
                    <a:pt x="2604" y="1908"/>
                  </a:lnTo>
                  <a:lnTo>
                    <a:pt x="2604" y="1914"/>
                  </a:lnTo>
                  <a:lnTo>
                    <a:pt x="2610" y="1914"/>
                  </a:lnTo>
                  <a:lnTo>
                    <a:pt x="2616" y="1920"/>
                  </a:lnTo>
                  <a:lnTo>
                    <a:pt x="2622" y="1920"/>
                  </a:lnTo>
                  <a:lnTo>
                    <a:pt x="2622" y="1926"/>
                  </a:lnTo>
                  <a:lnTo>
                    <a:pt x="2622" y="1932"/>
                  </a:lnTo>
                  <a:lnTo>
                    <a:pt x="2628" y="1932"/>
                  </a:lnTo>
                  <a:lnTo>
                    <a:pt x="2628" y="1938"/>
                  </a:lnTo>
                  <a:lnTo>
                    <a:pt x="2634" y="1938"/>
                  </a:lnTo>
                  <a:lnTo>
                    <a:pt x="2640" y="1938"/>
                  </a:lnTo>
                  <a:lnTo>
                    <a:pt x="2646" y="1938"/>
                  </a:lnTo>
                  <a:lnTo>
                    <a:pt x="2652" y="1938"/>
                  </a:lnTo>
                  <a:lnTo>
                    <a:pt x="2658" y="1938"/>
                  </a:lnTo>
                  <a:lnTo>
                    <a:pt x="2658" y="1944"/>
                  </a:lnTo>
                  <a:lnTo>
                    <a:pt x="2664" y="1944"/>
                  </a:lnTo>
                  <a:lnTo>
                    <a:pt x="2664" y="1950"/>
                  </a:lnTo>
                  <a:lnTo>
                    <a:pt x="2670" y="1950"/>
                  </a:lnTo>
                  <a:lnTo>
                    <a:pt x="2670" y="1956"/>
                  </a:lnTo>
                  <a:lnTo>
                    <a:pt x="2676" y="1956"/>
                  </a:lnTo>
                  <a:lnTo>
                    <a:pt x="2676" y="1962"/>
                  </a:lnTo>
                  <a:lnTo>
                    <a:pt x="2682" y="2016"/>
                  </a:lnTo>
                  <a:lnTo>
                    <a:pt x="2700" y="2022"/>
                  </a:lnTo>
                  <a:lnTo>
                    <a:pt x="2694" y="2034"/>
                  </a:lnTo>
                  <a:lnTo>
                    <a:pt x="2688" y="2040"/>
                  </a:lnTo>
                  <a:lnTo>
                    <a:pt x="2682" y="2040"/>
                  </a:lnTo>
                  <a:lnTo>
                    <a:pt x="2682" y="2046"/>
                  </a:lnTo>
                  <a:lnTo>
                    <a:pt x="2694" y="2058"/>
                  </a:lnTo>
                  <a:lnTo>
                    <a:pt x="2694" y="2064"/>
                  </a:lnTo>
                  <a:lnTo>
                    <a:pt x="2694" y="2070"/>
                  </a:lnTo>
                  <a:lnTo>
                    <a:pt x="2688" y="2076"/>
                  </a:lnTo>
                  <a:lnTo>
                    <a:pt x="2682" y="2088"/>
                  </a:lnTo>
                  <a:lnTo>
                    <a:pt x="2688" y="2100"/>
                  </a:lnTo>
                  <a:lnTo>
                    <a:pt x="2676" y="2112"/>
                  </a:lnTo>
                  <a:lnTo>
                    <a:pt x="2670" y="2112"/>
                  </a:lnTo>
                  <a:lnTo>
                    <a:pt x="2676" y="2124"/>
                  </a:lnTo>
                  <a:lnTo>
                    <a:pt x="2664" y="2136"/>
                  </a:lnTo>
                  <a:lnTo>
                    <a:pt x="2658" y="2136"/>
                  </a:lnTo>
                  <a:lnTo>
                    <a:pt x="2652" y="2142"/>
                  </a:lnTo>
                  <a:lnTo>
                    <a:pt x="2652" y="2160"/>
                  </a:lnTo>
                  <a:lnTo>
                    <a:pt x="2646" y="2166"/>
                  </a:lnTo>
                  <a:lnTo>
                    <a:pt x="2604" y="2160"/>
                  </a:lnTo>
                  <a:lnTo>
                    <a:pt x="2598" y="2166"/>
                  </a:lnTo>
                  <a:lnTo>
                    <a:pt x="2556" y="2184"/>
                  </a:lnTo>
                  <a:lnTo>
                    <a:pt x="2532" y="2184"/>
                  </a:lnTo>
                  <a:lnTo>
                    <a:pt x="2526" y="2196"/>
                  </a:lnTo>
                  <a:lnTo>
                    <a:pt x="2502" y="2202"/>
                  </a:lnTo>
                  <a:lnTo>
                    <a:pt x="2502" y="2220"/>
                  </a:lnTo>
                  <a:lnTo>
                    <a:pt x="2490" y="2214"/>
                  </a:lnTo>
                  <a:lnTo>
                    <a:pt x="2478" y="2226"/>
                  </a:lnTo>
                  <a:lnTo>
                    <a:pt x="2460" y="2226"/>
                  </a:lnTo>
                  <a:lnTo>
                    <a:pt x="2454" y="2232"/>
                  </a:lnTo>
                  <a:lnTo>
                    <a:pt x="2436" y="2226"/>
                  </a:lnTo>
                  <a:lnTo>
                    <a:pt x="2412" y="2226"/>
                  </a:lnTo>
                  <a:lnTo>
                    <a:pt x="2412" y="2232"/>
                  </a:lnTo>
                  <a:lnTo>
                    <a:pt x="2412" y="2250"/>
                  </a:lnTo>
                  <a:lnTo>
                    <a:pt x="2400" y="2256"/>
                  </a:lnTo>
                  <a:lnTo>
                    <a:pt x="2406" y="2262"/>
                  </a:lnTo>
                  <a:lnTo>
                    <a:pt x="2400" y="2280"/>
                  </a:lnTo>
                  <a:lnTo>
                    <a:pt x="2400" y="2286"/>
                  </a:lnTo>
                  <a:lnTo>
                    <a:pt x="2400" y="2292"/>
                  </a:lnTo>
                  <a:lnTo>
                    <a:pt x="2400" y="2304"/>
                  </a:lnTo>
                  <a:lnTo>
                    <a:pt x="2400" y="2328"/>
                  </a:lnTo>
                  <a:lnTo>
                    <a:pt x="2394" y="2334"/>
                  </a:lnTo>
                  <a:lnTo>
                    <a:pt x="2340" y="2334"/>
                  </a:lnTo>
                  <a:lnTo>
                    <a:pt x="2340" y="2340"/>
                  </a:lnTo>
                  <a:lnTo>
                    <a:pt x="2334" y="2346"/>
                  </a:lnTo>
                  <a:lnTo>
                    <a:pt x="2328" y="2352"/>
                  </a:lnTo>
                  <a:lnTo>
                    <a:pt x="2322" y="2352"/>
                  </a:lnTo>
                  <a:lnTo>
                    <a:pt x="2298" y="2340"/>
                  </a:lnTo>
                  <a:lnTo>
                    <a:pt x="2292" y="2346"/>
                  </a:lnTo>
                  <a:lnTo>
                    <a:pt x="2292" y="2352"/>
                  </a:lnTo>
                  <a:lnTo>
                    <a:pt x="2298" y="2358"/>
                  </a:lnTo>
                  <a:lnTo>
                    <a:pt x="2274" y="2364"/>
                  </a:lnTo>
                  <a:lnTo>
                    <a:pt x="2262" y="2340"/>
                  </a:lnTo>
                  <a:lnTo>
                    <a:pt x="2262" y="2334"/>
                  </a:lnTo>
                  <a:lnTo>
                    <a:pt x="2238" y="2334"/>
                  </a:lnTo>
                  <a:lnTo>
                    <a:pt x="2238" y="2352"/>
                  </a:lnTo>
                  <a:lnTo>
                    <a:pt x="2226" y="2358"/>
                  </a:lnTo>
                  <a:lnTo>
                    <a:pt x="2220" y="2370"/>
                  </a:lnTo>
                  <a:lnTo>
                    <a:pt x="2214" y="2370"/>
                  </a:lnTo>
                  <a:lnTo>
                    <a:pt x="2208" y="2358"/>
                  </a:lnTo>
                  <a:lnTo>
                    <a:pt x="2196" y="2352"/>
                  </a:lnTo>
                  <a:lnTo>
                    <a:pt x="2202" y="2346"/>
                  </a:lnTo>
                  <a:lnTo>
                    <a:pt x="2202" y="2340"/>
                  </a:lnTo>
                  <a:lnTo>
                    <a:pt x="2178" y="2328"/>
                  </a:lnTo>
                  <a:lnTo>
                    <a:pt x="2172" y="2316"/>
                  </a:lnTo>
                  <a:lnTo>
                    <a:pt x="2142" y="2316"/>
                  </a:lnTo>
                  <a:lnTo>
                    <a:pt x="2136" y="2316"/>
                  </a:lnTo>
                  <a:lnTo>
                    <a:pt x="2130" y="2316"/>
                  </a:lnTo>
                  <a:lnTo>
                    <a:pt x="2130" y="2328"/>
                  </a:lnTo>
                  <a:lnTo>
                    <a:pt x="2118" y="2328"/>
                  </a:lnTo>
                  <a:lnTo>
                    <a:pt x="2112" y="2334"/>
                  </a:lnTo>
                  <a:lnTo>
                    <a:pt x="2100" y="2328"/>
                  </a:lnTo>
                  <a:lnTo>
                    <a:pt x="2082" y="2328"/>
                  </a:lnTo>
                  <a:lnTo>
                    <a:pt x="2076" y="2334"/>
                  </a:lnTo>
                  <a:lnTo>
                    <a:pt x="2058" y="2334"/>
                  </a:lnTo>
                  <a:lnTo>
                    <a:pt x="2040" y="2346"/>
                  </a:lnTo>
                  <a:lnTo>
                    <a:pt x="2034" y="2370"/>
                  </a:lnTo>
                  <a:lnTo>
                    <a:pt x="2028" y="2382"/>
                  </a:lnTo>
                  <a:lnTo>
                    <a:pt x="2028" y="2388"/>
                  </a:lnTo>
                  <a:lnTo>
                    <a:pt x="1992" y="2424"/>
                  </a:lnTo>
                  <a:lnTo>
                    <a:pt x="1986" y="2430"/>
                  </a:lnTo>
                  <a:lnTo>
                    <a:pt x="1974" y="2412"/>
                  </a:lnTo>
                  <a:lnTo>
                    <a:pt x="1974" y="2406"/>
                  </a:lnTo>
                  <a:lnTo>
                    <a:pt x="1980" y="2394"/>
                  </a:lnTo>
                  <a:lnTo>
                    <a:pt x="1950" y="2388"/>
                  </a:lnTo>
                  <a:lnTo>
                    <a:pt x="1932" y="2394"/>
                  </a:lnTo>
                  <a:lnTo>
                    <a:pt x="1920" y="2388"/>
                  </a:lnTo>
                  <a:lnTo>
                    <a:pt x="1920" y="2376"/>
                  </a:lnTo>
                  <a:lnTo>
                    <a:pt x="1896" y="2388"/>
                  </a:lnTo>
                  <a:lnTo>
                    <a:pt x="1884" y="2370"/>
                  </a:lnTo>
                  <a:lnTo>
                    <a:pt x="1860" y="2376"/>
                  </a:lnTo>
                  <a:lnTo>
                    <a:pt x="1836" y="2370"/>
                  </a:lnTo>
                  <a:lnTo>
                    <a:pt x="1848" y="2346"/>
                  </a:lnTo>
                  <a:lnTo>
                    <a:pt x="1836" y="2340"/>
                  </a:lnTo>
                  <a:lnTo>
                    <a:pt x="1830" y="2328"/>
                  </a:lnTo>
                  <a:lnTo>
                    <a:pt x="1812" y="2322"/>
                  </a:lnTo>
                  <a:lnTo>
                    <a:pt x="1758" y="2292"/>
                  </a:lnTo>
                  <a:lnTo>
                    <a:pt x="1752" y="2298"/>
                  </a:lnTo>
                  <a:lnTo>
                    <a:pt x="1752" y="2310"/>
                  </a:lnTo>
                  <a:lnTo>
                    <a:pt x="1746" y="2316"/>
                  </a:lnTo>
                  <a:lnTo>
                    <a:pt x="1740" y="2340"/>
                  </a:lnTo>
                  <a:lnTo>
                    <a:pt x="1722" y="2364"/>
                  </a:lnTo>
                  <a:lnTo>
                    <a:pt x="1722" y="2400"/>
                  </a:lnTo>
                  <a:lnTo>
                    <a:pt x="1698" y="2388"/>
                  </a:lnTo>
                  <a:lnTo>
                    <a:pt x="1704" y="2400"/>
                  </a:lnTo>
                  <a:lnTo>
                    <a:pt x="1704" y="2406"/>
                  </a:lnTo>
                  <a:lnTo>
                    <a:pt x="1704" y="2412"/>
                  </a:lnTo>
                  <a:lnTo>
                    <a:pt x="1698" y="2412"/>
                  </a:lnTo>
                  <a:lnTo>
                    <a:pt x="1704" y="2430"/>
                  </a:lnTo>
                  <a:lnTo>
                    <a:pt x="1698" y="2436"/>
                  </a:lnTo>
                  <a:lnTo>
                    <a:pt x="1698" y="2442"/>
                  </a:lnTo>
                  <a:lnTo>
                    <a:pt x="1698" y="2448"/>
                  </a:lnTo>
                  <a:lnTo>
                    <a:pt x="1704" y="2448"/>
                  </a:lnTo>
                  <a:lnTo>
                    <a:pt x="1716" y="2460"/>
                  </a:lnTo>
                  <a:lnTo>
                    <a:pt x="1704" y="2484"/>
                  </a:lnTo>
                  <a:lnTo>
                    <a:pt x="1698" y="2466"/>
                  </a:lnTo>
                  <a:lnTo>
                    <a:pt x="1680" y="2472"/>
                  </a:lnTo>
                  <a:lnTo>
                    <a:pt x="1680" y="2508"/>
                  </a:lnTo>
                  <a:lnTo>
                    <a:pt x="1662" y="2514"/>
                  </a:lnTo>
                  <a:lnTo>
                    <a:pt x="1656" y="2526"/>
                  </a:lnTo>
                  <a:lnTo>
                    <a:pt x="1638" y="2532"/>
                  </a:lnTo>
                  <a:lnTo>
                    <a:pt x="1614" y="2520"/>
                  </a:lnTo>
                  <a:lnTo>
                    <a:pt x="1608" y="2514"/>
                  </a:lnTo>
                  <a:lnTo>
                    <a:pt x="1602" y="2508"/>
                  </a:lnTo>
                  <a:lnTo>
                    <a:pt x="1584" y="2526"/>
                  </a:lnTo>
                  <a:lnTo>
                    <a:pt x="1566" y="2514"/>
                  </a:lnTo>
                  <a:lnTo>
                    <a:pt x="1548" y="2520"/>
                  </a:lnTo>
                  <a:lnTo>
                    <a:pt x="1548" y="2550"/>
                  </a:lnTo>
                  <a:lnTo>
                    <a:pt x="1536" y="2556"/>
                  </a:lnTo>
                  <a:lnTo>
                    <a:pt x="1524" y="2556"/>
                  </a:lnTo>
                  <a:lnTo>
                    <a:pt x="1512" y="2568"/>
                  </a:lnTo>
                  <a:lnTo>
                    <a:pt x="1506" y="2568"/>
                  </a:lnTo>
                  <a:lnTo>
                    <a:pt x="1488" y="2574"/>
                  </a:lnTo>
                  <a:lnTo>
                    <a:pt x="1476" y="2574"/>
                  </a:lnTo>
                  <a:lnTo>
                    <a:pt x="1476" y="2580"/>
                  </a:lnTo>
                  <a:lnTo>
                    <a:pt x="1476" y="2592"/>
                  </a:lnTo>
                  <a:lnTo>
                    <a:pt x="1470" y="2592"/>
                  </a:lnTo>
                  <a:lnTo>
                    <a:pt x="1464" y="2598"/>
                  </a:lnTo>
                  <a:lnTo>
                    <a:pt x="1452" y="2604"/>
                  </a:lnTo>
                  <a:lnTo>
                    <a:pt x="1452" y="2610"/>
                  </a:lnTo>
                  <a:lnTo>
                    <a:pt x="1446" y="2616"/>
                  </a:lnTo>
                  <a:lnTo>
                    <a:pt x="1446" y="2622"/>
                  </a:lnTo>
                  <a:lnTo>
                    <a:pt x="1440" y="2640"/>
                  </a:lnTo>
                  <a:lnTo>
                    <a:pt x="1446" y="2658"/>
                  </a:lnTo>
                  <a:lnTo>
                    <a:pt x="1398" y="2670"/>
                  </a:lnTo>
                  <a:lnTo>
                    <a:pt x="1386" y="2664"/>
                  </a:lnTo>
                  <a:lnTo>
                    <a:pt x="1350" y="2676"/>
                  </a:lnTo>
                  <a:lnTo>
                    <a:pt x="1338" y="2688"/>
                  </a:lnTo>
                  <a:lnTo>
                    <a:pt x="1338" y="2694"/>
                  </a:lnTo>
                  <a:lnTo>
                    <a:pt x="1344" y="2706"/>
                  </a:lnTo>
                  <a:lnTo>
                    <a:pt x="1350" y="2724"/>
                  </a:lnTo>
                  <a:lnTo>
                    <a:pt x="1344" y="2748"/>
                  </a:lnTo>
                  <a:lnTo>
                    <a:pt x="1326" y="2760"/>
                  </a:lnTo>
                  <a:lnTo>
                    <a:pt x="1320" y="2766"/>
                  </a:lnTo>
                  <a:lnTo>
                    <a:pt x="1302" y="2766"/>
                  </a:lnTo>
                  <a:lnTo>
                    <a:pt x="1284" y="2772"/>
                  </a:lnTo>
                  <a:lnTo>
                    <a:pt x="1272" y="2754"/>
                  </a:lnTo>
                  <a:lnTo>
                    <a:pt x="1254" y="2772"/>
                  </a:lnTo>
                  <a:lnTo>
                    <a:pt x="1242" y="2772"/>
                  </a:lnTo>
                  <a:lnTo>
                    <a:pt x="1236" y="2772"/>
                  </a:lnTo>
                  <a:lnTo>
                    <a:pt x="1224" y="2760"/>
                  </a:lnTo>
                  <a:lnTo>
                    <a:pt x="1218" y="2766"/>
                  </a:lnTo>
                  <a:lnTo>
                    <a:pt x="1212" y="2748"/>
                  </a:lnTo>
                  <a:lnTo>
                    <a:pt x="1206" y="2742"/>
                  </a:lnTo>
                  <a:lnTo>
                    <a:pt x="1194" y="2724"/>
                  </a:lnTo>
                  <a:lnTo>
                    <a:pt x="1182" y="2724"/>
                  </a:lnTo>
                  <a:lnTo>
                    <a:pt x="1176" y="2718"/>
                  </a:lnTo>
                  <a:lnTo>
                    <a:pt x="1170" y="2718"/>
                  </a:lnTo>
                  <a:lnTo>
                    <a:pt x="1164" y="2718"/>
                  </a:lnTo>
                  <a:lnTo>
                    <a:pt x="1164" y="2688"/>
                  </a:lnTo>
                  <a:lnTo>
                    <a:pt x="1158" y="2676"/>
                  </a:lnTo>
                  <a:lnTo>
                    <a:pt x="1146" y="2670"/>
                  </a:lnTo>
                  <a:lnTo>
                    <a:pt x="1134" y="2634"/>
                  </a:lnTo>
                  <a:lnTo>
                    <a:pt x="1128" y="2610"/>
                  </a:lnTo>
                  <a:lnTo>
                    <a:pt x="1128" y="2592"/>
                  </a:lnTo>
                  <a:lnTo>
                    <a:pt x="1140" y="2598"/>
                  </a:lnTo>
                  <a:lnTo>
                    <a:pt x="1152" y="2586"/>
                  </a:lnTo>
                  <a:lnTo>
                    <a:pt x="1146" y="2574"/>
                  </a:lnTo>
                  <a:lnTo>
                    <a:pt x="1164" y="2556"/>
                  </a:lnTo>
                  <a:lnTo>
                    <a:pt x="1176" y="2562"/>
                  </a:lnTo>
                  <a:lnTo>
                    <a:pt x="1170" y="2538"/>
                  </a:lnTo>
                  <a:lnTo>
                    <a:pt x="1158" y="2532"/>
                  </a:lnTo>
                  <a:lnTo>
                    <a:pt x="1158" y="2526"/>
                  </a:lnTo>
                  <a:lnTo>
                    <a:pt x="1152" y="2520"/>
                  </a:lnTo>
                  <a:lnTo>
                    <a:pt x="1146" y="2526"/>
                  </a:lnTo>
                  <a:lnTo>
                    <a:pt x="1134" y="2532"/>
                  </a:lnTo>
                  <a:lnTo>
                    <a:pt x="1128" y="2544"/>
                  </a:lnTo>
                  <a:lnTo>
                    <a:pt x="1116" y="2544"/>
                  </a:lnTo>
                  <a:lnTo>
                    <a:pt x="1110" y="2562"/>
                  </a:lnTo>
                  <a:lnTo>
                    <a:pt x="1086" y="2586"/>
                  </a:lnTo>
                  <a:lnTo>
                    <a:pt x="1062" y="2592"/>
                  </a:lnTo>
                  <a:lnTo>
                    <a:pt x="1062" y="2586"/>
                  </a:lnTo>
                  <a:lnTo>
                    <a:pt x="1050" y="2586"/>
                  </a:lnTo>
                  <a:lnTo>
                    <a:pt x="1050" y="2592"/>
                  </a:lnTo>
                  <a:lnTo>
                    <a:pt x="1038" y="2604"/>
                  </a:lnTo>
                  <a:lnTo>
                    <a:pt x="1026" y="2598"/>
                  </a:lnTo>
                  <a:lnTo>
                    <a:pt x="1020" y="2610"/>
                  </a:lnTo>
                  <a:lnTo>
                    <a:pt x="1026" y="2616"/>
                  </a:lnTo>
                  <a:lnTo>
                    <a:pt x="1008" y="2622"/>
                  </a:lnTo>
                  <a:lnTo>
                    <a:pt x="1002" y="2610"/>
                  </a:lnTo>
                  <a:lnTo>
                    <a:pt x="996" y="2616"/>
                  </a:lnTo>
                  <a:lnTo>
                    <a:pt x="996" y="2634"/>
                  </a:lnTo>
                  <a:lnTo>
                    <a:pt x="990" y="2652"/>
                  </a:lnTo>
                  <a:lnTo>
                    <a:pt x="990" y="2658"/>
                  </a:lnTo>
                  <a:lnTo>
                    <a:pt x="990" y="2664"/>
                  </a:lnTo>
                  <a:lnTo>
                    <a:pt x="996" y="2670"/>
                  </a:lnTo>
                  <a:lnTo>
                    <a:pt x="996" y="2676"/>
                  </a:lnTo>
                  <a:lnTo>
                    <a:pt x="978" y="2694"/>
                  </a:lnTo>
                  <a:lnTo>
                    <a:pt x="960" y="2664"/>
                  </a:lnTo>
                  <a:lnTo>
                    <a:pt x="966" y="2628"/>
                  </a:lnTo>
                  <a:lnTo>
                    <a:pt x="960" y="2622"/>
                  </a:lnTo>
                  <a:lnTo>
                    <a:pt x="960" y="2616"/>
                  </a:lnTo>
                  <a:lnTo>
                    <a:pt x="954" y="2610"/>
                  </a:lnTo>
                  <a:lnTo>
                    <a:pt x="948" y="2604"/>
                  </a:lnTo>
                  <a:lnTo>
                    <a:pt x="948" y="2598"/>
                  </a:lnTo>
                  <a:lnTo>
                    <a:pt x="942" y="2592"/>
                  </a:lnTo>
                  <a:lnTo>
                    <a:pt x="936" y="2568"/>
                  </a:lnTo>
                  <a:lnTo>
                    <a:pt x="942" y="2562"/>
                  </a:lnTo>
                  <a:lnTo>
                    <a:pt x="960" y="2550"/>
                  </a:lnTo>
                  <a:lnTo>
                    <a:pt x="960" y="2544"/>
                  </a:lnTo>
                  <a:lnTo>
                    <a:pt x="960" y="2538"/>
                  </a:lnTo>
                  <a:lnTo>
                    <a:pt x="960" y="2532"/>
                  </a:lnTo>
                  <a:lnTo>
                    <a:pt x="954" y="2526"/>
                  </a:lnTo>
                  <a:lnTo>
                    <a:pt x="954" y="2520"/>
                  </a:lnTo>
                  <a:lnTo>
                    <a:pt x="954" y="2514"/>
                  </a:lnTo>
                  <a:lnTo>
                    <a:pt x="954" y="2508"/>
                  </a:lnTo>
                  <a:lnTo>
                    <a:pt x="954" y="2502"/>
                  </a:lnTo>
                  <a:lnTo>
                    <a:pt x="954" y="2496"/>
                  </a:lnTo>
                  <a:lnTo>
                    <a:pt x="948" y="2496"/>
                  </a:lnTo>
                  <a:lnTo>
                    <a:pt x="942" y="2490"/>
                  </a:lnTo>
                  <a:lnTo>
                    <a:pt x="936" y="2484"/>
                  </a:lnTo>
                  <a:lnTo>
                    <a:pt x="930" y="2484"/>
                  </a:lnTo>
                  <a:lnTo>
                    <a:pt x="924" y="2484"/>
                  </a:lnTo>
                  <a:lnTo>
                    <a:pt x="918" y="2484"/>
                  </a:lnTo>
                  <a:lnTo>
                    <a:pt x="918" y="2478"/>
                  </a:lnTo>
                  <a:lnTo>
                    <a:pt x="912" y="2478"/>
                  </a:lnTo>
                  <a:lnTo>
                    <a:pt x="912" y="2484"/>
                  </a:lnTo>
                  <a:lnTo>
                    <a:pt x="906" y="2478"/>
                  </a:lnTo>
                  <a:lnTo>
                    <a:pt x="906" y="2466"/>
                  </a:lnTo>
                  <a:lnTo>
                    <a:pt x="900" y="2466"/>
                  </a:lnTo>
                  <a:lnTo>
                    <a:pt x="900" y="2460"/>
                  </a:lnTo>
                  <a:lnTo>
                    <a:pt x="894" y="2460"/>
                  </a:lnTo>
                  <a:lnTo>
                    <a:pt x="888" y="2460"/>
                  </a:lnTo>
                  <a:lnTo>
                    <a:pt x="882" y="2460"/>
                  </a:lnTo>
                  <a:lnTo>
                    <a:pt x="888" y="2448"/>
                  </a:lnTo>
                  <a:lnTo>
                    <a:pt x="888" y="2442"/>
                  </a:lnTo>
                  <a:lnTo>
                    <a:pt x="888" y="2436"/>
                  </a:lnTo>
                  <a:lnTo>
                    <a:pt x="888" y="2430"/>
                  </a:lnTo>
                  <a:lnTo>
                    <a:pt x="888" y="2424"/>
                  </a:lnTo>
                  <a:lnTo>
                    <a:pt x="870" y="2448"/>
                  </a:lnTo>
                  <a:lnTo>
                    <a:pt x="864" y="2442"/>
                  </a:lnTo>
                  <a:lnTo>
                    <a:pt x="858" y="2442"/>
                  </a:lnTo>
                  <a:lnTo>
                    <a:pt x="852" y="2448"/>
                  </a:lnTo>
                  <a:lnTo>
                    <a:pt x="852" y="2442"/>
                  </a:lnTo>
                  <a:lnTo>
                    <a:pt x="846" y="2442"/>
                  </a:lnTo>
                  <a:lnTo>
                    <a:pt x="840" y="2436"/>
                  </a:lnTo>
                  <a:lnTo>
                    <a:pt x="834" y="2436"/>
                  </a:lnTo>
                  <a:lnTo>
                    <a:pt x="828" y="2436"/>
                  </a:lnTo>
                  <a:lnTo>
                    <a:pt x="822" y="2436"/>
                  </a:lnTo>
                  <a:lnTo>
                    <a:pt x="822" y="2430"/>
                  </a:lnTo>
                  <a:lnTo>
                    <a:pt x="822" y="2418"/>
                  </a:lnTo>
                  <a:lnTo>
                    <a:pt x="834" y="2400"/>
                  </a:lnTo>
                  <a:lnTo>
                    <a:pt x="834" y="2394"/>
                  </a:lnTo>
                  <a:lnTo>
                    <a:pt x="834" y="2388"/>
                  </a:lnTo>
                  <a:lnTo>
                    <a:pt x="834" y="2382"/>
                  </a:lnTo>
                  <a:lnTo>
                    <a:pt x="828" y="2370"/>
                  </a:lnTo>
                  <a:lnTo>
                    <a:pt x="822" y="2352"/>
                  </a:lnTo>
                  <a:lnTo>
                    <a:pt x="828" y="2352"/>
                  </a:lnTo>
                  <a:lnTo>
                    <a:pt x="822" y="2334"/>
                  </a:lnTo>
                  <a:lnTo>
                    <a:pt x="828" y="2328"/>
                  </a:lnTo>
                  <a:lnTo>
                    <a:pt x="822" y="2322"/>
                  </a:lnTo>
                  <a:lnTo>
                    <a:pt x="816" y="2322"/>
                  </a:lnTo>
                  <a:lnTo>
                    <a:pt x="822" y="2304"/>
                  </a:lnTo>
                  <a:lnTo>
                    <a:pt x="804" y="2304"/>
                  </a:lnTo>
                  <a:lnTo>
                    <a:pt x="810" y="2286"/>
                  </a:lnTo>
                  <a:lnTo>
                    <a:pt x="810" y="2262"/>
                  </a:lnTo>
                  <a:lnTo>
                    <a:pt x="792" y="2250"/>
                  </a:lnTo>
                  <a:lnTo>
                    <a:pt x="804" y="2232"/>
                  </a:lnTo>
                  <a:lnTo>
                    <a:pt x="786" y="2226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62" y="2148"/>
                  </a:lnTo>
                  <a:lnTo>
                    <a:pt x="768" y="2130"/>
                  </a:lnTo>
                  <a:lnTo>
                    <a:pt x="786" y="2112"/>
                  </a:lnTo>
                  <a:lnTo>
                    <a:pt x="756" y="2094"/>
                  </a:lnTo>
                  <a:lnTo>
                    <a:pt x="780" y="2088"/>
                  </a:lnTo>
                  <a:lnTo>
                    <a:pt x="774" y="2052"/>
                  </a:lnTo>
                  <a:lnTo>
                    <a:pt x="774" y="2040"/>
                  </a:lnTo>
                  <a:lnTo>
                    <a:pt x="744" y="2040"/>
                  </a:lnTo>
                  <a:lnTo>
                    <a:pt x="720" y="2022"/>
                  </a:lnTo>
                  <a:lnTo>
                    <a:pt x="726" y="2010"/>
                  </a:lnTo>
                  <a:lnTo>
                    <a:pt x="714" y="1992"/>
                  </a:lnTo>
                  <a:lnTo>
                    <a:pt x="684" y="1986"/>
                  </a:lnTo>
                  <a:lnTo>
                    <a:pt x="654" y="1950"/>
                  </a:lnTo>
                  <a:lnTo>
                    <a:pt x="636" y="1956"/>
                  </a:lnTo>
                  <a:lnTo>
                    <a:pt x="636" y="1974"/>
                  </a:lnTo>
                  <a:lnTo>
                    <a:pt x="642" y="1998"/>
                  </a:lnTo>
                  <a:lnTo>
                    <a:pt x="606" y="1956"/>
                  </a:lnTo>
                  <a:lnTo>
                    <a:pt x="612" y="1980"/>
                  </a:lnTo>
                  <a:lnTo>
                    <a:pt x="606" y="1998"/>
                  </a:lnTo>
                  <a:lnTo>
                    <a:pt x="600" y="2028"/>
                  </a:lnTo>
                  <a:lnTo>
                    <a:pt x="588" y="2052"/>
                  </a:lnTo>
                  <a:lnTo>
                    <a:pt x="576" y="2082"/>
                  </a:lnTo>
                  <a:lnTo>
                    <a:pt x="558" y="2082"/>
                  </a:lnTo>
                  <a:lnTo>
                    <a:pt x="552" y="2088"/>
                  </a:lnTo>
                  <a:lnTo>
                    <a:pt x="546" y="2094"/>
                  </a:lnTo>
                  <a:lnTo>
                    <a:pt x="528" y="2076"/>
                  </a:lnTo>
                  <a:lnTo>
                    <a:pt x="522" y="2076"/>
                  </a:lnTo>
                  <a:lnTo>
                    <a:pt x="516" y="2076"/>
                  </a:lnTo>
                  <a:lnTo>
                    <a:pt x="516" y="2070"/>
                  </a:lnTo>
                  <a:lnTo>
                    <a:pt x="510" y="2076"/>
                  </a:lnTo>
                  <a:lnTo>
                    <a:pt x="498" y="2076"/>
                  </a:lnTo>
                  <a:lnTo>
                    <a:pt x="498" y="2118"/>
                  </a:lnTo>
                  <a:lnTo>
                    <a:pt x="462" y="2124"/>
                  </a:lnTo>
                  <a:lnTo>
                    <a:pt x="480" y="2154"/>
                  </a:lnTo>
                  <a:lnTo>
                    <a:pt x="450" y="2178"/>
                  </a:lnTo>
                  <a:lnTo>
                    <a:pt x="456" y="2196"/>
                  </a:lnTo>
                  <a:lnTo>
                    <a:pt x="456" y="2214"/>
                  </a:lnTo>
                  <a:lnTo>
                    <a:pt x="438" y="2202"/>
                  </a:lnTo>
                  <a:lnTo>
                    <a:pt x="438" y="2196"/>
                  </a:lnTo>
                  <a:lnTo>
                    <a:pt x="432" y="2196"/>
                  </a:lnTo>
                  <a:lnTo>
                    <a:pt x="432" y="2190"/>
                  </a:lnTo>
                  <a:lnTo>
                    <a:pt x="426" y="2190"/>
                  </a:lnTo>
                  <a:lnTo>
                    <a:pt x="426" y="2184"/>
                  </a:lnTo>
                  <a:lnTo>
                    <a:pt x="426" y="2178"/>
                  </a:lnTo>
                  <a:lnTo>
                    <a:pt x="420" y="2178"/>
                  </a:lnTo>
                  <a:lnTo>
                    <a:pt x="420" y="2172"/>
                  </a:lnTo>
                  <a:lnTo>
                    <a:pt x="420" y="2166"/>
                  </a:lnTo>
                  <a:lnTo>
                    <a:pt x="414" y="2166"/>
                  </a:lnTo>
                  <a:lnTo>
                    <a:pt x="414" y="2160"/>
                  </a:lnTo>
                  <a:lnTo>
                    <a:pt x="414" y="2154"/>
                  </a:lnTo>
                  <a:lnTo>
                    <a:pt x="408" y="2154"/>
                  </a:lnTo>
                  <a:lnTo>
                    <a:pt x="408" y="2148"/>
                  </a:lnTo>
                  <a:lnTo>
                    <a:pt x="408" y="2142"/>
                  </a:lnTo>
                  <a:lnTo>
                    <a:pt x="402" y="2142"/>
                  </a:lnTo>
                  <a:lnTo>
                    <a:pt x="402" y="2136"/>
                  </a:lnTo>
                  <a:lnTo>
                    <a:pt x="402" y="2142"/>
                  </a:lnTo>
                  <a:lnTo>
                    <a:pt x="402" y="2136"/>
                  </a:lnTo>
                  <a:lnTo>
                    <a:pt x="396" y="2136"/>
                  </a:lnTo>
                  <a:lnTo>
                    <a:pt x="396" y="2130"/>
                  </a:lnTo>
                  <a:lnTo>
                    <a:pt x="390" y="2130"/>
                  </a:lnTo>
                  <a:lnTo>
                    <a:pt x="390" y="2124"/>
                  </a:lnTo>
                  <a:lnTo>
                    <a:pt x="384" y="2124"/>
                  </a:lnTo>
                  <a:lnTo>
                    <a:pt x="390" y="2124"/>
                  </a:lnTo>
                  <a:lnTo>
                    <a:pt x="384" y="2124"/>
                  </a:lnTo>
                  <a:lnTo>
                    <a:pt x="390" y="2124"/>
                  </a:lnTo>
                  <a:lnTo>
                    <a:pt x="390" y="2118"/>
                  </a:lnTo>
                  <a:lnTo>
                    <a:pt x="384" y="2118"/>
                  </a:lnTo>
                  <a:lnTo>
                    <a:pt x="384" y="2112"/>
                  </a:lnTo>
                  <a:lnTo>
                    <a:pt x="378" y="2112"/>
                  </a:lnTo>
                  <a:lnTo>
                    <a:pt x="378" y="2106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84" y="2106"/>
                  </a:lnTo>
                  <a:lnTo>
                    <a:pt x="378" y="2106"/>
                  </a:lnTo>
                  <a:lnTo>
                    <a:pt x="378" y="2100"/>
                  </a:lnTo>
                  <a:lnTo>
                    <a:pt x="372" y="2100"/>
                  </a:lnTo>
                  <a:lnTo>
                    <a:pt x="372" y="2094"/>
                  </a:lnTo>
                  <a:lnTo>
                    <a:pt x="372" y="2088"/>
                  </a:lnTo>
                  <a:lnTo>
                    <a:pt x="366" y="2088"/>
                  </a:lnTo>
                  <a:lnTo>
                    <a:pt x="366" y="2082"/>
                  </a:lnTo>
                  <a:lnTo>
                    <a:pt x="366" y="2076"/>
                  </a:lnTo>
                  <a:lnTo>
                    <a:pt x="366" y="2070"/>
                  </a:lnTo>
                  <a:lnTo>
                    <a:pt x="360" y="2070"/>
                  </a:lnTo>
                  <a:lnTo>
                    <a:pt x="360" y="2064"/>
                  </a:lnTo>
                  <a:lnTo>
                    <a:pt x="354" y="2064"/>
                  </a:lnTo>
                  <a:lnTo>
                    <a:pt x="354" y="2058"/>
                  </a:lnTo>
                  <a:lnTo>
                    <a:pt x="348" y="2058"/>
                  </a:lnTo>
                  <a:lnTo>
                    <a:pt x="348" y="2052"/>
                  </a:lnTo>
                  <a:lnTo>
                    <a:pt x="348" y="2046"/>
                  </a:lnTo>
                  <a:lnTo>
                    <a:pt x="342" y="2046"/>
                  </a:lnTo>
                  <a:lnTo>
                    <a:pt x="342" y="2040"/>
                  </a:lnTo>
                  <a:lnTo>
                    <a:pt x="336" y="2040"/>
                  </a:lnTo>
                  <a:lnTo>
                    <a:pt x="336" y="2034"/>
                  </a:lnTo>
                  <a:lnTo>
                    <a:pt x="336" y="2028"/>
                  </a:lnTo>
                  <a:lnTo>
                    <a:pt x="336" y="2022"/>
                  </a:lnTo>
                  <a:lnTo>
                    <a:pt x="330" y="2022"/>
                  </a:lnTo>
                  <a:lnTo>
                    <a:pt x="330" y="2016"/>
                  </a:lnTo>
                  <a:lnTo>
                    <a:pt x="324" y="2016"/>
                  </a:lnTo>
                  <a:lnTo>
                    <a:pt x="324" y="2010"/>
                  </a:lnTo>
                  <a:lnTo>
                    <a:pt x="324" y="2004"/>
                  </a:lnTo>
                  <a:lnTo>
                    <a:pt x="324" y="1998"/>
                  </a:lnTo>
                  <a:lnTo>
                    <a:pt x="318" y="1998"/>
                  </a:lnTo>
                  <a:lnTo>
                    <a:pt x="318" y="1992"/>
                  </a:lnTo>
                  <a:lnTo>
                    <a:pt x="312" y="1992"/>
                  </a:lnTo>
                  <a:lnTo>
                    <a:pt x="312" y="1986"/>
                  </a:lnTo>
                  <a:lnTo>
                    <a:pt x="312" y="1992"/>
                  </a:lnTo>
                  <a:lnTo>
                    <a:pt x="312" y="1986"/>
                  </a:lnTo>
                  <a:lnTo>
                    <a:pt x="306" y="1986"/>
                  </a:lnTo>
                  <a:lnTo>
                    <a:pt x="312" y="1986"/>
                  </a:lnTo>
                  <a:lnTo>
                    <a:pt x="306" y="1986"/>
                  </a:lnTo>
                  <a:lnTo>
                    <a:pt x="312" y="1986"/>
                  </a:lnTo>
                  <a:lnTo>
                    <a:pt x="312" y="1980"/>
                  </a:lnTo>
                  <a:lnTo>
                    <a:pt x="306" y="1980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6" y="1974"/>
                  </a:lnTo>
                  <a:lnTo>
                    <a:pt x="300" y="1974"/>
                  </a:lnTo>
                  <a:lnTo>
                    <a:pt x="300" y="1968"/>
                  </a:lnTo>
                  <a:lnTo>
                    <a:pt x="300" y="1962"/>
                  </a:lnTo>
                  <a:lnTo>
                    <a:pt x="294" y="1962"/>
                  </a:lnTo>
                  <a:lnTo>
                    <a:pt x="294" y="1956"/>
                  </a:lnTo>
                  <a:lnTo>
                    <a:pt x="294" y="1950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44"/>
                  </a:lnTo>
                  <a:lnTo>
                    <a:pt x="288" y="1944"/>
                  </a:lnTo>
                  <a:lnTo>
                    <a:pt x="282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76" y="1932"/>
                  </a:lnTo>
                  <a:lnTo>
                    <a:pt x="276" y="1926"/>
                  </a:lnTo>
                  <a:lnTo>
                    <a:pt x="282" y="1926"/>
                  </a:lnTo>
                  <a:lnTo>
                    <a:pt x="276" y="1926"/>
                  </a:lnTo>
                  <a:lnTo>
                    <a:pt x="276" y="1920"/>
                  </a:lnTo>
                  <a:lnTo>
                    <a:pt x="276" y="1914"/>
                  </a:lnTo>
                  <a:lnTo>
                    <a:pt x="276" y="1908"/>
                  </a:lnTo>
                  <a:lnTo>
                    <a:pt x="270" y="1908"/>
                  </a:lnTo>
                  <a:lnTo>
                    <a:pt x="270" y="1902"/>
                  </a:lnTo>
                  <a:lnTo>
                    <a:pt x="264" y="1902"/>
                  </a:lnTo>
                  <a:lnTo>
                    <a:pt x="270" y="1902"/>
                  </a:lnTo>
                  <a:lnTo>
                    <a:pt x="270" y="1896"/>
                  </a:lnTo>
                  <a:lnTo>
                    <a:pt x="264" y="1896"/>
                  </a:lnTo>
                  <a:lnTo>
                    <a:pt x="264" y="1890"/>
                  </a:lnTo>
                  <a:lnTo>
                    <a:pt x="264" y="1884"/>
                  </a:lnTo>
                  <a:lnTo>
                    <a:pt x="264" y="1878"/>
                  </a:lnTo>
                  <a:lnTo>
                    <a:pt x="258" y="1878"/>
                  </a:lnTo>
                  <a:lnTo>
                    <a:pt x="258" y="1872"/>
                  </a:lnTo>
                  <a:lnTo>
                    <a:pt x="252" y="1872"/>
                  </a:lnTo>
                  <a:lnTo>
                    <a:pt x="252" y="1866"/>
                  </a:lnTo>
                  <a:lnTo>
                    <a:pt x="252" y="1860"/>
                  </a:lnTo>
                  <a:lnTo>
                    <a:pt x="246" y="1860"/>
                  </a:lnTo>
                  <a:lnTo>
                    <a:pt x="246" y="1854"/>
                  </a:lnTo>
                  <a:lnTo>
                    <a:pt x="252" y="1854"/>
                  </a:lnTo>
                  <a:lnTo>
                    <a:pt x="246" y="1854"/>
                  </a:lnTo>
                  <a:lnTo>
                    <a:pt x="246" y="1848"/>
                  </a:lnTo>
                  <a:lnTo>
                    <a:pt x="246" y="1842"/>
                  </a:lnTo>
                  <a:lnTo>
                    <a:pt x="246" y="1836"/>
                  </a:lnTo>
                  <a:lnTo>
                    <a:pt x="240" y="1836"/>
                  </a:lnTo>
                  <a:lnTo>
                    <a:pt x="240" y="1830"/>
                  </a:lnTo>
                  <a:lnTo>
                    <a:pt x="240" y="1824"/>
                  </a:lnTo>
                  <a:lnTo>
                    <a:pt x="240" y="1818"/>
                  </a:lnTo>
                  <a:lnTo>
                    <a:pt x="234" y="1818"/>
                  </a:lnTo>
                  <a:lnTo>
                    <a:pt x="234" y="1812"/>
                  </a:lnTo>
                  <a:lnTo>
                    <a:pt x="234" y="1806"/>
                  </a:lnTo>
                  <a:lnTo>
                    <a:pt x="228" y="1806"/>
                  </a:lnTo>
                  <a:lnTo>
                    <a:pt x="228" y="1800"/>
                  </a:lnTo>
                  <a:lnTo>
                    <a:pt x="222" y="1800"/>
                  </a:lnTo>
                  <a:lnTo>
                    <a:pt x="222" y="1794"/>
                  </a:lnTo>
                  <a:lnTo>
                    <a:pt x="222" y="1788"/>
                  </a:lnTo>
                  <a:lnTo>
                    <a:pt x="222" y="1782"/>
                  </a:lnTo>
                  <a:lnTo>
                    <a:pt x="216" y="1782"/>
                  </a:lnTo>
                  <a:lnTo>
                    <a:pt x="216" y="1776"/>
                  </a:lnTo>
                  <a:lnTo>
                    <a:pt x="216" y="1782"/>
                  </a:lnTo>
                  <a:lnTo>
                    <a:pt x="216" y="1776"/>
                  </a:lnTo>
                  <a:lnTo>
                    <a:pt x="216" y="1770"/>
                  </a:lnTo>
                  <a:lnTo>
                    <a:pt x="210" y="1770"/>
                  </a:lnTo>
                  <a:lnTo>
                    <a:pt x="210" y="1764"/>
                  </a:lnTo>
                  <a:lnTo>
                    <a:pt x="210" y="1758"/>
                  </a:lnTo>
                  <a:lnTo>
                    <a:pt x="210" y="1752"/>
                  </a:lnTo>
                  <a:lnTo>
                    <a:pt x="204" y="1752"/>
                  </a:lnTo>
                  <a:lnTo>
                    <a:pt x="204" y="1746"/>
                  </a:lnTo>
                  <a:lnTo>
                    <a:pt x="204" y="1740"/>
                  </a:lnTo>
                  <a:lnTo>
                    <a:pt x="204" y="1734"/>
                  </a:lnTo>
                  <a:lnTo>
                    <a:pt x="204" y="1728"/>
                  </a:lnTo>
                  <a:lnTo>
                    <a:pt x="204" y="1722"/>
                  </a:lnTo>
                  <a:lnTo>
                    <a:pt x="198" y="1722"/>
                  </a:lnTo>
                  <a:lnTo>
                    <a:pt x="198" y="1716"/>
                  </a:lnTo>
                  <a:lnTo>
                    <a:pt x="198" y="1710"/>
                  </a:lnTo>
                  <a:lnTo>
                    <a:pt x="198" y="1704"/>
                  </a:lnTo>
                  <a:lnTo>
                    <a:pt x="192" y="1704"/>
                  </a:lnTo>
                  <a:lnTo>
                    <a:pt x="192" y="1698"/>
                  </a:lnTo>
                  <a:lnTo>
                    <a:pt x="192" y="1692"/>
                  </a:lnTo>
                  <a:lnTo>
                    <a:pt x="186" y="1692"/>
                  </a:lnTo>
                  <a:lnTo>
                    <a:pt x="186" y="1686"/>
                  </a:lnTo>
                  <a:lnTo>
                    <a:pt x="180" y="1686"/>
                  </a:lnTo>
                  <a:lnTo>
                    <a:pt x="180" y="1680"/>
                  </a:lnTo>
                  <a:lnTo>
                    <a:pt x="186" y="1680"/>
                  </a:lnTo>
                  <a:lnTo>
                    <a:pt x="186" y="1674"/>
                  </a:lnTo>
                  <a:lnTo>
                    <a:pt x="180" y="1674"/>
                  </a:lnTo>
                  <a:lnTo>
                    <a:pt x="180" y="1668"/>
                  </a:lnTo>
                  <a:lnTo>
                    <a:pt x="180" y="1662"/>
                  </a:lnTo>
                  <a:lnTo>
                    <a:pt x="174" y="1662"/>
                  </a:lnTo>
                  <a:lnTo>
                    <a:pt x="174" y="1656"/>
                  </a:lnTo>
                  <a:lnTo>
                    <a:pt x="180" y="1656"/>
                  </a:lnTo>
                  <a:lnTo>
                    <a:pt x="174" y="1656"/>
                  </a:lnTo>
                  <a:lnTo>
                    <a:pt x="174" y="1650"/>
                  </a:lnTo>
                  <a:lnTo>
                    <a:pt x="174" y="1644"/>
                  </a:lnTo>
                  <a:lnTo>
                    <a:pt x="174" y="1638"/>
                  </a:lnTo>
                  <a:lnTo>
                    <a:pt x="168" y="1638"/>
                  </a:lnTo>
                  <a:lnTo>
                    <a:pt x="168" y="1632"/>
                  </a:lnTo>
                  <a:lnTo>
                    <a:pt x="162" y="1632"/>
                  </a:lnTo>
                  <a:lnTo>
                    <a:pt x="162" y="1626"/>
                  </a:lnTo>
                  <a:lnTo>
                    <a:pt x="162" y="1620"/>
                  </a:lnTo>
                  <a:lnTo>
                    <a:pt x="162" y="1614"/>
                  </a:lnTo>
                  <a:lnTo>
                    <a:pt x="156" y="1614"/>
                  </a:lnTo>
                  <a:lnTo>
                    <a:pt x="156" y="1608"/>
                  </a:lnTo>
                  <a:lnTo>
                    <a:pt x="150" y="1608"/>
                  </a:lnTo>
                  <a:lnTo>
                    <a:pt x="150" y="1602"/>
                  </a:lnTo>
                  <a:lnTo>
                    <a:pt x="144" y="1602"/>
                  </a:lnTo>
                  <a:lnTo>
                    <a:pt x="144" y="1596"/>
                  </a:lnTo>
                  <a:lnTo>
                    <a:pt x="144" y="1590"/>
                  </a:lnTo>
                  <a:lnTo>
                    <a:pt x="138" y="1590"/>
                  </a:lnTo>
                  <a:lnTo>
                    <a:pt x="138" y="1584"/>
                  </a:lnTo>
                  <a:lnTo>
                    <a:pt x="138" y="1590"/>
                  </a:lnTo>
                  <a:lnTo>
                    <a:pt x="144" y="1590"/>
                  </a:lnTo>
                  <a:lnTo>
                    <a:pt x="138" y="1590"/>
                  </a:lnTo>
                  <a:lnTo>
                    <a:pt x="138" y="1584"/>
                  </a:lnTo>
                  <a:lnTo>
                    <a:pt x="132" y="1584"/>
                  </a:lnTo>
                  <a:lnTo>
                    <a:pt x="132" y="1578"/>
                  </a:lnTo>
                  <a:lnTo>
                    <a:pt x="138" y="1578"/>
                  </a:lnTo>
                  <a:lnTo>
                    <a:pt x="138" y="1584"/>
                  </a:lnTo>
                  <a:lnTo>
                    <a:pt x="138" y="1578"/>
                  </a:lnTo>
                  <a:lnTo>
                    <a:pt x="132" y="1578"/>
                  </a:lnTo>
                  <a:lnTo>
                    <a:pt x="132" y="1572"/>
                  </a:lnTo>
                  <a:lnTo>
                    <a:pt x="132" y="1578"/>
                  </a:lnTo>
                  <a:lnTo>
                    <a:pt x="132" y="1572"/>
                  </a:lnTo>
                  <a:lnTo>
                    <a:pt x="132" y="1566"/>
                  </a:lnTo>
                  <a:lnTo>
                    <a:pt x="126" y="1566"/>
                  </a:lnTo>
                  <a:lnTo>
                    <a:pt x="126" y="1560"/>
                  </a:lnTo>
                  <a:lnTo>
                    <a:pt x="126" y="1554"/>
                  </a:lnTo>
                  <a:lnTo>
                    <a:pt x="126" y="1548"/>
                  </a:lnTo>
                  <a:lnTo>
                    <a:pt x="126" y="1542"/>
                  </a:lnTo>
                  <a:lnTo>
                    <a:pt x="120" y="1542"/>
                  </a:lnTo>
                  <a:lnTo>
                    <a:pt x="120" y="1536"/>
                  </a:lnTo>
                  <a:lnTo>
                    <a:pt x="120" y="1530"/>
                  </a:lnTo>
                  <a:lnTo>
                    <a:pt x="120" y="1524"/>
                  </a:lnTo>
                  <a:lnTo>
                    <a:pt x="114" y="1524"/>
                  </a:lnTo>
                  <a:lnTo>
                    <a:pt x="114" y="1518"/>
                  </a:lnTo>
                  <a:lnTo>
                    <a:pt x="108" y="1518"/>
                  </a:lnTo>
                  <a:lnTo>
                    <a:pt x="108" y="1512"/>
                  </a:lnTo>
                  <a:lnTo>
                    <a:pt x="108" y="1518"/>
                  </a:lnTo>
                  <a:lnTo>
                    <a:pt x="108" y="1512"/>
                  </a:lnTo>
                  <a:lnTo>
                    <a:pt x="102" y="1512"/>
                  </a:lnTo>
                  <a:lnTo>
                    <a:pt x="96" y="1512"/>
                  </a:lnTo>
                  <a:lnTo>
                    <a:pt x="96" y="1506"/>
                  </a:lnTo>
                  <a:lnTo>
                    <a:pt x="96" y="1512"/>
                  </a:lnTo>
                  <a:lnTo>
                    <a:pt x="96" y="1506"/>
                  </a:lnTo>
                  <a:lnTo>
                    <a:pt x="90" y="1506"/>
                  </a:lnTo>
                  <a:lnTo>
                    <a:pt x="90" y="1500"/>
                  </a:lnTo>
                  <a:lnTo>
                    <a:pt x="90" y="1494"/>
                  </a:lnTo>
                  <a:lnTo>
                    <a:pt x="84" y="1494"/>
                  </a:lnTo>
                  <a:lnTo>
                    <a:pt x="90" y="1494"/>
                  </a:lnTo>
                  <a:lnTo>
                    <a:pt x="84" y="1494"/>
                  </a:lnTo>
                  <a:lnTo>
                    <a:pt x="90" y="1494"/>
                  </a:lnTo>
                  <a:lnTo>
                    <a:pt x="90" y="1488"/>
                  </a:lnTo>
                  <a:lnTo>
                    <a:pt x="84" y="1488"/>
                  </a:lnTo>
                  <a:lnTo>
                    <a:pt x="84" y="1482"/>
                  </a:lnTo>
                  <a:lnTo>
                    <a:pt x="78" y="1482"/>
                  </a:lnTo>
                  <a:lnTo>
                    <a:pt x="78" y="1476"/>
                  </a:lnTo>
                  <a:lnTo>
                    <a:pt x="78" y="1470"/>
                  </a:lnTo>
                  <a:lnTo>
                    <a:pt x="72" y="1470"/>
                  </a:lnTo>
                  <a:lnTo>
                    <a:pt x="72" y="1464"/>
                  </a:lnTo>
                  <a:lnTo>
                    <a:pt x="66" y="1464"/>
                  </a:lnTo>
                  <a:lnTo>
                    <a:pt x="60" y="1464"/>
                  </a:lnTo>
                  <a:lnTo>
                    <a:pt x="60" y="1458"/>
                  </a:lnTo>
                  <a:lnTo>
                    <a:pt x="54" y="1458"/>
                  </a:lnTo>
                  <a:lnTo>
                    <a:pt x="48" y="1458"/>
                  </a:lnTo>
                  <a:lnTo>
                    <a:pt x="48" y="1452"/>
                  </a:lnTo>
                  <a:lnTo>
                    <a:pt x="48" y="1446"/>
                  </a:lnTo>
                  <a:lnTo>
                    <a:pt x="48" y="1440"/>
                  </a:lnTo>
                  <a:lnTo>
                    <a:pt x="42" y="1440"/>
                  </a:lnTo>
                  <a:lnTo>
                    <a:pt x="42" y="1434"/>
                  </a:lnTo>
                  <a:lnTo>
                    <a:pt x="42" y="1428"/>
                  </a:lnTo>
                  <a:lnTo>
                    <a:pt x="36" y="1428"/>
                  </a:lnTo>
                  <a:lnTo>
                    <a:pt x="36" y="1422"/>
                  </a:lnTo>
                  <a:lnTo>
                    <a:pt x="42" y="1422"/>
                  </a:lnTo>
                  <a:lnTo>
                    <a:pt x="36" y="1422"/>
                  </a:lnTo>
                  <a:lnTo>
                    <a:pt x="42" y="1422"/>
                  </a:lnTo>
                  <a:lnTo>
                    <a:pt x="36" y="1422"/>
                  </a:lnTo>
                  <a:lnTo>
                    <a:pt x="36" y="1416"/>
                  </a:lnTo>
                  <a:lnTo>
                    <a:pt x="36" y="1422"/>
                  </a:lnTo>
                  <a:lnTo>
                    <a:pt x="36" y="1416"/>
                  </a:lnTo>
                  <a:lnTo>
                    <a:pt x="36" y="1410"/>
                  </a:lnTo>
                  <a:lnTo>
                    <a:pt x="36" y="1404"/>
                  </a:lnTo>
                  <a:lnTo>
                    <a:pt x="30" y="1404"/>
                  </a:lnTo>
                  <a:lnTo>
                    <a:pt x="30" y="1398"/>
                  </a:lnTo>
                  <a:lnTo>
                    <a:pt x="24" y="1398"/>
                  </a:lnTo>
                  <a:lnTo>
                    <a:pt x="24" y="1392"/>
                  </a:lnTo>
                  <a:lnTo>
                    <a:pt x="18" y="1392"/>
                  </a:lnTo>
                  <a:lnTo>
                    <a:pt x="18" y="1386"/>
                  </a:lnTo>
                  <a:lnTo>
                    <a:pt x="12" y="1386"/>
                  </a:lnTo>
                  <a:lnTo>
                    <a:pt x="12" y="1380"/>
                  </a:lnTo>
                  <a:lnTo>
                    <a:pt x="6" y="1380"/>
                  </a:lnTo>
                  <a:lnTo>
                    <a:pt x="0" y="1380"/>
                  </a:lnTo>
                  <a:lnTo>
                    <a:pt x="6" y="1368"/>
                  </a:lnTo>
                  <a:lnTo>
                    <a:pt x="6" y="1362"/>
                  </a:lnTo>
                  <a:lnTo>
                    <a:pt x="6" y="1356"/>
                  </a:lnTo>
                  <a:lnTo>
                    <a:pt x="6" y="1350"/>
                  </a:lnTo>
                  <a:lnTo>
                    <a:pt x="18" y="1350"/>
                  </a:lnTo>
                  <a:lnTo>
                    <a:pt x="24" y="1350"/>
                  </a:lnTo>
                  <a:lnTo>
                    <a:pt x="30" y="1350"/>
                  </a:lnTo>
                  <a:lnTo>
                    <a:pt x="36" y="1344"/>
                  </a:lnTo>
                  <a:lnTo>
                    <a:pt x="42" y="1338"/>
                  </a:lnTo>
                  <a:lnTo>
                    <a:pt x="42" y="1332"/>
                  </a:lnTo>
                  <a:lnTo>
                    <a:pt x="48" y="1326"/>
                  </a:lnTo>
                  <a:lnTo>
                    <a:pt x="54" y="1320"/>
                  </a:lnTo>
                  <a:lnTo>
                    <a:pt x="60" y="1320"/>
                  </a:lnTo>
                  <a:lnTo>
                    <a:pt x="66" y="1320"/>
                  </a:lnTo>
                  <a:lnTo>
                    <a:pt x="66" y="1326"/>
                  </a:lnTo>
                  <a:lnTo>
                    <a:pt x="72" y="1326"/>
                  </a:lnTo>
                  <a:lnTo>
                    <a:pt x="78" y="1326"/>
                  </a:lnTo>
                  <a:lnTo>
                    <a:pt x="78" y="1320"/>
                  </a:lnTo>
                  <a:lnTo>
                    <a:pt x="84" y="1314"/>
                  </a:lnTo>
                  <a:lnTo>
                    <a:pt x="84" y="1308"/>
                  </a:lnTo>
                  <a:lnTo>
                    <a:pt x="90" y="1308"/>
                  </a:lnTo>
                  <a:lnTo>
                    <a:pt x="90" y="1302"/>
                  </a:lnTo>
                  <a:lnTo>
                    <a:pt x="84" y="1296"/>
                  </a:lnTo>
                  <a:lnTo>
                    <a:pt x="84" y="1290"/>
                  </a:lnTo>
                  <a:lnTo>
                    <a:pt x="90" y="1290"/>
                  </a:lnTo>
                  <a:lnTo>
                    <a:pt x="90" y="1284"/>
                  </a:lnTo>
                  <a:lnTo>
                    <a:pt x="96" y="1278"/>
                  </a:lnTo>
                  <a:lnTo>
                    <a:pt x="102" y="1278"/>
                  </a:lnTo>
                  <a:lnTo>
                    <a:pt x="96" y="1272"/>
                  </a:lnTo>
                  <a:lnTo>
                    <a:pt x="90" y="1272"/>
                  </a:lnTo>
                  <a:lnTo>
                    <a:pt x="90" y="1266"/>
                  </a:lnTo>
                  <a:lnTo>
                    <a:pt x="84" y="1260"/>
                  </a:lnTo>
                  <a:lnTo>
                    <a:pt x="78" y="1254"/>
                  </a:lnTo>
                  <a:lnTo>
                    <a:pt x="78" y="1248"/>
                  </a:lnTo>
                  <a:lnTo>
                    <a:pt x="84" y="1242"/>
                  </a:lnTo>
                  <a:lnTo>
                    <a:pt x="90" y="1248"/>
                  </a:lnTo>
                  <a:lnTo>
                    <a:pt x="96" y="1248"/>
                  </a:lnTo>
                  <a:lnTo>
                    <a:pt x="102" y="1248"/>
                  </a:lnTo>
                  <a:lnTo>
                    <a:pt x="102" y="1242"/>
                  </a:lnTo>
                  <a:lnTo>
                    <a:pt x="102" y="1236"/>
                  </a:lnTo>
                  <a:lnTo>
                    <a:pt x="96" y="1236"/>
                  </a:lnTo>
                  <a:lnTo>
                    <a:pt x="96" y="1230"/>
                  </a:lnTo>
                  <a:lnTo>
                    <a:pt x="102" y="1230"/>
                  </a:lnTo>
                  <a:lnTo>
                    <a:pt x="108" y="1224"/>
                  </a:lnTo>
                  <a:lnTo>
                    <a:pt x="108" y="1218"/>
                  </a:lnTo>
                  <a:lnTo>
                    <a:pt x="102" y="1218"/>
                  </a:lnTo>
                  <a:lnTo>
                    <a:pt x="102" y="1212"/>
                  </a:lnTo>
                  <a:lnTo>
                    <a:pt x="108" y="1212"/>
                  </a:lnTo>
                  <a:lnTo>
                    <a:pt x="114" y="1212"/>
                  </a:lnTo>
                  <a:lnTo>
                    <a:pt x="120" y="1212"/>
                  </a:lnTo>
                  <a:lnTo>
                    <a:pt x="114" y="1206"/>
                  </a:lnTo>
                  <a:lnTo>
                    <a:pt x="120" y="1200"/>
                  </a:lnTo>
                  <a:lnTo>
                    <a:pt x="114" y="1188"/>
                  </a:lnTo>
                  <a:lnTo>
                    <a:pt x="114" y="1182"/>
                  </a:lnTo>
                  <a:lnTo>
                    <a:pt x="120" y="1182"/>
                  </a:lnTo>
                  <a:lnTo>
                    <a:pt x="120" y="1176"/>
                  </a:lnTo>
                  <a:lnTo>
                    <a:pt x="126" y="1176"/>
                  </a:lnTo>
                  <a:lnTo>
                    <a:pt x="132" y="1176"/>
                  </a:lnTo>
                  <a:lnTo>
                    <a:pt x="138" y="1176"/>
                  </a:lnTo>
                  <a:lnTo>
                    <a:pt x="138" y="1170"/>
                  </a:lnTo>
                  <a:lnTo>
                    <a:pt x="144" y="1176"/>
                  </a:lnTo>
                  <a:lnTo>
                    <a:pt x="150" y="1176"/>
                  </a:lnTo>
                  <a:lnTo>
                    <a:pt x="156" y="1170"/>
                  </a:lnTo>
                  <a:lnTo>
                    <a:pt x="168" y="1164"/>
                  </a:lnTo>
                  <a:lnTo>
                    <a:pt x="174" y="1164"/>
                  </a:lnTo>
                  <a:lnTo>
                    <a:pt x="180" y="1164"/>
                  </a:lnTo>
                  <a:lnTo>
                    <a:pt x="180" y="1170"/>
                  </a:lnTo>
                  <a:lnTo>
                    <a:pt x="186" y="1170"/>
                  </a:lnTo>
                  <a:lnTo>
                    <a:pt x="186" y="1176"/>
                  </a:lnTo>
                  <a:lnTo>
                    <a:pt x="192" y="1182"/>
                  </a:lnTo>
                  <a:lnTo>
                    <a:pt x="198" y="1182"/>
                  </a:lnTo>
                  <a:lnTo>
                    <a:pt x="204" y="1182"/>
                  </a:lnTo>
                  <a:lnTo>
                    <a:pt x="204" y="1188"/>
                  </a:lnTo>
                  <a:lnTo>
                    <a:pt x="210" y="1188"/>
                  </a:lnTo>
                  <a:lnTo>
                    <a:pt x="210" y="1194"/>
                  </a:lnTo>
                  <a:lnTo>
                    <a:pt x="204" y="1206"/>
                  </a:lnTo>
                  <a:lnTo>
                    <a:pt x="204" y="1218"/>
                  </a:lnTo>
                  <a:lnTo>
                    <a:pt x="210" y="1224"/>
                  </a:lnTo>
                  <a:lnTo>
                    <a:pt x="216" y="1230"/>
                  </a:lnTo>
                  <a:lnTo>
                    <a:pt x="222" y="1230"/>
                  </a:lnTo>
                  <a:lnTo>
                    <a:pt x="228" y="1230"/>
                  </a:lnTo>
                  <a:lnTo>
                    <a:pt x="228" y="1224"/>
                  </a:lnTo>
                  <a:lnTo>
                    <a:pt x="228" y="1230"/>
                  </a:lnTo>
                  <a:lnTo>
                    <a:pt x="234" y="1230"/>
                  </a:lnTo>
                  <a:lnTo>
                    <a:pt x="240" y="1224"/>
                  </a:lnTo>
                  <a:lnTo>
                    <a:pt x="246" y="1218"/>
                  </a:lnTo>
                  <a:lnTo>
                    <a:pt x="252" y="1224"/>
                  </a:lnTo>
                  <a:lnTo>
                    <a:pt x="258" y="1224"/>
                  </a:lnTo>
                  <a:lnTo>
                    <a:pt x="258" y="1230"/>
                  </a:lnTo>
                  <a:lnTo>
                    <a:pt x="258" y="1236"/>
                  </a:lnTo>
                  <a:lnTo>
                    <a:pt x="264" y="1242"/>
                  </a:lnTo>
                  <a:lnTo>
                    <a:pt x="264" y="1248"/>
                  </a:lnTo>
                  <a:lnTo>
                    <a:pt x="264" y="1254"/>
                  </a:lnTo>
                  <a:lnTo>
                    <a:pt x="270" y="1254"/>
                  </a:lnTo>
                  <a:lnTo>
                    <a:pt x="270" y="1260"/>
                  </a:lnTo>
                  <a:lnTo>
                    <a:pt x="276" y="1260"/>
                  </a:lnTo>
                  <a:lnTo>
                    <a:pt x="276" y="1266"/>
                  </a:lnTo>
                  <a:lnTo>
                    <a:pt x="276" y="1272"/>
                  </a:lnTo>
                  <a:lnTo>
                    <a:pt x="276" y="1284"/>
                  </a:lnTo>
                  <a:lnTo>
                    <a:pt x="270" y="1290"/>
                  </a:lnTo>
                  <a:lnTo>
                    <a:pt x="264" y="1290"/>
                  </a:lnTo>
                  <a:lnTo>
                    <a:pt x="258" y="1296"/>
                  </a:lnTo>
                  <a:lnTo>
                    <a:pt x="258" y="1302"/>
                  </a:lnTo>
                  <a:lnTo>
                    <a:pt x="258" y="1308"/>
                  </a:lnTo>
                  <a:lnTo>
                    <a:pt x="258" y="1314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70" y="1326"/>
                  </a:lnTo>
                  <a:lnTo>
                    <a:pt x="270" y="1332"/>
                  </a:lnTo>
                  <a:lnTo>
                    <a:pt x="270" y="1338"/>
                  </a:lnTo>
                  <a:lnTo>
                    <a:pt x="276" y="1338"/>
                  </a:lnTo>
                  <a:lnTo>
                    <a:pt x="282" y="1338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8" y="1350"/>
                  </a:lnTo>
                  <a:lnTo>
                    <a:pt x="288" y="1356"/>
                  </a:lnTo>
                  <a:lnTo>
                    <a:pt x="288" y="1368"/>
                  </a:lnTo>
                  <a:lnTo>
                    <a:pt x="282" y="1374"/>
                  </a:lnTo>
                  <a:lnTo>
                    <a:pt x="282" y="1380"/>
                  </a:lnTo>
                  <a:lnTo>
                    <a:pt x="282" y="1386"/>
                  </a:lnTo>
                  <a:lnTo>
                    <a:pt x="288" y="1386"/>
                  </a:lnTo>
                  <a:lnTo>
                    <a:pt x="294" y="1386"/>
                  </a:lnTo>
                  <a:lnTo>
                    <a:pt x="300" y="1386"/>
                  </a:lnTo>
                  <a:lnTo>
                    <a:pt x="306" y="1380"/>
                  </a:lnTo>
                  <a:lnTo>
                    <a:pt x="306" y="1374"/>
                  </a:lnTo>
                  <a:lnTo>
                    <a:pt x="312" y="1380"/>
                  </a:lnTo>
                  <a:lnTo>
                    <a:pt x="324" y="1380"/>
                  </a:lnTo>
                  <a:lnTo>
                    <a:pt x="330" y="1374"/>
                  </a:lnTo>
                  <a:lnTo>
                    <a:pt x="336" y="1374"/>
                  </a:lnTo>
                  <a:lnTo>
                    <a:pt x="342" y="1380"/>
                  </a:lnTo>
                  <a:lnTo>
                    <a:pt x="342" y="1392"/>
                  </a:lnTo>
                  <a:lnTo>
                    <a:pt x="342" y="1398"/>
                  </a:lnTo>
                  <a:lnTo>
                    <a:pt x="348" y="1398"/>
                  </a:lnTo>
                  <a:lnTo>
                    <a:pt x="354" y="1398"/>
                  </a:lnTo>
                  <a:lnTo>
                    <a:pt x="360" y="1398"/>
                  </a:lnTo>
                  <a:lnTo>
                    <a:pt x="366" y="1398"/>
                  </a:lnTo>
                  <a:lnTo>
                    <a:pt x="372" y="1392"/>
                  </a:lnTo>
                  <a:lnTo>
                    <a:pt x="378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98"/>
                  </a:lnTo>
                  <a:lnTo>
                    <a:pt x="396" y="1398"/>
                  </a:lnTo>
                  <a:lnTo>
                    <a:pt x="396" y="1392"/>
                  </a:lnTo>
                  <a:lnTo>
                    <a:pt x="408" y="1392"/>
                  </a:lnTo>
                  <a:lnTo>
                    <a:pt x="414" y="1392"/>
                  </a:lnTo>
                  <a:lnTo>
                    <a:pt x="420" y="1392"/>
                  </a:lnTo>
                  <a:lnTo>
                    <a:pt x="426" y="1398"/>
                  </a:lnTo>
                  <a:lnTo>
                    <a:pt x="426" y="1392"/>
                  </a:lnTo>
                  <a:lnTo>
                    <a:pt x="432" y="1398"/>
                  </a:lnTo>
                  <a:lnTo>
                    <a:pt x="432" y="1392"/>
                  </a:lnTo>
                  <a:lnTo>
                    <a:pt x="438" y="1392"/>
                  </a:lnTo>
                  <a:lnTo>
                    <a:pt x="438" y="1398"/>
                  </a:lnTo>
                  <a:lnTo>
                    <a:pt x="444" y="1404"/>
                  </a:lnTo>
                  <a:lnTo>
                    <a:pt x="450" y="1398"/>
                  </a:lnTo>
                  <a:lnTo>
                    <a:pt x="450" y="1404"/>
                  </a:lnTo>
                  <a:lnTo>
                    <a:pt x="456" y="1410"/>
                  </a:lnTo>
                  <a:lnTo>
                    <a:pt x="462" y="1410"/>
                  </a:lnTo>
                  <a:lnTo>
                    <a:pt x="468" y="1416"/>
                  </a:lnTo>
                  <a:lnTo>
                    <a:pt x="468" y="1422"/>
                  </a:lnTo>
                  <a:lnTo>
                    <a:pt x="474" y="1428"/>
                  </a:lnTo>
                  <a:lnTo>
                    <a:pt x="480" y="1428"/>
                  </a:lnTo>
                  <a:lnTo>
                    <a:pt x="486" y="1428"/>
                  </a:lnTo>
                  <a:lnTo>
                    <a:pt x="498" y="1434"/>
                  </a:lnTo>
                  <a:lnTo>
                    <a:pt x="504" y="1434"/>
                  </a:lnTo>
                  <a:lnTo>
                    <a:pt x="510" y="1434"/>
                  </a:lnTo>
                  <a:lnTo>
                    <a:pt x="516" y="1434"/>
                  </a:lnTo>
                  <a:lnTo>
                    <a:pt x="516" y="1440"/>
                  </a:lnTo>
                  <a:lnTo>
                    <a:pt x="522" y="1440"/>
                  </a:lnTo>
                  <a:lnTo>
                    <a:pt x="528" y="1434"/>
                  </a:lnTo>
                  <a:lnTo>
                    <a:pt x="534" y="1434"/>
                  </a:lnTo>
                  <a:lnTo>
                    <a:pt x="540" y="1434"/>
                  </a:lnTo>
                  <a:lnTo>
                    <a:pt x="540" y="1428"/>
                  </a:lnTo>
                  <a:lnTo>
                    <a:pt x="546" y="1428"/>
                  </a:lnTo>
                  <a:lnTo>
                    <a:pt x="558" y="1428"/>
                  </a:lnTo>
                  <a:lnTo>
                    <a:pt x="564" y="1428"/>
                  </a:lnTo>
                  <a:lnTo>
                    <a:pt x="570" y="1428"/>
                  </a:lnTo>
                  <a:lnTo>
                    <a:pt x="576" y="1428"/>
                  </a:lnTo>
                  <a:lnTo>
                    <a:pt x="588" y="1434"/>
                  </a:lnTo>
                  <a:lnTo>
                    <a:pt x="594" y="1428"/>
                  </a:lnTo>
                  <a:lnTo>
                    <a:pt x="600" y="1428"/>
                  </a:lnTo>
                  <a:lnTo>
                    <a:pt x="606" y="1428"/>
                  </a:lnTo>
                  <a:lnTo>
                    <a:pt x="612" y="1428"/>
                  </a:lnTo>
                  <a:lnTo>
                    <a:pt x="618" y="1422"/>
                  </a:lnTo>
                  <a:lnTo>
                    <a:pt x="624" y="1422"/>
                  </a:lnTo>
                  <a:lnTo>
                    <a:pt x="624" y="1416"/>
                  </a:lnTo>
                  <a:lnTo>
                    <a:pt x="630" y="1416"/>
                  </a:lnTo>
                  <a:lnTo>
                    <a:pt x="636" y="1416"/>
                  </a:lnTo>
                  <a:lnTo>
                    <a:pt x="648" y="1410"/>
                  </a:lnTo>
                  <a:lnTo>
                    <a:pt x="654" y="1410"/>
                  </a:lnTo>
                  <a:lnTo>
                    <a:pt x="660" y="1410"/>
                  </a:lnTo>
                  <a:lnTo>
                    <a:pt x="672" y="1410"/>
                  </a:lnTo>
                  <a:lnTo>
                    <a:pt x="678" y="1404"/>
                  </a:lnTo>
                  <a:lnTo>
                    <a:pt x="684" y="1404"/>
                  </a:lnTo>
                  <a:lnTo>
                    <a:pt x="690" y="1410"/>
                  </a:lnTo>
                  <a:lnTo>
                    <a:pt x="696" y="1410"/>
                  </a:lnTo>
                  <a:lnTo>
                    <a:pt x="702" y="1404"/>
                  </a:lnTo>
                  <a:lnTo>
                    <a:pt x="708" y="1404"/>
                  </a:lnTo>
                  <a:lnTo>
                    <a:pt x="714" y="1410"/>
                  </a:lnTo>
                  <a:lnTo>
                    <a:pt x="720" y="1404"/>
                  </a:lnTo>
                  <a:lnTo>
                    <a:pt x="720" y="1410"/>
                  </a:lnTo>
                  <a:lnTo>
                    <a:pt x="726" y="1410"/>
                  </a:lnTo>
                  <a:lnTo>
                    <a:pt x="732" y="1410"/>
                  </a:lnTo>
                  <a:lnTo>
                    <a:pt x="738" y="1410"/>
                  </a:lnTo>
                  <a:lnTo>
                    <a:pt x="744" y="1410"/>
                  </a:lnTo>
                  <a:lnTo>
                    <a:pt x="750" y="1410"/>
                  </a:lnTo>
                  <a:lnTo>
                    <a:pt x="750" y="1416"/>
                  </a:lnTo>
                  <a:lnTo>
                    <a:pt x="756" y="1416"/>
                  </a:lnTo>
                  <a:lnTo>
                    <a:pt x="756" y="1422"/>
                  </a:lnTo>
                  <a:lnTo>
                    <a:pt x="762" y="1428"/>
                  </a:lnTo>
                  <a:lnTo>
                    <a:pt x="762" y="1434"/>
                  </a:lnTo>
                  <a:lnTo>
                    <a:pt x="768" y="1434"/>
                  </a:lnTo>
                  <a:lnTo>
                    <a:pt x="774" y="1434"/>
                  </a:lnTo>
                  <a:lnTo>
                    <a:pt x="780" y="1440"/>
                  </a:lnTo>
                  <a:lnTo>
                    <a:pt x="786" y="1440"/>
                  </a:lnTo>
                  <a:lnTo>
                    <a:pt x="792" y="1446"/>
                  </a:lnTo>
                  <a:lnTo>
                    <a:pt x="798" y="1446"/>
                  </a:lnTo>
                  <a:lnTo>
                    <a:pt x="798" y="1440"/>
                  </a:lnTo>
                  <a:lnTo>
                    <a:pt x="804" y="1440"/>
                  </a:lnTo>
                  <a:lnTo>
                    <a:pt x="810" y="1440"/>
                  </a:lnTo>
                  <a:lnTo>
                    <a:pt x="822" y="1434"/>
                  </a:lnTo>
                  <a:lnTo>
                    <a:pt x="822" y="1428"/>
                  </a:lnTo>
                  <a:lnTo>
                    <a:pt x="828" y="1428"/>
                  </a:lnTo>
                  <a:lnTo>
                    <a:pt x="828" y="1422"/>
                  </a:lnTo>
                  <a:lnTo>
                    <a:pt x="834" y="1422"/>
                  </a:lnTo>
                  <a:lnTo>
                    <a:pt x="840" y="1422"/>
                  </a:lnTo>
                  <a:lnTo>
                    <a:pt x="846" y="1422"/>
                  </a:lnTo>
                  <a:lnTo>
                    <a:pt x="846" y="1416"/>
                  </a:lnTo>
                  <a:lnTo>
                    <a:pt x="846" y="1410"/>
                  </a:lnTo>
                  <a:lnTo>
                    <a:pt x="840" y="1410"/>
                  </a:lnTo>
                  <a:lnTo>
                    <a:pt x="840" y="1404"/>
                  </a:lnTo>
                  <a:lnTo>
                    <a:pt x="834" y="1404"/>
                  </a:lnTo>
                  <a:lnTo>
                    <a:pt x="828" y="1392"/>
                  </a:lnTo>
                  <a:lnTo>
                    <a:pt x="828" y="1386"/>
                  </a:lnTo>
                  <a:lnTo>
                    <a:pt x="834" y="1374"/>
                  </a:lnTo>
                  <a:lnTo>
                    <a:pt x="834" y="1368"/>
                  </a:lnTo>
                  <a:lnTo>
                    <a:pt x="840" y="1362"/>
                  </a:lnTo>
                  <a:lnTo>
                    <a:pt x="846" y="1362"/>
                  </a:lnTo>
                  <a:lnTo>
                    <a:pt x="852" y="1362"/>
                  </a:lnTo>
                  <a:lnTo>
                    <a:pt x="858" y="1362"/>
                  </a:lnTo>
                  <a:lnTo>
                    <a:pt x="864" y="1362"/>
                  </a:lnTo>
                  <a:lnTo>
                    <a:pt x="870" y="1362"/>
                  </a:lnTo>
                  <a:lnTo>
                    <a:pt x="876" y="1362"/>
                  </a:lnTo>
                  <a:lnTo>
                    <a:pt x="882" y="1356"/>
                  </a:lnTo>
                  <a:lnTo>
                    <a:pt x="888" y="1356"/>
                  </a:lnTo>
                  <a:lnTo>
                    <a:pt x="894" y="1350"/>
                  </a:lnTo>
                  <a:lnTo>
                    <a:pt x="900" y="1344"/>
                  </a:lnTo>
                  <a:lnTo>
                    <a:pt x="900" y="1338"/>
                  </a:lnTo>
                  <a:lnTo>
                    <a:pt x="900" y="1332"/>
                  </a:lnTo>
                  <a:lnTo>
                    <a:pt x="906" y="1326"/>
                  </a:lnTo>
                  <a:lnTo>
                    <a:pt x="906" y="1314"/>
                  </a:lnTo>
                  <a:lnTo>
                    <a:pt x="906" y="1308"/>
                  </a:lnTo>
                  <a:lnTo>
                    <a:pt x="918" y="1302"/>
                  </a:lnTo>
                  <a:lnTo>
                    <a:pt x="918" y="1296"/>
                  </a:lnTo>
                  <a:lnTo>
                    <a:pt x="918" y="1290"/>
                  </a:lnTo>
                  <a:lnTo>
                    <a:pt x="924" y="1284"/>
                  </a:lnTo>
                  <a:lnTo>
                    <a:pt x="936" y="1284"/>
                  </a:lnTo>
                  <a:lnTo>
                    <a:pt x="942" y="1284"/>
                  </a:lnTo>
                  <a:lnTo>
                    <a:pt x="948" y="1284"/>
                  </a:lnTo>
                  <a:lnTo>
                    <a:pt x="954" y="1290"/>
                  </a:lnTo>
                  <a:lnTo>
                    <a:pt x="954" y="1284"/>
                  </a:lnTo>
                  <a:lnTo>
                    <a:pt x="960" y="1284"/>
                  </a:lnTo>
                  <a:lnTo>
                    <a:pt x="960" y="1278"/>
                  </a:lnTo>
                  <a:lnTo>
                    <a:pt x="972" y="1272"/>
                  </a:lnTo>
                  <a:lnTo>
                    <a:pt x="978" y="1272"/>
                  </a:lnTo>
                  <a:lnTo>
                    <a:pt x="984" y="1278"/>
                  </a:lnTo>
                  <a:lnTo>
                    <a:pt x="990" y="1278"/>
                  </a:lnTo>
                  <a:lnTo>
                    <a:pt x="996" y="1278"/>
                  </a:lnTo>
                  <a:lnTo>
                    <a:pt x="996" y="1272"/>
                  </a:lnTo>
                  <a:lnTo>
                    <a:pt x="1002" y="1266"/>
                  </a:lnTo>
                  <a:lnTo>
                    <a:pt x="1002" y="1260"/>
                  </a:lnTo>
                  <a:lnTo>
                    <a:pt x="1008" y="1260"/>
                  </a:lnTo>
                  <a:lnTo>
                    <a:pt x="1014" y="1254"/>
                  </a:lnTo>
                  <a:lnTo>
                    <a:pt x="1020" y="1254"/>
                  </a:lnTo>
                  <a:lnTo>
                    <a:pt x="1026" y="1254"/>
                  </a:lnTo>
                  <a:lnTo>
                    <a:pt x="1032" y="1254"/>
                  </a:lnTo>
                  <a:lnTo>
                    <a:pt x="1038" y="1248"/>
                  </a:lnTo>
                  <a:lnTo>
                    <a:pt x="1044" y="1248"/>
                  </a:lnTo>
                  <a:lnTo>
                    <a:pt x="1050" y="1248"/>
                  </a:lnTo>
                  <a:lnTo>
                    <a:pt x="1050" y="1242"/>
                  </a:lnTo>
                  <a:lnTo>
                    <a:pt x="1044" y="1200"/>
                  </a:lnTo>
                  <a:lnTo>
                    <a:pt x="1044" y="1158"/>
                  </a:lnTo>
                  <a:lnTo>
                    <a:pt x="1044" y="1116"/>
                  </a:lnTo>
                  <a:lnTo>
                    <a:pt x="1038" y="1068"/>
                  </a:lnTo>
                  <a:lnTo>
                    <a:pt x="1038" y="1026"/>
                  </a:lnTo>
                  <a:lnTo>
                    <a:pt x="1038" y="984"/>
                  </a:lnTo>
                  <a:lnTo>
                    <a:pt x="1038" y="942"/>
                  </a:lnTo>
                  <a:lnTo>
                    <a:pt x="1032" y="900"/>
                  </a:lnTo>
                  <a:lnTo>
                    <a:pt x="1032" y="888"/>
                  </a:lnTo>
                  <a:lnTo>
                    <a:pt x="1032" y="858"/>
                  </a:lnTo>
                  <a:lnTo>
                    <a:pt x="1032" y="810"/>
                  </a:lnTo>
                  <a:lnTo>
                    <a:pt x="1026" y="768"/>
                  </a:lnTo>
                  <a:lnTo>
                    <a:pt x="1026" y="726"/>
                  </a:lnTo>
                  <a:lnTo>
                    <a:pt x="1026" y="684"/>
                  </a:lnTo>
                  <a:lnTo>
                    <a:pt x="1026" y="642"/>
                  </a:lnTo>
                  <a:lnTo>
                    <a:pt x="1020" y="600"/>
                  </a:lnTo>
                  <a:lnTo>
                    <a:pt x="1020" y="558"/>
                  </a:lnTo>
                  <a:lnTo>
                    <a:pt x="1020" y="510"/>
                  </a:lnTo>
                  <a:lnTo>
                    <a:pt x="1020" y="468"/>
                  </a:lnTo>
                  <a:lnTo>
                    <a:pt x="1014" y="426"/>
                  </a:lnTo>
                  <a:lnTo>
                    <a:pt x="1014" y="384"/>
                  </a:lnTo>
                  <a:lnTo>
                    <a:pt x="1014" y="342"/>
                  </a:lnTo>
                  <a:lnTo>
                    <a:pt x="1014" y="312"/>
                  </a:lnTo>
                  <a:lnTo>
                    <a:pt x="1014" y="300"/>
                  </a:lnTo>
                  <a:lnTo>
                    <a:pt x="1008" y="294"/>
                  </a:lnTo>
                  <a:lnTo>
                    <a:pt x="1008" y="288"/>
                  </a:lnTo>
                  <a:lnTo>
                    <a:pt x="1008" y="282"/>
                  </a:lnTo>
                  <a:lnTo>
                    <a:pt x="1008" y="258"/>
                  </a:lnTo>
                  <a:lnTo>
                    <a:pt x="1008" y="252"/>
                  </a:lnTo>
                  <a:lnTo>
                    <a:pt x="1008" y="222"/>
                  </a:lnTo>
                  <a:lnTo>
                    <a:pt x="1008" y="210"/>
                  </a:lnTo>
                  <a:lnTo>
                    <a:pt x="1008" y="198"/>
                  </a:lnTo>
                  <a:lnTo>
                    <a:pt x="1008" y="168"/>
                  </a:lnTo>
                  <a:lnTo>
                    <a:pt x="1008" y="138"/>
                  </a:lnTo>
                  <a:lnTo>
                    <a:pt x="1002" y="126"/>
                  </a:lnTo>
                  <a:lnTo>
                    <a:pt x="1002" y="114"/>
                  </a:lnTo>
                  <a:lnTo>
                    <a:pt x="1002" y="84"/>
                  </a:lnTo>
                  <a:lnTo>
                    <a:pt x="1002" y="54"/>
                  </a:lnTo>
                  <a:lnTo>
                    <a:pt x="1002" y="42"/>
                  </a:lnTo>
                  <a:lnTo>
                    <a:pt x="1002" y="24"/>
                  </a:lnTo>
                  <a:lnTo>
                    <a:pt x="1002" y="0"/>
                  </a:lnTo>
                  <a:lnTo>
                    <a:pt x="1002" y="6"/>
                  </a:lnTo>
                  <a:lnTo>
                    <a:pt x="1008" y="6"/>
                  </a:lnTo>
                  <a:lnTo>
                    <a:pt x="1008" y="12"/>
                  </a:lnTo>
                  <a:lnTo>
                    <a:pt x="1014" y="12"/>
                  </a:lnTo>
                  <a:lnTo>
                    <a:pt x="1014" y="18"/>
                  </a:lnTo>
                  <a:lnTo>
                    <a:pt x="1020" y="18"/>
                  </a:lnTo>
                  <a:lnTo>
                    <a:pt x="1020" y="24"/>
                  </a:lnTo>
                  <a:lnTo>
                    <a:pt x="1026" y="24"/>
                  </a:lnTo>
                  <a:lnTo>
                    <a:pt x="1032" y="30"/>
                  </a:lnTo>
                  <a:lnTo>
                    <a:pt x="1032" y="36"/>
                  </a:lnTo>
                  <a:close/>
                </a:path>
              </a:pathLst>
            </a:custGeom>
            <a:solidFill>
              <a:schemeClr val="accent1"/>
            </a:solidFill>
            <a:ln w="9525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 dirty="0">
                <a:latin typeface="Source Sans Pro"/>
                <a:cs typeface="Source Sans Pro"/>
              </a:endParaRPr>
            </a:p>
          </p:txBody>
        </p:sp>
        <p:pic>
          <p:nvPicPr>
            <p:cNvPr id="116" name="Picture 10" descr="http://www.clker.com/cliparts/F/R/r/z/K/S/crossroad-sign-blank-hi.png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851211" y="4819650"/>
              <a:ext cx="171810" cy="211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17" name="map_world"/>
            <p:cNvGrpSpPr>
              <a:grpSpLocks/>
            </p:cNvGrpSpPr>
            <p:nvPr/>
          </p:nvGrpSpPr>
          <p:grpSpPr bwMode="auto">
            <a:xfrm>
              <a:off x="2820637" y="4835525"/>
              <a:ext cx="353430" cy="177777"/>
              <a:chOff x="543" y="1020"/>
              <a:chExt cx="5164" cy="2895"/>
            </a:xfrm>
          </p:grpSpPr>
          <p:sp>
            <p:nvSpPr>
              <p:cNvPr id="118" name="Freeform 176"/>
              <p:cNvSpPr>
                <a:spLocks/>
              </p:cNvSpPr>
              <p:nvPr/>
            </p:nvSpPr>
            <p:spPr bwMode="gray">
              <a:xfrm>
                <a:off x="543" y="1189"/>
                <a:ext cx="1610" cy="2718"/>
              </a:xfrm>
              <a:custGeom>
                <a:avLst/>
                <a:gdLst>
                  <a:gd name="T0" fmla="*/ 1 w 3219"/>
                  <a:gd name="T1" fmla="*/ 1 h 5435"/>
                  <a:gd name="T2" fmla="*/ 1 w 3219"/>
                  <a:gd name="T3" fmla="*/ 1 h 5435"/>
                  <a:gd name="T4" fmla="*/ 1 w 3219"/>
                  <a:gd name="T5" fmla="*/ 1 h 5435"/>
                  <a:gd name="T6" fmla="*/ 1 w 3219"/>
                  <a:gd name="T7" fmla="*/ 1 h 5435"/>
                  <a:gd name="T8" fmla="*/ 1 w 3219"/>
                  <a:gd name="T9" fmla="*/ 1 h 5435"/>
                  <a:gd name="T10" fmla="*/ 1 w 3219"/>
                  <a:gd name="T11" fmla="*/ 1 h 5435"/>
                  <a:gd name="T12" fmla="*/ 1 w 3219"/>
                  <a:gd name="T13" fmla="*/ 1 h 5435"/>
                  <a:gd name="T14" fmla="*/ 1 w 3219"/>
                  <a:gd name="T15" fmla="*/ 1 h 5435"/>
                  <a:gd name="T16" fmla="*/ 1 w 3219"/>
                  <a:gd name="T17" fmla="*/ 1 h 5435"/>
                  <a:gd name="T18" fmla="*/ 1 w 3219"/>
                  <a:gd name="T19" fmla="*/ 1 h 5435"/>
                  <a:gd name="T20" fmla="*/ 1 w 3219"/>
                  <a:gd name="T21" fmla="*/ 1 h 5435"/>
                  <a:gd name="T22" fmla="*/ 1 w 3219"/>
                  <a:gd name="T23" fmla="*/ 1 h 5435"/>
                  <a:gd name="T24" fmla="*/ 1 w 3219"/>
                  <a:gd name="T25" fmla="*/ 1 h 5435"/>
                  <a:gd name="T26" fmla="*/ 1 w 3219"/>
                  <a:gd name="T27" fmla="*/ 1 h 5435"/>
                  <a:gd name="T28" fmla="*/ 1 w 3219"/>
                  <a:gd name="T29" fmla="*/ 1 h 5435"/>
                  <a:gd name="T30" fmla="*/ 1 w 3219"/>
                  <a:gd name="T31" fmla="*/ 1 h 5435"/>
                  <a:gd name="T32" fmla="*/ 1 w 3219"/>
                  <a:gd name="T33" fmla="*/ 1 h 5435"/>
                  <a:gd name="T34" fmla="*/ 1 w 3219"/>
                  <a:gd name="T35" fmla="*/ 1 h 5435"/>
                  <a:gd name="T36" fmla="*/ 1 w 3219"/>
                  <a:gd name="T37" fmla="*/ 1 h 5435"/>
                  <a:gd name="T38" fmla="*/ 1 w 3219"/>
                  <a:gd name="T39" fmla="*/ 1 h 5435"/>
                  <a:gd name="T40" fmla="*/ 1 w 3219"/>
                  <a:gd name="T41" fmla="*/ 1 h 5435"/>
                  <a:gd name="T42" fmla="*/ 1 w 3219"/>
                  <a:gd name="T43" fmla="*/ 1 h 5435"/>
                  <a:gd name="T44" fmla="*/ 1 w 3219"/>
                  <a:gd name="T45" fmla="*/ 1 h 5435"/>
                  <a:gd name="T46" fmla="*/ 1 w 3219"/>
                  <a:gd name="T47" fmla="*/ 1 h 5435"/>
                  <a:gd name="T48" fmla="*/ 1 w 3219"/>
                  <a:gd name="T49" fmla="*/ 1 h 5435"/>
                  <a:gd name="T50" fmla="*/ 1 w 3219"/>
                  <a:gd name="T51" fmla="*/ 1 h 5435"/>
                  <a:gd name="T52" fmla="*/ 1 w 3219"/>
                  <a:gd name="T53" fmla="*/ 1 h 5435"/>
                  <a:gd name="T54" fmla="*/ 1 w 3219"/>
                  <a:gd name="T55" fmla="*/ 1 h 5435"/>
                  <a:gd name="T56" fmla="*/ 1 w 3219"/>
                  <a:gd name="T57" fmla="*/ 1 h 5435"/>
                  <a:gd name="T58" fmla="*/ 1 w 3219"/>
                  <a:gd name="T59" fmla="*/ 1 h 5435"/>
                  <a:gd name="T60" fmla="*/ 1 w 3219"/>
                  <a:gd name="T61" fmla="*/ 1 h 5435"/>
                  <a:gd name="T62" fmla="*/ 1 w 3219"/>
                  <a:gd name="T63" fmla="*/ 1 h 5435"/>
                  <a:gd name="T64" fmla="*/ 1 w 3219"/>
                  <a:gd name="T65" fmla="*/ 1 h 5435"/>
                  <a:gd name="T66" fmla="*/ 1 w 3219"/>
                  <a:gd name="T67" fmla="*/ 1 h 5435"/>
                  <a:gd name="T68" fmla="*/ 1 w 3219"/>
                  <a:gd name="T69" fmla="*/ 2 h 5435"/>
                  <a:gd name="T70" fmla="*/ 1 w 3219"/>
                  <a:gd name="T71" fmla="*/ 2 h 5435"/>
                  <a:gd name="T72" fmla="*/ 1 w 3219"/>
                  <a:gd name="T73" fmla="*/ 2 h 5435"/>
                  <a:gd name="T74" fmla="*/ 1 w 3219"/>
                  <a:gd name="T75" fmla="*/ 2 h 5435"/>
                  <a:gd name="T76" fmla="*/ 1 w 3219"/>
                  <a:gd name="T77" fmla="*/ 2 h 5435"/>
                  <a:gd name="T78" fmla="*/ 1 w 3219"/>
                  <a:gd name="T79" fmla="*/ 1 h 5435"/>
                  <a:gd name="T80" fmla="*/ 1 w 3219"/>
                  <a:gd name="T81" fmla="*/ 1 h 5435"/>
                  <a:gd name="T82" fmla="*/ 1 w 3219"/>
                  <a:gd name="T83" fmla="*/ 1 h 5435"/>
                  <a:gd name="T84" fmla="*/ 1 w 3219"/>
                  <a:gd name="T85" fmla="*/ 1 h 5435"/>
                  <a:gd name="T86" fmla="*/ 1 w 3219"/>
                  <a:gd name="T87" fmla="*/ 1 h 5435"/>
                  <a:gd name="T88" fmla="*/ 1 w 3219"/>
                  <a:gd name="T89" fmla="*/ 1 h 5435"/>
                  <a:gd name="T90" fmla="*/ 1 w 3219"/>
                  <a:gd name="T91" fmla="*/ 1 h 5435"/>
                  <a:gd name="T92" fmla="*/ 1 w 3219"/>
                  <a:gd name="T93" fmla="*/ 1 h 5435"/>
                  <a:gd name="T94" fmla="*/ 1 w 3219"/>
                  <a:gd name="T95" fmla="*/ 1 h 5435"/>
                  <a:gd name="T96" fmla="*/ 1 w 3219"/>
                  <a:gd name="T97" fmla="*/ 1 h 5435"/>
                  <a:gd name="T98" fmla="*/ 1 w 3219"/>
                  <a:gd name="T99" fmla="*/ 1 h 5435"/>
                  <a:gd name="T100" fmla="*/ 1 w 3219"/>
                  <a:gd name="T101" fmla="*/ 1 h 5435"/>
                  <a:gd name="T102" fmla="*/ 1 w 3219"/>
                  <a:gd name="T103" fmla="*/ 1 h 5435"/>
                  <a:gd name="T104" fmla="*/ 1 w 3219"/>
                  <a:gd name="T105" fmla="*/ 1 h 5435"/>
                  <a:gd name="T106" fmla="*/ 1 w 3219"/>
                  <a:gd name="T107" fmla="*/ 1 h 5435"/>
                  <a:gd name="T108" fmla="*/ 1 w 3219"/>
                  <a:gd name="T109" fmla="*/ 1 h 5435"/>
                  <a:gd name="T110" fmla="*/ 1 w 3219"/>
                  <a:gd name="T111" fmla="*/ 1 h 5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219"/>
                  <a:gd name="T169" fmla="*/ 0 h 5435"/>
                  <a:gd name="T170" fmla="*/ 3219 w 3219"/>
                  <a:gd name="T171" fmla="*/ 5435 h 5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219" h="5435">
                    <a:moveTo>
                      <a:pt x="1196" y="75"/>
                    </a:moveTo>
                    <a:lnTo>
                      <a:pt x="1488" y="81"/>
                    </a:lnTo>
                    <a:lnTo>
                      <a:pt x="1670" y="154"/>
                    </a:lnTo>
                    <a:lnTo>
                      <a:pt x="1705" y="188"/>
                    </a:lnTo>
                    <a:lnTo>
                      <a:pt x="1806" y="188"/>
                    </a:lnTo>
                    <a:lnTo>
                      <a:pt x="1810" y="184"/>
                    </a:lnTo>
                    <a:lnTo>
                      <a:pt x="1810" y="173"/>
                    </a:lnTo>
                    <a:lnTo>
                      <a:pt x="1914" y="173"/>
                    </a:lnTo>
                    <a:lnTo>
                      <a:pt x="1996" y="238"/>
                    </a:lnTo>
                    <a:lnTo>
                      <a:pt x="2004" y="248"/>
                    </a:lnTo>
                    <a:lnTo>
                      <a:pt x="2338" y="40"/>
                    </a:lnTo>
                    <a:lnTo>
                      <a:pt x="2710" y="40"/>
                    </a:lnTo>
                    <a:lnTo>
                      <a:pt x="2885" y="173"/>
                    </a:lnTo>
                    <a:lnTo>
                      <a:pt x="2900" y="307"/>
                    </a:lnTo>
                    <a:lnTo>
                      <a:pt x="2900" y="324"/>
                    </a:lnTo>
                    <a:lnTo>
                      <a:pt x="2701" y="516"/>
                    </a:lnTo>
                    <a:lnTo>
                      <a:pt x="2693" y="526"/>
                    </a:lnTo>
                    <a:lnTo>
                      <a:pt x="2578" y="426"/>
                    </a:lnTo>
                    <a:lnTo>
                      <a:pt x="2467" y="376"/>
                    </a:lnTo>
                    <a:lnTo>
                      <a:pt x="2463" y="372"/>
                    </a:lnTo>
                    <a:lnTo>
                      <a:pt x="2463" y="359"/>
                    </a:lnTo>
                    <a:lnTo>
                      <a:pt x="2584" y="359"/>
                    </a:lnTo>
                    <a:lnTo>
                      <a:pt x="2687" y="248"/>
                    </a:lnTo>
                    <a:lnTo>
                      <a:pt x="2601" y="173"/>
                    </a:lnTo>
                    <a:lnTo>
                      <a:pt x="2534" y="188"/>
                    </a:lnTo>
                    <a:lnTo>
                      <a:pt x="2534" y="163"/>
                    </a:lnTo>
                    <a:lnTo>
                      <a:pt x="2530" y="157"/>
                    </a:lnTo>
                    <a:lnTo>
                      <a:pt x="2486" y="217"/>
                    </a:lnTo>
                    <a:lnTo>
                      <a:pt x="2426" y="320"/>
                    </a:lnTo>
                    <a:lnTo>
                      <a:pt x="2282" y="324"/>
                    </a:lnTo>
                    <a:lnTo>
                      <a:pt x="2232" y="340"/>
                    </a:lnTo>
                    <a:lnTo>
                      <a:pt x="2232" y="372"/>
                    </a:lnTo>
                    <a:lnTo>
                      <a:pt x="2254" y="372"/>
                    </a:lnTo>
                    <a:lnTo>
                      <a:pt x="2292" y="359"/>
                    </a:lnTo>
                    <a:lnTo>
                      <a:pt x="2305" y="359"/>
                    </a:lnTo>
                    <a:lnTo>
                      <a:pt x="2338" y="426"/>
                    </a:lnTo>
                    <a:lnTo>
                      <a:pt x="2319" y="445"/>
                    </a:lnTo>
                    <a:lnTo>
                      <a:pt x="2292" y="445"/>
                    </a:lnTo>
                    <a:lnTo>
                      <a:pt x="2236" y="413"/>
                    </a:lnTo>
                    <a:lnTo>
                      <a:pt x="2133" y="432"/>
                    </a:lnTo>
                    <a:lnTo>
                      <a:pt x="1914" y="526"/>
                    </a:lnTo>
                    <a:lnTo>
                      <a:pt x="1831" y="618"/>
                    </a:lnTo>
                    <a:lnTo>
                      <a:pt x="1850" y="633"/>
                    </a:lnTo>
                    <a:lnTo>
                      <a:pt x="1854" y="633"/>
                    </a:lnTo>
                    <a:lnTo>
                      <a:pt x="1864" y="699"/>
                    </a:lnTo>
                    <a:lnTo>
                      <a:pt x="2017" y="787"/>
                    </a:lnTo>
                    <a:lnTo>
                      <a:pt x="2039" y="787"/>
                    </a:lnTo>
                    <a:lnTo>
                      <a:pt x="2071" y="825"/>
                    </a:lnTo>
                    <a:lnTo>
                      <a:pt x="2004" y="835"/>
                    </a:lnTo>
                    <a:lnTo>
                      <a:pt x="2004" y="898"/>
                    </a:lnTo>
                    <a:lnTo>
                      <a:pt x="2025" y="906"/>
                    </a:lnTo>
                    <a:lnTo>
                      <a:pt x="2042" y="925"/>
                    </a:lnTo>
                    <a:lnTo>
                      <a:pt x="2108" y="925"/>
                    </a:lnTo>
                    <a:lnTo>
                      <a:pt x="2127" y="796"/>
                    </a:lnTo>
                    <a:lnTo>
                      <a:pt x="2150" y="781"/>
                    </a:lnTo>
                    <a:lnTo>
                      <a:pt x="2227" y="737"/>
                    </a:lnTo>
                    <a:lnTo>
                      <a:pt x="2250" y="716"/>
                    </a:lnTo>
                    <a:lnTo>
                      <a:pt x="2232" y="639"/>
                    </a:lnTo>
                    <a:lnTo>
                      <a:pt x="2325" y="558"/>
                    </a:lnTo>
                    <a:lnTo>
                      <a:pt x="2338" y="545"/>
                    </a:lnTo>
                    <a:lnTo>
                      <a:pt x="2338" y="526"/>
                    </a:lnTo>
                    <a:lnTo>
                      <a:pt x="2478" y="507"/>
                    </a:lnTo>
                    <a:lnTo>
                      <a:pt x="2572" y="526"/>
                    </a:lnTo>
                    <a:lnTo>
                      <a:pt x="2584" y="526"/>
                    </a:lnTo>
                    <a:lnTo>
                      <a:pt x="2538" y="629"/>
                    </a:lnTo>
                    <a:lnTo>
                      <a:pt x="2534" y="633"/>
                    </a:lnTo>
                    <a:lnTo>
                      <a:pt x="2568" y="653"/>
                    </a:lnTo>
                    <a:lnTo>
                      <a:pt x="2611" y="653"/>
                    </a:lnTo>
                    <a:lnTo>
                      <a:pt x="2685" y="620"/>
                    </a:lnTo>
                    <a:lnTo>
                      <a:pt x="2693" y="620"/>
                    </a:lnTo>
                    <a:lnTo>
                      <a:pt x="2743" y="716"/>
                    </a:lnTo>
                    <a:lnTo>
                      <a:pt x="2743" y="787"/>
                    </a:lnTo>
                    <a:lnTo>
                      <a:pt x="2812" y="846"/>
                    </a:lnTo>
                    <a:lnTo>
                      <a:pt x="2762" y="925"/>
                    </a:lnTo>
                    <a:lnTo>
                      <a:pt x="2611" y="1013"/>
                    </a:lnTo>
                    <a:lnTo>
                      <a:pt x="2426" y="1019"/>
                    </a:lnTo>
                    <a:lnTo>
                      <a:pt x="2338" y="1034"/>
                    </a:lnTo>
                    <a:lnTo>
                      <a:pt x="2338" y="1065"/>
                    </a:lnTo>
                    <a:lnTo>
                      <a:pt x="2449" y="1071"/>
                    </a:lnTo>
                    <a:lnTo>
                      <a:pt x="2463" y="1071"/>
                    </a:lnTo>
                    <a:lnTo>
                      <a:pt x="2463" y="1090"/>
                    </a:lnTo>
                    <a:lnTo>
                      <a:pt x="2426" y="1125"/>
                    </a:lnTo>
                    <a:lnTo>
                      <a:pt x="2457" y="1194"/>
                    </a:lnTo>
                    <a:lnTo>
                      <a:pt x="2467" y="1201"/>
                    </a:lnTo>
                    <a:lnTo>
                      <a:pt x="2551" y="1128"/>
                    </a:lnTo>
                    <a:lnTo>
                      <a:pt x="2584" y="1178"/>
                    </a:lnTo>
                    <a:lnTo>
                      <a:pt x="2551" y="1207"/>
                    </a:lnTo>
                    <a:lnTo>
                      <a:pt x="2449" y="1261"/>
                    </a:lnTo>
                    <a:lnTo>
                      <a:pt x="2342" y="1280"/>
                    </a:lnTo>
                    <a:lnTo>
                      <a:pt x="2338" y="1276"/>
                    </a:lnTo>
                    <a:lnTo>
                      <a:pt x="2338" y="1261"/>
                    </a:lnTo>
                    <a:lnTo>
                      <a:pt x="2401" y="1226"/>
                    </a:lnTo>
                    <a:lnTo>
                      <a:pt x="2407" y="1221"/>
                    </a:lnTo>
                    <a:lnTo>
                      <a:pt x="2365" y="1201"/>
                    </a:lnTo>
                    <a:lnTo>
                      <a:pt x="2219" y="1276"/>
                    </a:lnTo>
                    <a:lnTo>
                      <a:pt x="2192" y="1340"/>
                    </a:lnTo>
                    <a:lnTo>
                      <a:pt x="2183" y="1370"/>
                    </a:lnTo>
                    <a:lnTo>
                      <a:pt x="2133" y="1380"/>
                    </a:lnTo>
                    <a:lnTo>
                      <a:pt x="2042" y="1393"/>
                    </a:lnTo>
                    <a:lnTo>
                      <a:pt x="2035" y="1457"/>
                    </a:lnTo>
                    <a:lnTo>
                      <a:pt x="2008" y="1497"/>
                    </a:lnTo>
                    <a:lnTo>
                      <a:pt x="2000" y="1507"/>
                    </a:lnTo>
                    <a:lnTo>
                      <a:pt x="1937" y="1507"/>
                    </a:lnTo>
                    <a:lnTo>
                      <a:pt x="1933" y="1547"/>
                    </a:lnTo>
                    <a:lnTo>
                      <a:pt x="1933" y="1560"/>
                    </a:lnTo>
                    <a:lnTo>
                      <a:pt x="1900" y="1547"/>
                    </a:lnTo>
                    <a:lnTo>
                      <a:pt x="1895" y="1606"/>
                    </a:lnTo>
                    <a:lnTo>
                      <a:pt x="1645" y="1835"/>
                    </a:lnTo>
                    <a:lnTo>
                      <a:pt x="1636" y="1856"/>
                    </a:lnTo>
                    <a:lnTo>
                      <a:pt x="1636" y="1894"/>
                    </a:lnTo>
                    <a:lnTo>
                      <a:pt x="1649" y="1963"/>
                    </a:lnTo>
                    <a:lnTo>
                      <a:pt x="1634" y="2071"/>
                    </a:lnTo>
                    <a:lnTo>
                      <a:pt x="1603" y="2071"/>
                    </a:lnTo>
                    <a:lnTo>
                      <a:pt x="1564" y="1969"/>
                    </a:lnTo>
                    <a:lnTo>
                      <a:pt x="1564" y="1865"/>
                    </a:lnTo>
                    <a:lnTo>
                      <a:pt x="1467" y="1856"/>
                    </a:lnTo>
                    <a:lnTo>
                      <a:pt x="1422" y="1825"/>
                    </a:lnTo>
                    <a:lnTo>
                      <a:pt x="1346" y="1839"/>
                    </a:lnTo>
                    <a:lnTo>
                      <a:pt x="1336" y="1848"/>
                    </a:lnTo>
                    <a:lnTo>
                      <a:pt x="1371" y="1915"/>
                    </a:lnTo>
                    <a:lnTo>
                      <a:pt x="1136" y="1875"/>
                    </a:lnTo>
                    <a:lnTo>
                      <a:pt x="1012" y="1961"/>
                    </a:lnTo>
                    <a:lnTo>
                      <a:pt x="944" y="2184"/>
                    </a:lnTo>
                    <a:lnTo>
                      <a:pt x="931" y="2209"/>
                    </a:lnTo>
                    <a:lnTo>
                      <a:pt x="935" y="2238"/>
                    </a:lnTo>
                    <a:lnTo>
                      <a:pt x="960" y="2301"/>
                    </a:lnTo>
                    <a:lnTo>
                      <a:pt x="977" y="2318"/>
                    </a:lnTo>
                    <a:lnTo>
                      <a:pt x="1031" y="2332"/>
                    </a:lnTo>
                    <a:lnTo>
                      <a:pt x="1136" y="2332"/>
                    </a:lnTo>
                    <a:lnTo>
                      <a:pt x="1192" y="2224"/>
                    </a:lnTo>
                    <a:lnTo>
                      <a:pt x="1317" y="2219"/>
                    </a:lnTo>
                    <a:lnTo>
                      <a:pt x="1332" y="2232"/>
                    </a:lnTo>
                    <a:lnTo>
                      <a:pt x="1319" y="2263"/>
                    </a:lnTo>
                    <a:lnTo>
                      <a:pt x="1332" y="2288"/>
                    </a:lnTo>
                    <a:lnTo>
                      <a:pt x="1332" y="2297"/>
                    </a:lnTo>
                    <a:lnTo>
                      <a:pt x="1277" y="2309"/>
                    </a:lnTo>
                    <a:lnTo>
                      <a:pt x="1271" y="2309"/>
                    </a:lnTo>
                    <a:lnTo>
                      <a:pt x="1261" y="2322"/>
                    </a:lnTo>
                    <a:lnTo>
                      <a:pt x="1248" y="2414"/>
                    </a:lnTo>
                    <a:lnTo>
                      <a:pt x="1242" y="2418"/>
                    </a:lnTo>
                    <a:lnTo>
                      <a:pt x="1332" y="2434"/>
                    </a:lnTo>
                    <a:lnTo>
                      <a:pt x="1421" y="2443"/>
                    </a:lnTo>
                    <a:lnTo>
                      <a:pt x="1371" y="2520"/>
                    </a:lnTo>
                    <a:lnTo>
                      <a:pt x="1421" y="2700"/>
                    </a:lnTo>
                    <a:lnTo>
                      <a:pt x="1470" y="2758"/>
                    </a:lnTo>
                    <a:lnTo>
                      <a:pt x="1476" y="2723"/>
                    </a:lnTo>
                    <a:lnTo>
                      <a:pt x="1476" y="2710"/>
                    </a:lnTo>
                    <a:lnTo>
                      <a:pt x="1624" y="2758"/>
                    </a:lnTo>
                    <a:lnTo>
                      <a:pt x="1628" y="2758"/>
                    </a:lnTo>
                    <a:lnTo>
                      <a:pt x="1634" y="2764"/>
                    </a:lnTo>
                    <a:lnTo>
                      <a:pt x="1705" y="2614"/>
                    </a:lnTo>
                    <a:lnTo>
                      <a:pt x="1854" y="2597"/>
                    </a:lnTo>
                    <a:lnTo>
                      <a:pt x="1868" y="2597"/>
                    </a:lnTo>
                    <a:lnTo>
                      <a:pt x="2000" y="2689"/>
                    </a:lnTo>
                    <a:lnTo>
                      <a:pt x="2211" y="2670"/>
                    </a:lnTo>
                    <a:lnTo>
                      <a:pt x="2227" y="2733"/>
                    </a:lnTo>
                    <a:lnTo>
                      <a:pt x="2227" y="2754"/>
                    </a:lnTo>
                    <a:lnTo>
                      <a:pt x="2282" y="2792"/>
                    </a:lnTo>
                    <a:lnTo>
                      <a:pt x="2376" y="2833"/>
                    </a:lnTo>
                    <a:lnTo>
                      <a:pt x="2584" y="2896"/>
                    </a:lnTo>
                    <a:lnTo>
                      <a:pt x="2637" y="3096"/>
                    </a:lnTo>
                    <a:lnTo>
                      <a:pt x="2678" y="3101"/>
                    </a:lnTo>
                    <a:lnTo>
                      <a:pt x="2687" y="3101"/>
                    </a:lnTo>
                    <a:lnTo>
                      <a:pt x="2687" y="3134"/>
                    </a:lnTo>
                    <a:lnTo>
                      <a:pt x="2697" y="3140"/>
                    </a:lnTo>
                    <a:lnTo>
                      <a:pt x="2804" y="3159"/>
                    </a:lnTo>
                    <a:lnTo>
                      <a:pt x="3219" y="3328"/>
                    </a:lnTo>
                    <a:lnTo>
                      <a:pt x="3219" y="3458"/>
                    </a:lnTo>
                    <a:lnTo>
                      <a:pt x="3148" y="3480"/>
                    </a:lnTo>
                    <a:lnTo>
                      <a:pt x="3096" y="3666"/>
                    </a:lnTo>
                    <a:lnTo>
                      <a:pt x="3096" y="3890"/>
                    </a:lnTo>
                    <a:lnTo>
                      <a:pt x="3012" y="4036"/>
                    </a:lnTo>
                    <a:lnTo>
                      <a:pt x="2937" y="4044"/>
                    </a:lnTo>
                    <a:lnTo>
                      <a:pt x="2816" y="4136"/>
                    </a:lnTo>
                    <a:lnTo>
                      <a:pt x="2812" y="4293"/>
                    </a:lnTo>
                    <a:lnTo>
                      <a:pt x="2762" y="4380"/>
                    </a:lnTo>
                    <a:lnTo>
                      <a:pt x="2757" y="4464"/>
                    </a:lnTo>
                    <a:lnTo>
                      <a:pt x="2693" y="4562"/>
                    </a:lnTo>
                    <a:lnTo>
                      <a:pt x="2593" y="4568"/>
                    </a:lnTo>
                    <a:lnTo>
                      <a:pt x="2590" y="4572"/>
                    </a:lnTo>
                    <a:lnTo>
                      <a:pt x="2637" y="4641"/>
                    </a:lnTo>
                    <a:lnTo>
                      <a:pt x="2478" y="4825"/>
                    </a:lnTo>
                    <a:lnTo>
                      <a:pt x="2463" y="4852"/>
                    </a:lnTo>
                    <a:lnTo>
                      <a:pt x="2463" y="5051"/>
                    </a:lnTo>
                    <a:lnTo>
                      <a:pt x="2534" y="5061"/>
                    </a:lnTo>
                    <a:lnTo>
                      <a:pt x="2551" y="5130"/>
                    </a:lnTo>
                    <a:lnTo>
                      <a:pt x="2534" y="5149"/>
                    </a:lnTo>
                    <a:lnTo>
                      <a:pt x="2584" y="5263"/>
                    </a:lnTo>
                    <a:lnTo>
                      <a:pt x="2697" y="5362"/>
                    </a:lnTo>
                    <a:lnTo>
                      <a:pt x="2762" y="5393"/>
                    </a:lnTo>
                    <a:lnTo>
                      <a:pt x="2693" y="5435"/>
                    </a:lnTo>
                    <a:lnTo>
                      <a:pt x="2463" y="5393"/>
                    </a:lnTo>
                    <a:lnTo>
                      <a:pt x="2305" y="5199"/>
                    </a:lnTo>
                    <a:lnTo>
                      <a:pt x="2213" y="5055"/>
                    </a:lnTo>
                    <a:lnTo>
                      <a:pt x="2213" y="4942"/>
                    </a:lnTo>
                    <a:lnTo>
                      <a:pt x="2127" y="4748"/>
                    </a:lnTo>
                    <a:lnTo>
                      <a:pt x="2004" y="4000"/>
                    </a:lnTo>
                    <a:lnTo>
                      <a:pt x="1914" y="3890"/>
                    </a:lnTo>
                    <a:lnTo>
                      <a:pt x="1778" y="3758"/>
                    </a:lnTo>
                    <a:lnTo>
                      <a:pt x="1476" y="3364"/>
                    </a:lnTo>
                    <a:lnTo>
                      <a:pt x="1541" y="3272"/>
                    </a:lnTo>
                    <a:lnTo>
                      <a:pt x="1528" y="3263"/>
                    </a:lnTo>
                    <a:lnTo>
                      <a:pt x="1478" y="3253"/>
                    </a:lnTo>
                    <a:lnTo>
                      <a:pt x="1478" y="3242"/>
                    </a:lnTo>
                    <a:lnTo>
                      <a:pt x="1653" y="2969"/>
                    </a:lnTo>
                    <a:lnTo>
                      <a:pt x="1603" y="2796"/>
                    </a:lnTo>
                    <a:lnTo>
                      <a:pt x="1603" y="2792"/>
                    </a:lnTo>
                    <a:lnTo>
                      <a:pt x="1593" y="2783"/>
                    </a:lnTo>
                    <a:lnTo>
                      <a:pt x="1526" y="2787"/>
                    </a:lnTo>
                    <a:lnTo>
                      <a:pt x="1488" y="2802"/>
                    </a:lnTo>
                    <a:lnTo>
                      <a:pt x="1463" y="2796"/>
                    </a:lnTo>
                    <a:lnTo>
                      <a:pt x="1323" y="2720"/>
                    </a:lnTo>
                    <a:lnTo>
                      <a:pt x="1021" y="2474"/>
                    </a:lnTo>
                    <a:lnTo>
                      <a:pt x="918" y="2437"/>
                    </a:lnTo>
                    <a:lnTo>
                      <a:pt x="735" y="2332"/>
                    </a:lnTo>
                    <a:lnTo>
                      <a:pt x="670" y="2245"/>
                    </a:lnTo>
                    <a:lnTo>
                      <a:pt x="666" y="2242"/>
                    </a:lnTo>
                    <a:lnTo>
                      <a:pt x="666" y="2232"/>
                    </a:lnTo>
                    <a:lnTo>
                      <a:pt x="670" y="2232"/>
                    </a:lnTo>
                    <a:lnTo>
                      <a:pt x="680" y="2224"/>
                    </a:lnTo>
                    <a:lnTo>
                      <a:pt x="635" y="2046"/>
                    </a:lnTo>
                    <a:lnTo>
                      <a:pt x="607" y="1958"/>
                    </a:lnTo>
                    <a:lnTo>
                      <a:pt x="566" y="1850"/>
                    </a:lnTo>
                    <a:lnTo>
                      <a:pt x="545" y="1775"/>
                    </a:lnTo>
                    <a:lnTo>
                      <a:pt x="536" y="1766"/>
                    </a:lnTo>
                    <a:lnTo>
                      <a:pt x="493" y="1766"/>
                    </a:lnTo>
                    <a:lnTo>
                      <a:pt x="493" y="1781"/>
                    </a:lnTo>
                    <a:lnTo>
                      <a:pt x="539" y="1856"/>
                    </a:lnTo>
                    <a:lnTo>
                      <a:pt x="545" y="2055"/>
                    </a:lnTo>
                    <a:lnTo>
                      <a:pt x="559" y="2115"/>
                    </a:lnTo>
                    <a:lnTo>
                      <a:pt x="559" y="2125"/>
                    </a:lnTo>
                    <a:lnTo>
                      <a:pt x="539" y="2125"/>
                    </a:lnTo>
                    <a:lnTo>
                      <a:pt x="476" y="1988"/>
                    </a:lnTo>
                    <a:lnTo>
                      <a:pt x="434" y="1919"/>
                    </a:lnTo>
                    <a:lnTo>
                      <a:pt x="455" y="1894"/>
                    </a:lnTo>
                    <a:lnTo>
                      <a:pt x="468" y="1879"/>
                    </a:lnTo>
                    <a:lnTo>
                      <a:pt x="451" y="1829"/>
                    </a:lnTo>
                    <a:lnTo>
                      <a:pt x="451" y="1645"/>
                    </a:lnTo>
                    <a:lnTo>
                      <a:pt x="401" y="1581"/>
                    </a:lnTo>
                    <a:lnTo>
                      <a:pt x="434" y="1315"/>
                    </a:lnTo>
                    <a:lnTo>
                      <a:pt x="553" y="1173"/>
                    </a:lnTo>
                    <a:lnTo>
                      <a:pt x="645" y="1071"/>
                    </a:lnTo>
                    <a:lnTo>
                      <a:pt x="645" y="998"/>
                    </a:lnTo>
                    <a:lnTo>
                      <a:pt x="662" y="998"/>
                    </a:lnTo>
                    <a:lnTo>
                      <a:pt x="680" y="1013"/>
                    </a:lnTo>
                    <a:lnTo>
                      <a:pt x="726" y="1013"/>
                    </a:lnTo>
                    <a:lnTo>
                      <a:pt x="726" y="992"/>
                    </a:lnTo>
                    <a:lnTo>
                      <a:pt x="666" y="850"/>
                    </a:lnTo>
                    <a:lnTo>
                      <a:pt x="718" y="889"/>
                    </a:lnTo>
                    <a:lnTo>
                      <a:pt x="731" y="900"/>
                    </a:lnTo>
                    <a:lnTo>
                      <a:pt x="751" y="549"/>
                    </a:lnTo>
                    <a:lnTo>
                      <a:pt x="680" y="545"/>
                    </a:lnTo>
                    <a:lnTo>
                      <a:pt x="680" y="472"/>
                    </a:lnTo>
                    <a:lnTo>
                      <a:pt x="576" y="432"/>
                    </a:lnTo>
                    <a:lnTo>
                      <a:pt x="447" y="451"/>
                    </a:lnTo>
                    <a:lnTo>
                      <a:pt x="434" y="451"/>
                    </a:lnTo>
                    <a:lnTo>
                      <a:pt x="447" y="426"/>
                    </a:lnTo>
                    <a:lnTo>
                      <a:pt x="447" y="422"/>
                    </a:lnTo>
                    <a:lnTo>
                      <a:pt x="420" y="422"/>
                    </a:lnTo>
                    <a:lnTo>
                      <a:pt x="65" y="545"/>
                    </a:lnTo>
                    <a:lnTo>
                      <a:pt x="0" y="545"/>
                    </a:lnTo>
                    <a:lnTo>
                      <a:pt x="234" y="436"/>
                    </a:lnTo>
                    <a:lnTo>
                      <a:pt x="290" y="344"/>
                    </a:lnTo>
                    <a:lnTo>
                      <a:pt x="290" y="340"/>
                    </a:lnTo>
                    <a:lnTo>
                      <a:pt x="209" y="320"/>
                    </a:lnTo>
                    <a:lnTo>
                      <a:pt x="294" y="226"/>
                    </a:lnTo>
                    <a:lnTo>
                      <a:pt x="388" y="242"/>
                    </a:lnTo>
                    <a:lnTo>
                      <a:pt x="409" y="242"/>
                    </a:lnTo>
                    <a:lnTo>
                      <a:pt x="430" y="228"/>
                    </a:lnTo>
                    <a:lnTo>
                      <a:pt x="409" y="211"/>
                    </a:lnTo>
                    <a:lnTo>
                      <a:pt x="369" y="194"/>
                    </a:lnTo>
                    <a:lnTo>
                      <a:pt x="369" y="175"/>
                    </a:lnTo>
                    <a:lnTo>
                      <a:pt x="395" y="138"/>
                    </a:lnTo>
                    <a:lnTo>
                      <a:pt x="405" y="129"/>
                    </a:lnTo>
                    <a:lnTo>
                      <a:pt x="553" y="134"/>
                    </a:lnTo>
                    <a:lnTo>
                      <a:pt x="562" y="125"/>
                    </a:lnTo>
                    <a:lnTo>
                      <a:pt x="576" y="59"/>
                    </a:lnTo>
                    <a:lnTo>
                      <a:pt x="708" y="25"/>
                    </a:lnTo>
                    <a:lnTo>
                      <a:pt x="787" y="0"/>
                    </a:lnTo>
                    <a:lnTo>
                      <a:pt x="998" y="2"/>
                    </a:lnTo>
                    <a:lnTo>
                      <a:pt x="1196" y="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19" name="Freeform 177"/>
              <p:cNvSpPr>
                <a:spLocks/>
              </p:cNvSpPr>
              <p:nvPr/>
            </p:nvSpPr>
            <p:spPr bwMode="gray">
              <a:xfrm>
                <a:off x="2491" y="1076"/>
                <a:ext cx="2739" cy="2340"/>
              </a:xfrm>
              <a:custGeom>
                <a:avLst/>
                <a:gdLst>
                  <a:gd name="T0" fmla="*/ 1 w 5476"/>
                  <a:gd name="T1" fmla="*/ 1 h 4679"/>
                  <a:gd name="T2" fmla="*/ 2 w 5476"/>
                  <a:gd name="T3" fmla="*/ 1 h 4679"/>
                  <a:gd name="T4" fmla="*/ 2 w 5476"/>
                  <a:gd name="T5" fmla="*/ 1 h 4679"/>
                  <a:gd name="T6" fmla="*/ 2 w 5476"/>
                  <a:gd name="T7" fmla="*/ 1 h 4679"/>
                  <a:gd name="T8" fmla="*/ 2 w 5476"/>
                  <a:gd name="T9" fmla="*/ 1 h 4679"/>
                  <a:gd name="T10" fmla="*/ 2 w 5476"/>
                  <a:gd name="T11" fmla="*/ 1 h 4679"/>
                  <a:gd name="T12" fmla="*/ 2 w 5476"/>
                  <a:gd name="T13" fmla="*/ 1 h 4679"/>
                  <a:gd name="T14" fmla="*/ 2 w 5476"/>
                  <a:gd name="T15" fmla="*/ 1 h 4679"/>
                  <a:gd name="T16" fmla="*/ 2 w 5476"/>
                  <a:gd name="T17" fmla="*/ 1 h 4679"/>
                  <a:gd name="T18" fmla="*/ 2 w 5476"/>
                  <a:gd name="T19" fmla="*/ 1 h 4679"/>
                  <a:gd name="T20" fmla="*/ 2 w 5476"/>
                  <a:gd name="T21" fmla="*/ 1 h 4679"/>
                  <a:gd name="T22" fmla="*/ 2 w 5476"/>
                  <a:gd name="T23" fmla="*/ 1 h 4679"/>
                  <a:gd name="T24" fmla="*/ 2 w 5476"/>
                  <a:gd name="T25" fmla="*/ 1 h 4679"/>
                  <a:gd name="T26" fmla="*/ 2 w 5476"/>
                  <a:gd name="T27" fmla="*/ 1 h 4679"/>
                  <a:gd name="T28" fmla="*/ 2 w 5476"/>
                  <a:gd name="T29" fmla="*/ 1 h 4679"/>
                  <a:gd name="T30" fmla="*/ 2 w 5476"/>
                  <a:gd name="T31" fmla="*/ 1 h 4679"/>
                  <a:gd name="T32" fmla="*/ 2 w 5476"/>
                  <a:gd name="T33" fmla="*/ 1 h 4679"/>
                  <a:gd name="T34" fmla="*/ 2 w 5476"/>
                  <a:gd name="T35" fmla="*/ 1 h 4679"/>
                  <a:gd name="T36" fmla="*/ 2 w 5476"/>
                  <a:gd name="T37" fmla="*/ 1 h 4679"/>
                  <a:gd name="T38" fmla="*/ 1 w 5476"/>
                  <a:gd name="T39" fmla="*/ 1 h 4679"/>
                  <a:gd name="T40" fmla="*/ 1 w 5476"/>
                  <a:gd name="T41" fmla="*/ 1 h 4679"/>
                  <a:gd name="T42" fmla="*/ 1 w 5476"/>
                  <a:gd name="T43" fmla="*/ 1 h 4679"/>
                  <a:gd name="T44" fmla="*/ 1 w 5476"/>
                  <a:gd name="T45" fmla="*/ 1 h 4679"/>
                  <a:gd name="T46" fmla="*/ 1 w 5476"/>
                  <a:gd name="T47" fmla="*/ 1 h 4679"/>
                  <a:gd name="T48" fmla="*/ 1 w 5476"/>
                  <a:gd name="T49" fmla="*/ 1 h 4679"/>
                  <a:gd name="T50" fmla="*/ 1 w 5476"/>
                  <a:gd name="T51" fmla="*/ 1 h 4679"/>
                  <a:gd name="T52" fmla="*/ 1 w 5476"/>
                  <a:gd name="T53" fmla="*/ 1 h 4679"/>
                  <a:gd name="T54" fmla="*/ 1 w 5476"/>
                  <a:gd name="T55" fmla="*/ 1 h 4679"/>
                  <a:gd name="T56" fmla="*/ 1 w 5476"/>
                  <a:gd name="T57" fmla="*/ 2 h 4679"/>
                  <a:gd name="T58" fmla="*/ 1 w 5476"/>
                  <a:gd name="T59" fmla="*/ 1 h 4679"/>
                  <a:gd name="T60" fmla="*/ 1 w 5476"/>
                  <a:gd name="T61" fmla="*/ 1 h 4679"/>
                  <a:gd name="T62" fmla="*/ 1 w 5476"/>
                  <a:gd name="T63" fmla="*/ 1 h 4679"/>
                  <a:gd name="T64" fmla="*/ 1 w 5476"/>
                  <a:gd name="T65" fmla="*/ 1 h 4679"/>
                  <a:gd name="T66" fmla="*/ 1 w 5476"/>
                  <a:gd name="T67" fmla="*/ 1 h 4679"/>
                  <a:gd name="T68" fmla="*/ 1 w 5476"/>
                  <a:gd name="T69" fmla="*/ 1 h 4679"/>
                  <a:gd name="T70" fmla="*/ 1 w 5476"/>
                  <a:gd name="T71" fmla="*/ 1 h 4679"/>
                  <a:gd name="T72" fmla="*/ 1 w 5476"/>
                  <a:gd name="T73" fmla="*/ 1 h 4679"/>
                  <a:gd name="T74" fmla="*/ 1 w 5476"/>
                  <a:gd name="T75" fmla="*/ 1 h 4679"/>
                  <a:gd name="T76" fmla="*/ 1 w 5476"/>
                  <a:gd name="T77" fmla="*/ 1 h 4679"/>
                  <a:gd name="T78" fmla="*/ 1 w 5476"/>
                  <a:gd name="T79" fmla="*/ 1 h 4679"/>
                  <a:gd name="T80" fmla="*/ 1 w 5476"/>
                  <a:gd name="T81" fmla="*/ 1 h 4679"/>
                  <a:gd name="T82" fmla="*/ 1 w 5476"/>
                  <a:gd name="T83" fmla="*/ 1 h 4679"/>
                  <a:gd name="T84" fmla="*/ 1 w 5476"/>
                  <a:gd name="T85" fmla="*/ 1 h 4679"/>
                  <a:gd name="T86" fmla="*/ 1 w 5476"/>
                  <a:gd name="T87" fmla="*/ 1 h 4679"/>
                  <a:gd name="T88" fmla="*/ 1 w 5476"/>
                  <a:gd name="T89" fmla="*/ 1 h 4679"/>
                  <a:gd name="T90" fmla="*/ 1 w 5476"/>
                  <a:gd name="T91" fmla="*/ 1 h 4679"/>
                  <a:gd name="T92" fmla="*/ 1 w 5476"/>
                  <a:gd name="T93" fmla="*/ 1 h 4679"/>
                  <a:gd name="T94" fmla="*/ 1 w 5476"/>
                  <a:gd name="T95" fmla="*/ 1 h 4679"/>
                  <a:gd name="T96" fmla="*/ 1 w 5476"/>
                  <a:gd name="T97" fmla="*/ 1 h 4679"/>
                  <a:gd name="T98" fmla="*/ 1 w 5476"/>
                  <a:gd name="T99" fmla="*/ 1 h 4679"/>
                  <a:gd name="T100" fmla="*/ 1 w 5476"/>
                  <a:gd name="T101" fmla="*/ 1 h 4679"/>
                  <a:gd name="T102" fmla="*/ 1 w 5476"/>
                  <a:gd name="T103" fmla="*/ 1 h 4679"/>
                  <a:gd name="T104" fmla="*/ 1 w 5476"/>
                  <a:gd name="T105" fmla="*/ 1 h 4679"/>
                  <a:gd name="T106" fmla="*/ 1 w 5476"/>
                  <a:gd name="T107" fmla="*/ 1 h 4679"/>
                  <a:gd name="T108" fmla="*/ 1 w 5476"/>
                  <a:gd name="T109" fmla="*/ 1 h 4679"/>
                  <a:gd name="T110" fmla="*/ 1 w 5476"/>
                  <a:gd name="T111" fmla="*/ 1 h 4679"/>
                  <a:gd name="T112" fmla="*/ 1 w 5476"/>
                  <a:gd name="T113" fmla="*/ 1 h 4679"/>
                  <a:gd name="T114" fmla="*/ 1 w 5476"/>
                  <a:gd name="T115" fmla="*/ 1 h 46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476"/>
                  <a:gd name="T175" fmla="*/ 0 h 4679"/>
                  <a:gd name="T176" fmla="*/ 5476 w 5476"/>
                  <a:gd name="T177" fmla="*/ 4679 h 46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476" h="4679">
                    <a:moveTo>
                      <a:pt x="3288" y="40"/>
                    </a:moveTo>
                    <a:lnTo>
                      <a:pt x="3301" y="99"/>
                    </a:lnTo>
                    <a:lnTo>
                      <a:pt x="3301" y="103"/>
                    </a:lnTo>
                    <a:lnTo>
                      <a:pt x="3307" y="113"/>
                    </a:lnTo>
                    <a:lnTo>
                      <a:pt x="3666" y="109"/>
                    </a:lnTo>
                    <a:lnTo>
                      <a:pt x="3743" y="94"/>
                    </a:lnTo>
                    <a:lnTo>
                      <a:pt x="3821" y="172"/>
                    </a:lnTo>
                    <a:lnTo>
                      <a:pt x="4046" y="113"/>
                    </a:lnTo>
                    <a:lnTo>
                      <a:pt x="4063" y="94"/>
                    </a:lnTo>
                    <a:lnTo>
                      <a:pt x="4171" y="80"/>
                    </a:lnTo>
                    <a:lnTo>
                      <a:pt x="4286" y="80"/>
                    </a:lnTo>
                    <a:lnTo>
                      <a:pt x="4823" y="113"/>
                    </a:lnTo>
                    <a:lnTo>
                      <a:pt x="4973" y="76"/>
                    </a:lnTo>
                    <a:lnTo>
                      <a:pt x="5461" y="113"/>
                    </a:lnTo>
                    <a:lnTo>
                      <a:pt x="5476" y="174"/>
                    </a:lnTo>
                    <a:lnTo>
                      <a:pt x="5476" y="190"/>
                    </a:lnTo>
                    <a:lnTo>
                      <a:pt x="5392" y="190"/>
                    </a:lnTo>
                    <a:lnTo>
                      <a:pt x="5374" y="172"/>
                    </a:lnTo>
                    <a:lnTo>
                      <a:pt x="5286" y="190"/>
                    </a:lnTo>
                    <a:lnTo>
                      <a:pt x="5280" y="253"/>
                    </a:lnTo>
                    <a:lnTo>
                      <a:pt x="5280" y="262"/>
                    </a:lnTo>
                    <a:lnTo>
                      <a:pt x="5359" y="266"/>
                    </a:lnTo>
                    <a:lnTo>
                      <a:pt x="5369" y="295"/>
                    </a:lnTo>
                    <a:lnTo>
                      <a:pt x="5336" y="378"/>
                    </a:lnTo>
                    <a:lnTo>
                      <a:pt x="5353" y="408"/>
                    </a:lnTo>
                    <a:lnTo>
                      <a:pt x="5294" y="452"/>
                    </a:lnTo>
                    <a:lnTo>
                      <a:pt x="5267" y="468"/>
                    </a:lnTo>
                    <a:lnTo>
                      <a:pt x="5230" y="412"/>
                    </a:lnTo>
                    <a:lnTo>
                      <a:pt x="5182" y="451"/>
                    </a:lnTo>
                    <a:lnTo>
                      <a:pt x="5234" y="472"/>
                    </a:lnTo>
                    <a:lnTo>
                      <a:pt x="5263" y="504"/>
                    </a:lnTo>
                    <a:lnTo>
                      <a:pt x="5263" y="558"/>
                    </a:lnTo>
                    <a:lnTo>
                      <a:pt x="5273" y="566"/>
                    </a:lnTo>
                    <a:lnTo>
                      <a:pt x="5332" y="579"/>
                    </a:lnTo>
                    <a:lnTo>
                      <a:pt x="5340" y="662"/>
                    </a:lnTo>
                    <a:lnTo>
                      <a:pt x="5369" y="677"/>
                    </a:lnTo>
                    <a:lnTo>
                      <a:pt x="5369" y="771"/>
                    </a:lnTo>
                    <a:lnTo>
                      <a:pt x="5259" y="748"/>
                    </a:lnTo>
                    <a:lnTo>
                      <a:pt x="5092" y="604"/>
                    </a:lnTo>
                    <a:lnTo>
                      <a:pt x="5140" y="452"/>
                    </a:lnTo>
                    <a:lnTo>
                      <a:pt x="5075" y="397"/>
                    </a:lnTo>
                    <a:lnTo>
                      <a:pt x="4964" y="397"/>
                    </a:lnTo>
                    <a:lnTo>
                      <a:pt x="4935" y="412"/>
                    </a:lnTo>
                    <a:lnTo>
                      <a:pt x="4931" y="504"/>
                    </a:lnTo>
                    <a:lnTo>
                      <a:pt x="4950" y="506"/>
                    </a:lnTo>
                    <a:lnTo>
                      <a:pt x="4964" y="506"/>
                    </a:lnTo>
                    <a:lnTo>
                      <a:pt x="4964" y="545"/>
                    </a:lnTo>
                    <a:lnTo>
                      <a:pt x="4839" y="545"/>
                    </a:lnTo>
                    <a:lnTo>
                      <a:pt x="4816" y="564"/>
                    </a:lnTo>
                    <a:lnTo>
                      <a:pt x="4704" y="564"/>
                    </a:lnTo>
                    <a:lnTo>
                      <a:pt x="4695" y="662"/>
                    </a:lnTo>
                    <a:lnTo>
                      <a:pt x="4635" y="742"/>
                    </a:lnTo>
                    <a:lnTo>
                      <a:pt x="4632" y="748"/>
                    </a:lnTo>
                    <a:lnTo>
                      <a:pt x="4789" y="752"/>
                    </a:lnTo>
                    <a:lnTo>
                      <a:pt x="4862" y="846"/>
                    </a:lnTo>
                    <a:lnTo>
                      <a:pt x="4891" y="846"/>
                    </a:lnTo>
                    <a:lnTo>
                      <a:pt x="4895" y="752"/>
                    </a:lnTo>
                    <a:lnTo>
                      <a:pt x="4964" y="877"/>
                    </a:lnTo>
                    <a:lnTo>
                      <a:pt x="5131" y="1021"/>
                    </a:lnTo>
                    <a:lnTo>
                      <a:pt x="5136" y="1030"/>
                    </a:lnTo>
                    <a:lnTo>
                      <a:pt x="5140" y="1030"/>
                    </a:lnTo>
                    <a:lnTo>
                      <a:pt x="5092" y="1053"/>
                    </a:lnTo>
                    <a:lnTo>
                      <a:pt x="4964" y="936"/>
                    </a:lnTo>
                    <a:lnTo>
                      <a:pt x="4935" y="871"/>
                    </a:lnTo>
                    <a:lnTo>
                      <a:pt x="4935" y="963"/>
                    </a:lnTo>
                    <a:lnTo>
                      <a:pt x="4967" y="1017"/>
                    </a:lnTo>
                    <a:lnTo>
                      <a:pt x="4977" y="1080"/>
                    </a:lnTo>
                    <a:lnTo>
                      <a:pt x="5002" y="1222"/>
                    </a:lnTo>
                    <a:lnTo>
                      <a:pt x="4946" y="1297"/>
                    </a:lnTo>
                    <a:lnTo>
                      <a:pt x="4862" y="1297"/>
                    </a:lnTo>
                    <a:lnTo>
                      <a:pt x="4848" y="1351"/>
                    </a:lnTo>
                    <a:lnTo>
                      <a:pt x="4845" y="1402"/>
                    </a:lnTo>
                    <a:lnTo>
                      <a:pt x="4839" y="1404"/>
                    </a:lnTo>
                    <a:lnTo>
                      <a:pt x="5002" y="1575"/>
                    </a:lnTo>
                    <a:lnTo>
                      <a:pt x="4935" y="1635"/>
                    </a:lnTo>
                    <a:lnTo>
                      <a:pt x="4891" y="1589"/>
                    </a:lnTo>
                    <a:lnTo>
                      <a:pt x="4866" y="1531"/>
                    </a:lnTo>
                    <a:lnTo>
                      <a:pt x="4852" y="1516"/>
                    </a:lnTo>
                    <a:lnTo>
                      <a:pt x="4793" y="1504"/>
                    </a:lnTo>
                    <a:lnTo>
                      <a:pt x="4754" y="1449"/>
                    </a:lnTo>
                    <a:lnTo>
                      <a:pt x="4704" y="1481"/>
                    </a:lnTo>
                    <a:lnTo>
                      <a:pt x="4681" y="1449"/>
                    </a:lnTo>
                    <a:lnTo>
                      <a:pt x="4681" y="1433"/>
                    </a:lnTo>
                    <a:lnTo>
                      <a:pt x="4649" y="1414"/>
                    </a:lnTo>
                    <a:lnTo>
                      <a:pt x="4632" y="1410"/>
                    </a:lnTo>
                    <a:lnTo>
                      <a:pt x="4593" y="1481"/>
                    </a:lnTo>
                    <a:lnTo>
                      <a:pt x="4593" y="1516"/>
                    </a:lnTo>
                    <a:lnTo>
                      <a:pt x="4639" y="1535"/>
                    </a:lnTo>
                    <a:lnTo>
                      <a:pt x="4751" y="1539"/>
                    </a:lnTo>
                    <a:lnTo>
                      <a:pt x="4751" y="1594"/>
                    </a:lnTo>
                    <a:lnTo>
                      <a:pt x="4704" y="1594"/>
                    </a:lnTo>
                    <a:lnTo>
                      <a:pt x="4701" y="1658"/>
                    </a:lnTo>
                    <a:lnTo>
                      <a:pt x="4701" y="1667"/>
                    </a:lnTo>
                    <a:lnTo>
                      <a:pt x="4760" y="1677"/>
                    </a:lnTo>
                    <a:lnTo>
                      <a:pt x="4852" y="1794"/>
                    </a:lnTo>
                    <a:lnTo>
                      <a:pt x="4858" y="1796"/>
                    </a:lnTo>
                    <a:lnTo>
                      <a:pt x="4810" y="1806"/>
                    </a:lnTo>
                    <a:lnTo>
                      <a:pt x="4858" y="1855"/>
                    </a:lnTo>
                    <a:lnTo>
                      <a:pt x="4806" y="2139"/>
                    </a:lnTo>
                    <a:lnTo>
                      <a:pt x="4632" y="2235"/>
                    </a:lnTo>
                    <a:lnTo>
                      <a:pt x="4597" y="2203"/>
                    </a:lnTo>
                    <a:lnTo>
                      <a:pt x="4593" y="2197"/>
                    </a:lnTo>
                    <a:lnTo>
                      <a:pt x="4576" y="2230"/>
                    </a:lnTo>
                    <a:lnTo>
                      <a:pt x="4626" y="2295"/>
                    </a:lnTo>
                    <a:lnTo>
                      <a:pt x="4597" y="2360"/>
                    </a:lnTo>
                    <a:lnTo>
                      <a:pt x="4580" y="2360"/>
                    </a:lnTo>
                    <a:lnTo>
                      <a:pt x="4561" y="2349"/>
                    </a:lnTo>
                    <a:lnTo>
                      <a:pt x="4576" y="2251"/>
                    </a:lnTo>
                    <a:lnTo>
                      <a:pt x="4561" y="2235"/>
                    </a:lnTo>
                    <a:lnTo>
                      <a:pt x="4474" y="2235"/>
                    </a:lnTo>
                    <a:lnTo>
                      <a:pt x="4465" y="2247"/>
                    </a:lnTo>
                    <a:lnTo>
                      <a:pt x="4453" y="2364"/>
                    </a:lnTo>
                    <a:lnTo>
                      <a:pt x="4593" y="2537"/>
                    </a:lnTo>
                    <a:lnTo>
                      <a:pt x="4593" y="2667"/>
                    </a:lnTo>
                    <a:lnTo>
                      <a:pt x="4488" y="2744"/>
                    </a:lnTo>
                    <a:lnTo>
                      <a:pt x="4401" y="2667"/>
                    </a:lnTo>
                    <a:lnTo>
                      <a:pt x="4388" y="2635"/>
                    </a:lnTo>
                    <a:lnTo>
                      <a:pt x="4361" y="2631"/>
                    </a:lnTo>
                    <a:lnTo>
                      <a:pt x="4349" y="2631"/>
                    </a:lnTo>
                    <a:lnTo>
                      <a:pt x="4280" y="2542"/>
                    </a:lnTo>
                    <a:lnTo>
                      <a:pt x="4280" y="2625"/>
                    </a:lnTo>
                    <a:lnTo>
                      <a:pt x="4294" y="2761"/>
                    </a:lnTo>
                    <a:lnTo>
                      <a:pt x="4294" y="2798"/>
                    </a:lnTo>
                    <a:lnTo>
                      <a:pt x="4415" y="2919"/>
                    </a:lnTo>
                    <a:lnTo>
                      <a:pt x="4465" y="2947"/>
                    </a:lnTo>
                    <a:lnTo>
                      <a:pt x="4482" y="3065"/>
                    </a:lnTo>
                    <a:lnTo>
                      <a:pt x="4488" y="3080"/>
                    </a:lnTo>
                    <a:lnTo>
                      <a:pt x="4465" y="3084"/>
                    </a:lnTo>
                    <a:lnTo>
                      <a:pt x="4453" y="3084"/>
                    </a:lnTo>
                    <a:lnTo>
                      <a:pt x="4346" y="2898"/>
                    </a:lnTo>
                    <a:lnTo>
                      <a:pt x="4276" y="2798"/>
                    </a:lnTo>
                    <a:lnTo>
                      <a:pt x="4192" y="2744"/>
                    </a:lnTo>
                    <a:lnTo>
                      <a:pt x="4182" y="2581"/>
                    </a:lnTo>
                    <a:lnTo>
                      <a:pt x="4171" y="2533"/>
                    </a:lnTo>
                    <a:lnTo>
                      <a:pt x="4171" y="2483"/>
                    </a:lnTo>
                    <a:lnTo>
                      <a:pt x="4063" y="2477"/>
                    </a:lnTo>
                    <a:lnTo>
                      <a:pt x="3962" y="2299"/>
                    </a:lnTo>
                    <a:lnTo>
                      <a:pt x="3893" y="2257"/>
                    </a:lnTo>
                    <a:lnTo>
                      <a:pt x="3846" y="2280"/>
                    </a:lnTo>
                    <a:lnTo>
                      <a:pt x="3701" y="2379"/>
                    </a:lnTo>
                    <a:lnTo>
                      <a:pt x="3566" y="2537"/>
                    </a:lnTo>
                    <a:lnTo>
                      <a:pt x="3487" y="2828"/>
                    </a:lnTo>
                    <a:lnTo>
                      <a:pt x="3464" y="2884"/>
                    </a:lnTo>
                    <a:lnTo>
                      <a:pt x="3464" y="2888"/>
                    </a:lnTo>
                    <a:lnTo>
                      <a:pt x="3418" y="2834"/>
                    </a:lnTo>
                    <a:lnTo>
                      <a:pt x="3393" y="2794"/>
                    </a:lnTo>
                    <a:lnTo>
                      <a:pt x="3390" y="2731"/>
                    </a:lnTo>
                    <a:lnTo>
                      <a:pt x="3288" y="2537"/>
                    </a:lnTo>
                    <a:lnTo>
                      <a:pt x="3284" y="2433"/>
                    </a:lnTo>
                    <a:lnTo>
                      <a:pt x="3219" y="2333"/>
                    </a:lnTo>
                    <a:lnTo>
                      <a:pt x="3201" y="2333"/>
                    </a:lnTo>
                    <a:lnTo>
                      <a:pt x="3173" y="2349"/>
                    </a:lnTo>
                    <a:lnTo>
                      <a:pt x="3159" y="2349"/>
                    </a:lnTo>
                    <a:lnTo>
                      <a:pt x="2971" y="2182"/>
                    </a:lnTo>
                    <a:lnTo>
                      <a:pt x="2804" y="2197"/>
                    </a:lnTo>
                    <a:lnTo>
                      <a:pt x="2595" y="2139"/>
                    </a:lnTo>
                    <a:lnTo>
                      <a:pt x="2507" y="2157"/>
                    </a:lnTo>
                    <a:lnTo>
                      <a:pt x="2334" y="1992"/>
                    </a:lnTo>
                    <a:lnTo>
                      <a:pt x="2261" y="2049"/>
                    </a:lnTo>
                    <a:lnTo>
                      <a:pt x="2299" y="2143"/>
                    </a:lnTo>
                    <a:lnTo>
                      <a:pt x="2434" y="2182"/>
                    </a:lnTo>
                    <a:lnTo>
                      <a:pt x="2434" y="2230"/>
                    </a:lnTo>
                    <a:lnTo>
                      <a:pt x="2466" y="2247"/>
                    </a:lnTo>
                    <a:lnTo>
                      <a:pt x="2503" y="2247"/>
                    </a:lnTo>
                    <a:lnTo>
                      <a:pt x="2595" y="2182"/>
                    </a:lnTo>
                    <a:lnTo>
                      <a:pt x="2616" y="2239"/>
                    </a:lnTo>
                    <a:lnTo>
                      <a:pt x="2716" y="2289"/>
                    </a:lnTo>
                    <a:lnTo>
                      <a:pt x="2716" y="2399"/>
                    </a:lnTo>
                    <a:lnTo>
                      <a:pt x="2685" y="2443"/>
                    </a:lnTo>
                    <a:lnTo>
                      <a:pt x="2685" y="2462"/>
                    </a:lnTo>
                    <a:lnTo>
                      <a:pt x="2299" y="2702"/>
                    </a:lnTo>
                    <a:lnTo>
                      <a:pt x="2228" y="2702"/>
                    </a:lnTo>
                    <a:lnTo>
                      <a:pt x="2186" y="2600"/>
                    </a:lnTo>
                    <a:lnTo>
                      <a:pt x="1985" y="2316"/>
                    </a:lnTo>
                    <a:lnTo>
                      <a:pt x="1917" y="2247"/>
                    </a:lnTo>
                    <a:lnTo>
                      <a:pt x="1894" y="2239"/>
                    </a:lnTo>
                    <a:lnTo>
                      <a:pt x="1789" y="2109"/>
                    </a:lnTo>
                    <a:lnTo>
                      <a:pt x="1789" y="2126"/>
                    </a:lnTo>
                    <a:lnTo>
                      <a:pt x="1835" y="2257"/>
                    </a:lnTo>
                    <a:lnTo>
                      <a:pt x="1917" y="2379"/>
                    </a:lnTo>
                    <a:lnTo>
                      <a:pt x="1927" y="2389"/>
                    </a:lnTo>
                    <a:lnTo>
                      <a:pt x="1927" y="2462"/>
                    </a:lnTo>
                    <a:lnTo>
                      <a:pt x="2180" y="2725"/>
                    </a:lnTo>
                    <a:lnTo>
                      <a:pt x="2261" y="2798"/>
                    </a:lnTo>
                    <a:lnTo>
                      <a:pt x="2317" y="2794"/>
                    </a:lnTo>
                    <a:lnTo>
                      <a:pt x="2438" y="2744"/>
                    </a:lnTo>
                    <a:lnTo>
                      <a:pt x="2489" y="2744"/>
                    </a:lnTo>
                    <a:lnTo>
                      <a:pt x="2485" y="2771"/>
                    </a:lnTo>
                    <a:lnTo>
                      <a:pt x="2401" y="2934"/>
                    </a:lnTo>
                    <a:lnTo>
                      <a:pt x="2386" y="3028"/>
                    </a:lnTo>
                    <a:lnTo>
                      <a:pt x="2100" y="3383"/>
                    </a:lnTo>
                    <a:lnTo>
                      <a:pt x="2104" y="3590"/>
                    </a:lnTo>
                    <a:lnTo>
                      <a:pt x="2127" y="3736"/>
                    </a:lnTo>
                    <a:lnTo>
                      <a:pt x="2127" y="3763"/>
                    </a:lnTo>
                    <a:lnTo>
                      <a:pt x="2140" y="3844"/>
                    </a:lnTo>
                    <a:lnTo>
                      <a:pt x="2140" y="3853"/>
                    </a:lnTo>
                    <a:lnTo>
                      <a:pt x="1927" y="4024"/>
                    </a:lnTo>
                    <a:lnTo>
                      <a:pt x="1913" y="4149"/>
                    </a:lnTo>
                    <a:lnTo>
                      <a:pt x="1904" y="4201"/>
                    </a:lnTo>
                    <a:lnTo>
                      <a:pt x="1904" y="4214"/>
                    </a:lnTo>
                    <a:lnTo>
                      <a:pt x="1819" y="4262"/>
                    </a:lnTo>
                    <a:lnTo>
                      <a:pt x="1626" y="4583"/>
                    </a:lnTo>
                    <a:lnTo>
                      <a:pt x="1522" y="4679"/>
                    </a:lnTo>
                    <a:lnTo>
                      <a:pt x="1322" y="4679"/>
                    </a:lnTo>
                    <a:lnTo>
                      <a:pt x="1280" y="4500"/>
                    </a:lnTo>
                    <a:lnTo>
                      <a:pt x="1171" y="4178"/>
                    </a:lnTo>
                    <a:lnTo>
                      <a:pt x="1092" y="4015"/>
                    </a:lnTo>
                    <a:lnTo>
                      <a:pt x="1115" y="3755"/>
                    </a:lnTo>
                    <a:lnTo>
                      <a:pt x="1128" y="3713"/>
                    </a:lnTo>
                    <a:lnTo>
                      <a:pt x="1128" y="3704"/>
                    </a:lnTo>
                    <a:lnTo>
                      <a:pt x="1092" y="3683"/>
                    </a:lnTo>
                    <a:lnTo>
                      <a:pt x="1092" y="3546"/>
                    </a:lnTo>
                    <a:lnTo>
                      <a:pt x="936" y="3324"/>
                    </a:lnTo>
                    <a:lnTo>
                      <a:pt x="988" y="3193"/>
                    </a:lnTo>
                    <a:lnTo>
                      <a:pt x="921" y="3105"/>
                    </a:lnTo>
                    <a:lnTo>
                      <a:pt x="792" y="3101"/>
                    </a:lnTo>
                    <a:lnTo>
                      <a:pt x="704" y="3007"/>
                    </a:lnTo>
                    <a:lnTo>
                      <a:pt x="649" y="3028"/>
                    </a:lnTo>
                    <a:lnTo>
                      <a:pt x="614" y="3084"/>
                    </a:lnTo>
                    <a:lnTo>
                      <a:pt x="263" y="3101"/>
                    </a:lnTo>
                    <a:lnTo>
                      <a:pt x="124" y="2988"/>
                    </a:lnTo>
                    <a:lnTo>
                      <a:pt x="46" y="2805"/>
                    </a:lnTo>
                    <a:lnTo>
                      <a:pt x="0" y="2744"/>
                    </a:lnTo>
                    <a:lnTo>
                      <a:pt x="17" y="2606"/>
                    </a:lnTo>
                    <a:lnTo>
                      <a:pt x="0" y="2414"/>
                    </a:lnTo>
                    <a:lnTo>
                      <a:pt x="119" y="2166"/>
                    </a:lnTo>
                    <a:lnTo>
                      <a:pt x="132" y="2157"/>
                    </a:lnTo>
                    <a:lnTo>
                      <a:pt x="220" y="2143"/>
                    </a:lnTo>
                    <a:lnTo>
                      <a:pt x="234" y="2122"/>
                    </a:lnTo>
                    <a:lnTo>
                      <a:pt x="263" y="1961"/>
                    </a:lnTo>
                    <a:lnTo>
                      <a:pt x="301" y="1925"/>
                    </a:lnTo>
                    <a:lnTo>
                      <a:pt x="389" y="1861"/>
                    </a:lnTo>
                    <a:lnTo>
                      <a:pt x="547" y="1861"/>
                    </a:lnTo>
                    <a:lnTo>
                      <a:pt x="610" y="1825"/>
                    </a:lnTo>
                    <a:lnTo>
                      <a:pt x="658" y="1815"/>
                    </a:lnTo>
                    <a:lnTo>
                      <a:pt x="827" y="1784"/>
                    </a:lnTo>
                    <a:lnTo>
                      <a:pt x="946" y="1794"/>
                    </a:lnTo>
                    <a:lnTo>
                      <a:pt x="977" y="1802"/>
                    </a:lnTo>
                    <a:lnTo>
                      <a:pt x="984" y="1802"/>
                    </a:lnTo>
                    <a:lnTo>
                      <a:pt x="1002" y="1853"/>
                    </a:lnTo>
                    <a:lnTo>
                      <a:pt x="1025" y="1951"/>
                    </a:lnTo>
                    <a:lnTo>
                      <a:pt x="1115" y="1997"/>
                    </a:lnTo>
                    <a:lnTo>
                      <a:pt x="1148" y="2049"/>
                    </a:lnTo>
                    <a:lnTo>
                      <a:pt x="1322" y="2011"/>
                    </a:lnTo>
                    <a:lnTo>
                      <a:pt x="1328" y="1944"/>
                    </a:lnTo>
                    <a:lnTo>
                      <a:pt x="1341" y="1919"/>
                    </a:lnTo>
                    <a:lnTo>
                      <a:pt x="1518" y="2011"/>
                    </a:lnTo>
                    <a:lnTo>
                      <a:pt x="1583" y="1997"/>
                    </a:lnTo>
                    <a:lnTo>
                      <a:pt x="1587" y="1992"/>
                    </a:lnTo>
                    <a:lnTo>
                      <a:pt x="1591" y="2047"/>
                    </a:lnTo>
                    <a:lnTo>
                      <a:pt x="1612" y="2049"/>
                    </a:lnTo>
                    <a:lnTo>
                      <a:pt x="1626" y="2049"/>
                    </a:lnTo>
                    <a:lnTo>
                      <a:pt x="1626" y="2080"/>
                    </a:lnTo>
                    <a:lnTo>
                      <a:pt x="1637" y="2080"/>
                    </a:lnTo>
                    <a:lnTo>
                      <a:pt x="1802" y="1992"/>
                    </a:lnTo>
                    <a:lnTo>
                      <a:pt x="1819" y="1844"/>
                    </a:lnTo>
                    <a:lnTo>
                      <a:pt x="1819" y="1771"/>
                    </a:lnTo>
                    <a:lnTo>
                      <a:pt x="1798" y="1771"/>
                    </a:lnTo>
                    <a:lnTo>
                      <a:pt x="1702" y="1802"/>
                    </a:lnTo>
                    <a:lnTo>
                      <a:pt x="1522" y="1765"/>
                    </a:lnTo>
                    <a:lnTo>
                      <a:pt x="1489" y="1734"/>
                    </a:lnTo>
                    <a:lnTo>
                      <a:pt x="1485" y="1671"/>
                    </a:lnTo>
                    <a:lnTo>
                      <a:pt x="1518" y="1614"/>
                    </a:lnTo>
                    <a:lnTo>
                      <a:pt x="1518" y="1598"/>
                    </a:lnTo>
                    <a:lnTo>
                      <a:pt x="1651" y="1569"/>
                    </a:lnTo>
                    <a:lnTo>
                      <a:pt x="1785" y="1521"/>
                    </a:lnTo>
                    <a:lnTo>
                      <a:pt x="1904" y="1575"/>
                    </a:lnTo>
                    <a:lnTo>
                      <a:pt x="2006" y="1544"/>
                    </a:lnTo>
                    <a:lnTo>
                      <a:pt x="2011" y="1544"/>
                    </a:lnTo>
                    <a:lnTo>
                      <a:pt x="2011" y="1531"/>
                    </a:lnTo>
                    <a:lnTo>
                      <a:pt x="1998" y="1510"/>
                    </a:lnTo>
                    <a:lnTo>
                      <a:pt x="1921" y="1500"/>
                    </a:lnTo>
                    <a:lnTo>
                      <a:pt x="1821" y="1433"/>
                    </a:lnTo>
                    <a:lnTo>
                      <a:pt x="1816" y="1410"/>
                    </a:lnTo>
                    <a:lnTo>
                      <a:pt x="1802" y="1410"/>
                    </a:lnTo>
                    <a:lnTo>
                      <a:pt x="1779" y="1449"/>
                    </a:lnTo>
                    <a:lnTo>
                      <a:pt x="1685" y="1443"/>
                    </a:lnTo>
                    <a:lnTo>
                      <a:pt x="1629" y="1410"/>
                    </a:lnTo>
                    <a:lnTo>
                      <a:pt x="1608" y="1410"/>
                    </a:lnTo>
                    <a:lnTo>
                      <a:pt x="1514" y="1514"/>
                    </a:lnTo>
                    <a:lnTo>
                      <a:pt x="1503" y="1594"/>
                    </a:lnTo>
                    <a:lnTo>
                      <a:pt x="1489" y="1594"/>
                    </a:lnTo>
                    <a:lnTo>
                      <a:pt x="1480" y="1604"/>
                    </a:lnTo>
                    <a:lnTo>
                      <a:pt x="1480" y="1617"/>
                    </a:lnTo>
                    <a:lnTo>
                      <a:pt x="1403" y="1667"/>
                    </a:lnTo>
                    <a:lnTo>
                      <a:pt x="1397" y="1677"/>
                    </a:lnTo>
                    <a:lnTo>
                      <a:pt x="1397" y="1784"/>
                    </a:lnTo>
                    <a:lnTo>
                      <a:pt x="1341" y="1784"/>
                    </a:lnTo>
                    <a:lnTo>
                      <a:pt x="1341" y="1727"/>
                    </a:lnTo>
                    <a:lnTo>
                      <a:pt x="1234" y="1575"/>
                    </a:lnTo>
                    <a:lnTo>
                      <a:pt x="1115" y="1504"/>
                    </a:lnTo>
                    <a:lnTo>
                      <a:pt x="1042" y="1504"/>
                    </a:lnTo>
                    <a:lnTo>
                      <a:pt x="1036" y="1510"/>
                    </a:lnTo>
                    <a:lnTo>
                      <a:pt x="1036" y="1516"/>
                    </a:lnTo>
                    <a:lnTo>
                      <a:pt x="1230" y="1629"/>
                    </a:lnTo>
                    <a:lnTo>
                      <a:pt x="1230" y="1648"/>
                    </a:lnTo>
                    <a:lnTo>
                      <a:pt x="1207" y="1683"/>
                    </a:lnTo>
                    <a:lnTo>
                      <a:pt x="1148" y="1761"/>
                    </a:lnTo>
                    <a:lnTo>
                      <a:pt x="1144" y="1671"/>
                    </a:lnTo>
                    <a:lnTo>
                      <a:pt x="1019" y="1594"/>
                    </a:lnTo>
                    <a:lnTo>
                      <a:pt x="1002" y="1594"/>
                    </a:lnTo>
                    <a:lnTo>
                      <a:pt x="904" y="1504"/>
                    </a:lnTo>
                    <a:lnTo>
                      <a:pt x="827" y="1510"/>
                    </a:lnTo>
                    <a:lnTo>
                      <a:pt x="798" y="1521"/>
                    </a:lnTo>
                    <a:lnTo>
                      <a:pt x="654" y="1521"/>
                    </a:lnTo>
                    <a:lnTo>
                      <a:pt x="599" y="1711"/>
                    </a:lnTo>
                    <a:lnTo>
                      <a:pt x="599" y="1731"/>
                    </a:lnTo>
                    <a:lnTo>
                      <a:pt x="497" y="1802"/>
                    </a:lnTo>
                    <a:lnTo>
                      <a:pt x="318" y="1802"/>
                    </a:lnTo>
                    <a:lnTo>
                      <a:pt x="263" y="1708"/>
                    </a:lnTo>
                    <a:lnTo>
                      <a:pt x="318" y="1594"/>
                    </a:lnTo>
                    <a:lnTo>
                      <a:pt x="318" y="1521"/>
                    </a:lnTo>
                    <a:lnTo>
                      <a:pt x="349" y="1485"/>
                    </a:lnTo>
                    <a:lnTo>
                      <a:pt x="460" y="1491"/>
                    </a:lnTo>
                    <a:lnTo>
                      <a:pt x="543" y="1521"/>
                    </a:lnTo>
                    <a:lnTo>
                      <a:pt x="547" y="1410"/>
                    </a:lnTo>
                    <a:lnTo>
                      <a:pt x="460" y="1320"/>
                    </a:lnTo>
                    <a:lnTo>
                      <a:pt x="483" y="1301"/>
                    </a:lnTo>
                    <a:lnTo>
                      <a:pt x="606" y="1257"/>
                    </a:lnTo>
                    <a:lnTo>
                      <a:pt x="677" y="1207"/>
                    </a:lnTo>
                    <a:lnTo>
                      <a:pt x="831" y="1113"/>
                    </a:lnTo>
                    <a:lnTo>
                      <a:pt x="900" y="1053"/>
                    </a:lnTo>
                    <a:lnTo>
                      <a:pt x="900" y="957"/>
                    </a:lnTo>
                    <a:lnTo>
                      <a:pt x="917" y="940"/>
                    </a:lnTo>
                    <a:lnTo>
                      <a:pt x="921" y="940"/>
                    </a:lnTo>
                    <a:lnTo>
                      <a:pt x="933" y="955"/>
                    </a:lnTo>
                    <a:lnTo>
                      <a:pt x="933" y="1049"/>
                    </a:lnTo>
                    <a:lnTo>
                      <a:pt x="1105" y="1124"/>
                    </a:lnTo>
                    <a:lnTo>
                      <a:pt x="1148" y="1103"/>
                    </a:lnTo>
                    <a:lnTo>
                      <a:pt x="1269" y="1017"/>
                    </a:lnTo>
                    <a:lnTo>
                      <a:pt x="1272" y="971"/>
                    </a:lnTo>
                    <a:lnTo>
                      <a:pt x="1272" y="957"/>
                    </a:lnTo>
                    <a:lnTo>
                      <a:pt x="1336" y="940"/>
                    </a:lnTo>
                    <a:lnTo>
                      <a:pt x="1351" y="917"/>
                    </a:lnTo>
                    <a:lnTo>
                      <a:pt x="1374" y="871"/>
                    </a:lnTo>
                    <a:lnTo>
                      <a:pt x="1403" y="855"/>
                    </a:lnTo>
                    <a:lnTo>
                      <a:pt x="1336" y="855"/>
                    </a:lnTo>
                    <a:lnTo>
                      <a:pt x="1297" y="865"/>
                    </a:lnTo>
                    <a:lnTo>
                      <a:pt x="1290" y="865"/>
                    </a:lnTo>
                    <a:lnTo>
                      <a:pt x="1221" y="758"/>
                    </a:lnTo>
                    <a:lnTo>
                      <a:pt x="1293" y="685"/>
                    </a:lnTo>
                    <a:lnTo>
                      <a:pt x="1305" y="677"/>
                    </a:lnTo>
                    <a:lnTo>
                      <a:pt x="1322" y="658"/>
                    </a:lnTo>
                    <a:lnTo>
                      <a:pt x="1290" y="639"/>
                    </a:lnTo>
                    <a:lnTo>
                      <a:pt x="1132" y="752"/>
                    </a:lnTo>
                    <a:lnTo>
                      <a:pt x="1184" y="865"/>
                    </a:lnTo>
                    <a:lnTo>
                      <a:pt x="1144" y="886"/>
                    </a:lnTo>
                    <a:lnTo>
                      <a:pt x="1144" y="923"/>
                    </a:lnTo>
                    <a:lnTo>
                      <a:pt x="1115" y="936"/>
                    </a:lnTo>
                    <a:lnTo>
                      <a:pt x="1115" y="963"/>
                    </a:lnTo>
                    <a:lnTo>
                      <a:pt x="1128" y="999"/>
                    </a:lnTo>
                    <a:lnTo>
                      <a:pt x="1128" y="1011"/>
                    </a:lnTo>
                    <a:lnTo>
                      <a:pt x="1042" y="1011"/>
                    </a:lnTo>
                    <a:lnTo>
                      <a:pt x="1025" y="940"/>
                    </a:lnTo>
                    <a:lnTo>
                      <a:pt x="933" y="882"/>
                    </a:lnTo>
                    <a:lnTo>
                      <a:pt x="831" y="940"/>
                    </a:lnTo>
                    <a:lnTo>
                      <a:pt x="792" y="865"/>
                    </a:lnTo>
                    <a:lnTo>
                      <a:pt x="812" y="742"/>
                    </a:lnTo>
                    <a:lnTo>
                      <a:pt x="812" y="733"/>
                    </a:lnTo>
                    <a:lnTo>
                      <a:pt x="1006" y="658"/>
                    </a:lnTo>
                    <a:lnTo>
                      <a:pt x="1140" y="458"/>
                    </a:lnTo>
                    <a:lnTo>
                      <a:pt x="1203" y="422"/>
                    </a:lnTo>
                    <a:lnTo>
                      <a:pt x="1341" y="358"/>
                    </a:lnTo>
                    <a:lnTo>
                      <a:pt x="1426" y="391"/>
                    </a:lnTo>
                    <a:lnTo>
                      <a:pt x="1434" y="451"/>
                    </a:lnTo>
                    <a:lnTo>
                      <a:pt x="1651" y="452"/>
                    </a:lnTo>
                    <a:lnTo>
                      <a:pt x="1714" y="472"/>
                    </a:lnTo>
                    <a:lnTo>
                      <a:pt x="1779" y="558"/>
                    </a:lnTo>
                    <a:lnTo>
                      <a:pt x="1779" y="564"/>
                    </a:lnTo>
                    <a:lnTo>
                      <a:pt x="1675" y="579"/>
                    </a:lnTo>
                    <a:lnTo>
                      <a:pt x="1597" y="579"/>
                    </a:lnTo>
                    <a:lnTo>
                      <a:pt x="1597" y="594"/>
                    </a:lnTo>
                    <a:lnTo>
                      <a:pt x="1626" y="658"/>
                    </a:lnTo>
                    <a:lnTo>
                      <a:pt x="1685" y="639"/>
                    </a:lnTo>
                    <a:lnTo>
                      <a:pt x="1771" y="658"/>
                    </a:lnTo>
                    <a:lnTo>
                      <a:pt x="1779" y="658"/>
                    </a:lnTo>
                    <a:lnTo>
                      <a:pt x="1785" y="579"/>
                    </a:lnTo>
                    <a:lnTo>
                      <a:pt x="2121" y="445"/>
                    </a:lnTo>
                    <a:lnTo>
                      <a:pt x="2228" y="412"/>
                    </a:lnTo>
                    <a:lnTo>
                      <a:pt x="2261" y="378"/>
                    </a:lnTo>
                    <a:lnTo>
                      <a:pt x="2393" y="445"/>
                    </a:lnTo>
                    <a:lnTo>
                      <a:pt x="2395" y="451"/>
                    </a:lnTo>
                    <a:lnTo>
                      <a:pt x="2395" y="431"/>
                    </a:lnTo>
                    <a:lnTo>
                      <a:pt x="2366" y="355"/>
                    </a:lnTo>
                    <a:lnTo>
                      <a:pt x="2366" y="266"/>
                    </a:lnTo>
                    <a:lnTo>
                      <a:pt x="2438" y="266"/>
                    </a:lnTo>
                    <a:lnTo>
                      <a:pt x="2493" y="358"/>
                    </a:lnTo>
                    <a:lnTo>
                      <a:pt x="2545" y="397"/>
                    </a:lnTo>
                    <a:lnTo>
                      <a:pt x="2574" y="495"/>
                    </a:lnTo>
                    <a:lnTo>
                      <a:pt x="2574" y="500"/>
                    </a:lnTo>
                    <a:lnTo>
                      <a:pt x="2578" y="504"/>
                    </a:lnTo>
                    <a:lnTo>
                      <a:pt x="2614" y="418"/>
                    </a:lnTo>
                    <a:lnTo>
                      <a:pt x="2614" y="408"/>
                    </a:lnTo>
                    <a:lnTo>
                      <a:pt x="2507" y="295"/>
                    </a:lnTo>
                    <a:lnTo>
                      <a:pt x="2507" y="266"/>
                    </a:lnTo>
                    <a:lnTo>
                      <a:pt x="2578" y="266"/>
                    </a:lnTo>
                    <a:lnTo>
                      <a:pt x="2578" y="293"/>
                    </a:lnTo>
                    <a:lnTo>
                      <a:pt x="2583" y="295"/>
                    </a:lnTo>
                    <a:lnTo>
                      <a:pt x="2614" y="266"/>
                    </a:lnTo>
                    <a:lnTo>
                      <a:pt x="2614" y="172"/>
                    </a:lnTo>
                    <a:lnTo>
                      <a:pt x="2706" y="172"/>
                    </a:lnTo>
                    <a:lnTo>
                      <a:pt x="2795" y="113"/>
                    </a:lnTo>
                    <a:lnTo>
                      <a:pt x="2965" y="76"/>
                    </a:lnTo>
                    <a:lnTo>
                      <a:pt x="2975" y="17"/>
                    </a:lnTo>
                    <a:lnTo>
                      <a:pt x="3027" y="0"/>
                    </a:lnTo>
                    <a:lnTo>
                      <a:pt x="3067" y="17"/>
                    </a:lnTo>
                    <a:lnTo>
                      <a:pt x="3288" y="4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0" name="Freeform 178"/>
              <p:cNvSpPr>
                <a:spLocks/>
              </p:cNvSpPr>
              <p:nvPr/>
            </p:nvSpPr>
            <p:spPr bwMode="gray">
              <a:xfrm>
                <a:off x="4841" y="2529"/>
                <a:ext cx="175" cy="199"/>
              </a:xfrm>
              <a:custGeom>
                <a:avLst/>
                <a:gdLst>
                  <a:gd name="T0" fmla="*/ 0 w 351"/>
                  <a:gd name="T1" fmla="*/ 1 h 398"/>
                  <a:gd name="T2" fmla="*/ 0 w 351"/>
                  <a:gd name="T3" fmla="*/ 1 h 398"/>
                  <a:gd name="T4" fmla="*/ 0 w 351"/>
                  <a:gd name="T5" fmla="*/ 1 h 398"/>
                  <a:gd name="T6" fmla="*/ 0 w 351"/>
                  <a:gd name="T7" fmla="*/ 1 h 398"/>
                  <a:gd name="T8" fmla="*/ 0 w 351"/>
                  <a:gd name="T9" fmla="*/ 1 h 398"/>
                  <a:gd name="T10" fmla="*/ 0 w 351"/>
                  <a:gd name="T11" fmla="*/ 1 h 398"/>
                  <a:gd name="T12" fmla="*/ 0 w 351"/>
                  <a:gd name="T13" fmla="*/ 1 h 398"/>
                  <a:gd name="T14" fmla="*/ 0 w 351"/>
                  <a:gd name="T15" fmla="*/ 1 h 398"/>
                  <a:gd name="T16" fmla="*/ 0 w 351"/>
                  <a:gd name="T17" fmla="*/ 1 h 398"/>
                  <a:gd name="T18" fmla="*/ 0 w 351"/>
                  <a:gd name="T19" fmla="*/ 1 h 398"/>
                  <a:gd name="T20" fmla="*/ 0 w 351"/>
                  <a:gd name="T21" fmla="*/ 1 h 398"/>
                  <a:gd name="T22" fmla="*/ 0 w 351"/>
                  <a:gd name="T23" fmla="*/ 1 h 398"/>
                  <a:gd name="T24" fmla="*/ 0 w 351"/>
                  <a:gd name="T25" fmla="*/ 1 h 398"/>
                  <a:gd name="T26" fmla="*/ 0 w 351"/>
                  <a:gd name="T27" fmla="*/ 0 h 398"/>
                  <a:gd name="T28" fmla="*/ 0 w 351"/>
                  <a:gd name="T29" fmla="*/ 0 h 398"/>
                  <a:gd name="T30" fmla="*/ 0 w 351"/>
                  <a:gd name="T31" fmla="*/ 1 h 3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1"/>
                  <a:gd name="T49" fmla="*/ 0 h 398"/>
                  <a:gd name="T50" fmla="*/ 351 w 351"/>
                  <a:gd name="T51" fmla="*/ 398 h 3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1" h="398">
                    <a:moveTo>
                      <a:pt x="351" y="37"/>
                    </a:moveTo>
                    <a:lnTo>
                      <a:pt x="276" y="52"/>
                    </a:lnTo>
                    <a:lnTo>
                      <a:pt x="276" y="65"/>
                    </a:lnTo>
                    <a:lnTo>
                      <a:pt x="297" y="98"/>
                    </a:lnTo>
                    <a:lnTo>
                      <a:pt x="307" y="146"/>
                    </a:lnTo>
                    <a:lnTo>
                      <a:pt x="351" y="192"/>
                    </a:lnTo>
                    <a:lnTo>
                      <a:pt x="236" y="398"/>
                    </a:lnTo>
                    <a:lnTo>
                      <a:pt x="21" y="378"/>
                    </a:lnTo>
                    <a:lnTo>
                      <a:pt x="13" y="315"/>
                    </a:lnTo>
                    <a:lnTo>
                      <a:pt x="0" y="181"/>
                    </a:lnTo>
                    <a:lnTo>
                      <a:pt x="113" y="113"/>
                    </a:lnTo>
                    <a:lnTo>
                      <a:pt x="165" y="37"/>
                    </a:lnTo>
                    <a:lnTo>
                      <a:pt x="240" y="19"/>
                    </a:lnTo>
                    <a:lnTo>
                      <a:pt x="253" y="0"/>
                    </a:lnTo>
                    <a:lnTo>
                      <a:pt x="351" y="0"/>
                    </a:lnTo>
                    <a:lnTo>
                      <a:pt x="351" y="3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1" name="Freeform 179"/>
              <p:cNvSpPr>
                <a:spLocks/>
              </p:cNvSpPr>
              <p:nvPr/>
            </p:nvSpPr>
            <p:spPr bwMode="gray">
              <a:xfrm>
                <a:off x="4595" y="2576"/>
                <a:ext cx="192" cy="199"/>
              </a:xfrm>
              <a:custGeom>
                <a:avLst/>
                <a:gdLst>
                  <a:gd name="T0" fmla="*/ 1 w 384"/>
                  <a:gd name="T1" fmla="*/ 1 h 398"/>
                  <a:gd name="T2" fmla="*/ 1 w 384"/>
                  <a:gd name="T3" fmla="*/ 1 h 398"/>
                  <a:gd name="T4" fmla="*/ 1 w 384"/>
                  <a:gd name="T5" fmla="*/ 1 h 398"/>
                  <a:gd name="T6" fmla="*/ 1 w 384"/>
                  <a:gd name="T7" fmla="*/ 1 h 398"/>
                  <a:gd name="T8" fmla="*/ 1 w 384"/>
                  <a:gd name="T9" fmla="*/ 1 h 398"/>
                  <a:gd name="T10" fmla="*/ 1 w 384"/>
                  <a:gd name="T11" fmla="*/ 1 h 398"/>
                  <a:gd name="T12" fmla="*/ 1 w 384"/>
                  <a:gd name="T13" fmla="*/ 1 h 398"/>
                  <a:gd name="T14" fmla="*/ 1 w 384"/>
                  <a:gd name="T15" fmla="*/ 1 h 398"/>
                  <a:gd name="T16" fmla="*/ 1 w 384"/>
                  <a:gd name="T17" fmla="*/ 1 h 398"/>
                  <a:gd name="T18" fmla="*/ 1 w 384"/>
                  <a:gd name="T19" fmla="*/ 1 h 398"/>
                  <a:gd name="T20" fmla="*/ 1 w 384"/>
                  <a:gd name="T21" fmla="*/ 1 h 398"/>
                  <a:gd name="T22" fmla="*/ 1 w 384"/>
                  <a:gd name="T23" fmla="*/ 1 h 398"/>
                  <a:gd name="T24" fmla="*/ 1 w 384"/>
                  <a:gd name="T25" fmla="*/ 1 h 398"/>
                  <a:gd name="T26" fmla="*/ 1 w 384"/>
                  <a:gd name="T27" fmla="*/ 1 h 398"/>
                  <a:gd name="T28" fmla="*/ 1 w 384"/>
                  <a:gd name="T29" fmla="*/ 1 h 398"/>
                  <a:gd name="T30" fmla="*/ 1 w 384"/>
                  <a:gd name="T31" fmla="*/ 1 h 398"/>
                  <a:gd name="T32" fmla="*/ 0 w 384"/>
                  <a:gd name="T33" fmla="*/ 1 h 398"/>
                  <a:gd name="T34" fmla="*/ 1 w 384"/>
                  <a:gd name="T35" fmla="*/ 1 h 398"/>
                  <a:gd name="T36" fmla="*/ 1 w 384"/>
                  <a:gd name="T37" fmla="*/ 0 h 398"/>
                  <a:gd name="T38" fmla="*/ 1 w 384"/>
                  <a:gd name="T39" fmla="*/ 1 h 398"/>
                  <a:gd name="T40" fmla="*/ 1 w 384"/>
                  <a:gd name="T41" fmla="*/ 1 h 3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84"/>
                  <a:gd name="T64" fmla="*/ 0 h 398"/>
                  <a:gd name="T65" fmla="*/ 384 w 384"/>
                  <a:gd name="T66" fmla="*/ 398 h 3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84" h="398">
                    <a:moveTo>
                      <a:pt x="350" y="263"/>
                    </a:moveTo>
                    <a:lnTo>
                      <a:pt x="363" y="242"/>
                    </a:lnTo>
                    <a:lnTo>
                      <a:pt x="363" y="238"/>
                    </a:lnTo>
                    <a:lnTo>
                      <a:pt x="367" y="233"/>
                    </a:lnTo>
                    <a:lnTo>
                      <a:pt x="384" y="267"/>
                    </a:lnTo>
                    <a:lnTo>
                      <a:pt x="367" y="307"/>
                    </a:lnTo>
                    <a:lnTo>
                      <a:pt x="384" y="378"/>
                    </a:lnTo>
                    <a:lnTo>
                      <a:pt x="359" y="392"/>
                    </a:lnTo>
                    <a:lnTo>
                      <a:pt x="354" y="398"/>
                    </a:lnTo>
                    <a:lnTo>
                      <a:pt x="198" y="284"/>
                    </a:lnTo>
                    <a:lnTo>
                      <a:pt x="187" y="223"/>
                    </a:lnTo>
                    <a:lnTo>
                      <a:pt x="187" y="221"/>
                    </a:lnTo>
                    <a:lnTo>
                      <a:pt x="162" y="217"/>
                    </a:lnTo>
                    <a:lnTo>
                      <a:pt x="150" y="217"/>
                    </a:lnTo>
                    <a:lnTo>
                      <a:pt x="102" y="114"/>
                    </a:lnTo>
                    <a:lnTo>
                      <a:pt x="58" y="83"/>
                    </a:lnTo>
                    <a:lnTo>
                      <a:pt x="0" y="23"/>
                    </a:lnTo>
                    <a:lnTo>
                      <a:pt x="31" y="4"/>
                    </a:lnTo>
                    <a:lnTo>
                      <a:pt x="44" y="0"/>
                    </a:lnTo>
                    <a:lnTo>
                      <a:pt x="269" y="146"/>
                    </a:lnTo>
                    <a:lnTo>
                      <a:pt x="350" y="26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2" name="Freeform 180"/>
              <p:cNvSpPr>
                <a:spLocks/>
              </p:cNvSpPr>
              <p:nvPr/>
            </p:nvSpPr>
            <p:spPr bwMode="gray">
              <a:xfrm>
                <a:off x="5267" y="2642"/>
                <a:ext cx="345" cy="227"/>
              </a:xfrm>
              <a:custGeom>
                <a:avLst/>
                <a:gdLst>
                  <a:gd name="T0" fmla="*/ 1 w 689"/>
                  <a:gd name="T1" fmla="*/ 1 h 453"/>
                  <a:gd name="T2" fmla="*/ 1 w 689"/>
                  <a:gd name="T3" fmla="*/ 1 h 453"/>
                  <a:gd name="T4" fmla="*/ 1 w 689"/>
                  <a:gd name="T5" fmla="*/ 1 h 453"/>
                  <a:gd name="T6" fmla="*/ 1 w 689"/>
                  <a:gd name="T7" fmla="*/ 1 h 453"/>
                  <a:gd name="T8" fmla="*/ 1 w 689"/>
                  <a:gd name="T9" fmla="*/ 1 h 453"/>
                  <a:gd name="T10" fmla="*/ 1 w 689"/>
                  <a:gd name="T11" fmla="*/ 1 h 453"/>
                  <a:gd name="T12" fmla="*/ 1 w 689"/>
                  <a:gd name="T13" fmla="*/ 1 h 453"/>
                  <a:gd name="T14" fmla="*/ 1 w 689"/>
                  <a:gd name="T15" fmla="*/ 1 h 453"/>
                  <a:gd name="T16" fmla="*/ 1 w 689"/>
                  <a:gd name="T17" fmla="*/ 1 h 453"/>
                  <a:gd name="T18" fmla="*/ 1 w 689"/>
                  <a:gd name="T19" fmla="*/ 1 h 453"/>
                  <a:gd name="T20" fmla="*/ 1 w 689"/>
                  <a:gd name="T21" fmla="*/ 1 h 453"/>
                  <a:gd name="T22" fmla="*/ 1 w 689"/>
                  <a:gd name="T23" fmla="*/ 1 h 453"/>
                  <a:gd name="T24" fmla="*/ 1 w 689"/>
                  <a:gd name="T25" fmla="*/ 1 h 453"/>
                  <a:gd name="T26" fmla="*/ 1 w 689"/>
                  <a:gd name="T27" fmla="*/ 1 h 453"/>
                  <a:gd name="T28" fmla="*/ 1 w 689"/>
                  <a:gd name="T29" fmla="*/ 1 h 453"/>
                  <a:gd name="T30" fmla="*/ 1 w 689"/>
                  <a:gd name="T31" fmla="*/ 1 h 453"/>
                  <a:gd name="T32" fmla="*/ 1 w 689"/>
                  <a:gd name="T33" fmla="*/ 1 h 453"/>
                  <a:gd name="T34" fmla="*/ 1 w 689"/>
                  <a:gd name="T35" fmla="*/ 1 h 453"/>
                  <a:gd name="T36" fmla="*/ 1 w 689"/>
                  <a:gd name="T37" fmla="*/ 1 h 453"/>
                  <a:gd name="T38" fmla="*/ 1 w 689"/>
                  <a:gd name="T39" fmla="*/ 1 h 453"/>
                  <a:gd name="T40" fmla="*/ 0 w 689"/>
                  <a:gd name="T41" fmla="*/ 1 h 453"/>
                  <a:gd name="T42" fmla="*/ 1 w 689"/>
                  <a:gd name="T43" fmla="*/ 0 h 453"/>
                  <a:gd name="T44" fmla="*/ 1 w 689"/>
                  <a:gd name="T45" fmla="*/ 1 h 453"/>
                  <a:gd name="T46" fmla="*/ 1 w 689"/>
                  <a:gd name="T47" fmla="*/ 1 h 4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9"/>
                  <a:gd name="T73" fmla="*/ 0 h 453"/>
                  <a:gd name="T74" fmla="*/ 689 w 689"/>
                  <a:gd name="T75" fmla="*/ 453 h 4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9" h="453">
                    <a:moveTo>
                      <a:pt x="152" y="159"/>
                    </a:moveTo>
                    <a:lnTo>
                      <a:pt x="228" y="88"/>
                    </a:lnTo>
                    <a:lnTo>
                      <a:pt x="269" y="94"/>
                    </a:lnTo>
                    <a:lnTo>
                      <a:pt x="461" y="178"/>
                    </a:lnTo>
                    <a:lnTo>
                      <a:pt x="603" y="251"/>
                    </a:lnTo>
                    <a:lnTo>
                      <a:pt x="539" y="290"/>
                    </a:lnTo>
                    <a:lnTo>
                      <a:pt x="679" y="407"/>
                    </a:lnTo>
                    <a:lnTo>
                      <a:pt x="689" y="416"/>
                    </a:lnTo>
                    <a:lnTo>
                      <a:pt x="689" y="453"/>
                    </a:lnTo>
                    <a:lnTo>
                      <a:pt x="607" y="453"/>
                    </a:lnTo>
                    <a:lnTo>
                      <a:pt x="518" y="361"/>
                    </a:lnTo>
                    <a:lnTo>
                      <a:pt x="440" y="345"/>
                    </a:lnTo>
                    <a:lnTo>
                      <a:pt x="436" y="343"/>
                    </a:lnTo>
                    <a:lnTo>
                      <a:pt x="426" y="385"/>
                    </a:lnTo>
                    <a:lnTo>
                      <a:pt x="388" y="412"/>
                    </a:lnTo>
                    <a:lnTo>
                      <a:pt x="369" y="412"/>
                    </a:lnTo>
                    <a:lnTo>
                      <a:pt x="257" y="361"/>
                    </a:lnTo>
                    <a:lnTo>
                      <a:pt x="257" y="253"/>
                    </a:lnTo>
                    <a:lnTo>
                      <a:pt x="152" y="236"/>
                    </a:lnTo>
                    <a:lnTo>
                      <a:pt x="52" y="165"/>
                    </a:lnTo>
                    <a:lnTo>
                      <a:pt x="0" y="21"/>
                    </a:lnTo>
                    <a:lnTo>
                      <a:pt x="48" y="0"/>
                    </a:lnTo>
                    <a:lnTo>
                      <a:pt x="104" y="107"/>
                    </a:lnTo>
                    <a:lnTo>
                      <a:pt x="152" y="15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3" name="Freeform 181"/>
              <p:cNvSpPr>
                <a:spLocks/>
              </p:cNvSpPr>
              <p:nvPr/>
            </p:nvSpPr>
            <p:spPr bwMode="gray">
              <a:xfrm>
                <a:off x="4841" y="2877"/>
                <a:ext cx="725" cy="651"/>
              </a:xfrm>
              <a:custGeom>
                <a:avLst/>
                <a:gdLst>
                  <a:gd name="T0" fmla="*/ 0 w 1451"/>
                  <a:gd name="T1" fmla="*/ 1 h 1301"/>
                  <a:gd name="T2" fmla="*/ 0 w 1451"/>
                  <a:gd name="T3" fmla="*/ 1 h 1301"/>
                  <a:gd name="T4" fmla="*/ 0 w 1451"/>
                  <a:gd name="T5" fmla="*/ 1 h 1301"/>
                  <a:gd name="T6" fmla="*/ 0 w 1451"/>
                  <a:gd name="T7" fmla="*/ 1 h 1301"/>
                  <a:gd name="T8" fmla="*/ 0 w 1451"/>
                  <a:gd name="T9" fmla="*/ 1 h 1301"/>
                  <a:gd name="T10" fmla="*/ 0 w 1451"/>
                  <a:gd name="T11" fmla="*/ 1 h 1301"/>
                  <a:gd name="T12" fmla="*/ 0 w 1451"/>
                  <a:gd name="T13" fmla="*/ 1 h 1301"/>
                  <a:gd name="T14" fmla="*/ 0 w 1451"/>
                  <a:gd name="T15" fmla="*/ 1 h 1301"/>
                  <a:gd name="T16" fmla="*/ 0 w 1451"/>
                  <a:gd name="T17" fmla="*/ 1 h 1301"/>
                  <a:gd name="T18" fmla="*/ 0 w 1451"/>
                  <a:gd name="T19" fmla="*/ 1 h 1301"/>
                  <a:gd name="T20" fmla="*/ 0 w 1451"/>
                  <a:gd name="T21" fmla="*/ 1 h 1301"/>
                  <a:gd name="T22" fmla="*/ 0 w 1451"/>
                  <a:gd name="T23" fmla="*/ 1 h 1301"/>
                  <a:gd name="T24" fmla="*/ 0 w 1451"/>
                  <a:gd name="T25" fmla="*/ 1 h 1301"/>
                  <a:gd name="T26" fmla="*/ 0 w 1451"/>
                  <a:gd name="T27" fmla="*/ 1 h 1301"/>
                  <a:gd name="T28" fmla="*/ 0 w 1451"/>
                  <a:gd name="T29" fmla="*/ 1 h 1301"/>
                  <a:gd name="T30" fmla="*/ 0 w 1451"/>
                  <a:gd name="T31" fmla="*/ 1 h 1301"/>
                  <a:gd name="T32" fmla="*/ 0 w 1451"/>
                  <a:gd name="T33" fmla="*/ 1 h 1301"/>
                  <a:gd name="T34" fmla="*/ 0 w 1451"/>
                  <a:gd name="T35" fmla="*/ 1 h 1301"/>
                  <a:gd name="T36" fmla="*/ 0 w 1451"/>
                  <a:gd name="T37" fmla="*/ 1 h 1301"/>
                  <a:gd name="T38" fmla="*/ 0 w 1451"/>
                  <a:gd name="T39" fmla="*/ 1 h 1301"/>
                  <a:gd name="T40" fmla="*/ 0 w 1451"/>
                  <a:gd name="T41" fmla="*/ 1 h 1301"/>
                  <a:gd name="T42" fmla="*/ 0 w 1451"/>
                  <a:gd name="T43" fmla="*/ 1 h 1301"/>
                  <a:gd name="T44" fmla="*/ 0 w 1451"/>
                  <a:gd name="T45" fmla="*/ 1 h 1301"/>
                  <a:gd name="T46" fmla="*/ 0 w 1451"/>
                  <a:gd name="T47" fmla="*/ 1 h 1301"/>
                  <a:gd name="T48" fmla="*/ 0 w 1451"/>
                  <a:gd name="T49" fmla="*/ 1 h 1301"/>
                  <a:gd name="T50" fmla="*/ 0 w 1451"/>
                  <a:gd name="T51" fmla="*/ 1 h 1301"/>
                  <a:gd name="T52" fmla="*/ 0 w 1451"/>
                  <a:gd name="T53" fmla="*/ 1 h 1301"/>
                  <a:gd name="T54" fmla="*/ 0 w 1451"/>
                  <a:gd name="T55" fmla="*/ 1 h 1301"/>
                  <a:gd name="T56" fmla="*/ 0 w 1451"/>
                  <a:gd name="T57" fmla="*/ 1 h 1301"/>
                  <a:gd name="T58" fmla="*/ 0 w 1451"/>
                  <a:gd name="T59" fmla="*/ 1 h 1301"/>
                  <a:gd name="T60" fmla="*/ 0 w 1451"/>
                  <a:gd name="T61" fmla="*/ 1 h 1301"/>
                  <a:gd name="T62" fmla="*/ 0 w 1451"/>
                  <a:gd name="T63" fmla="*/ 1 h 1301"/>
                  <a:gd name="T64" fmla="*/ 0 w 1451"/>
                  <a:gd name="T65" fmla="*/ 1 h 1301"/>
                  <a:gd name="T66" fmla="*/ 0 w 1451"/>
                  <a:gd name="T67" fmla="*/ 1 h 1301"/>
                  <a:gd name="T68" fmla="*/ 0 w 1451"/>
                  <a:gd name="T69" fmla="*/ 1 h 1301"/>
                  <a:gd name="T70" fmla="*/ 0 w 1451"/>
                  <a:gd name="T71" fmla="*/ 1 h 1301"/>
                  <a:gd name="T72" fmla="*/ 0 w 1451"/>
                  <a:gd name="T73" fmla="*/ 1 h 1301"/>
                  <a:gd name="T74" fmla="*/ 0 w 1451"/>
                  <a:gd name="T75" fmla="*/ 1 h 1301"/>
                  <a:gd name="T76" fmla="*/ 0 w 1451"/>
                  <a:gd name="T77" fmla="*/ 1 h 1301"/>
                  <a:gd name="T78" fmla="*/ 0 w 1451"/>
                  <a:gd name="T79" fmla="*/ 1 h 1301"/>
                  <a:gd name="T80" fmla="*/ 0 w 1451"/>
                  <a:gd name="T81" fmla="*/ 1 h 1301"/>
                  <a:gd name="T82" fmla="*/ 0 w 1451"/>
                  <a:gd name="T83" fmla="*/ 1 h 1301"/>
                  <a:gd name="T84" fmla="*/ 0 w 1451"/>
                  <a:gd name="T85" fmla="*/ 1 h 1301"/>
                  <a:gd name="T86" fmla="*/ 0 w 1451"/>
                  <a:gd name="T87" fmla="*/ 1 h 1301"/>
                  <a:gd name="T88" fmla="*/ 0 w 1451"/>
                  <a:gd name="T89" fmla="*/ 1 h 1301"/>
                  <a:gd name="T90" fmla="*/ 0 w 1451"/>
                  <a:gd name="T91" fmla="*/ 1 h 1301"/>
                  <a:gd name="T92" fmla="*/ 0 w 1451"/>
                  <a:gd name="T93" fmla="*/ 1 h 1301"/>
                  <a:gd name="T94" fmla="*/ 0 w 1451"/>
                  <a:gd name="T95" fmla="*/ 1 h 1301"/>
                  <a:gd name="T96" fmla="*/ 0 w 1451"/>
                  <a:gd name="T97" fmla="*/ 1 h 1301"/>
                  <a:gd name="T98" fmla="*/ 0 w 1451"/>
                  <a:gd name="T99" fmla="*/ 1 h 1301"/>
                  <a:gd name="T100" fmla="*/ 0 w 1451"/>
                  <a:gd name="T101" fmla="*/ 1 h 1301"/>
                  <a:gd name="T102" fmla="*/ 0 w 1451"/>
                  <a:gd name="T103" fmla="*/ 1 h 1301"/>
                  <a:gd name="T104" fmla="*/ 0 w 1451"/>
                  <a:gd name="T105" fmla="*/ 1 h 1301"/>
                  <a:gd name="T106" fmla="*/ 0 w 1451"/>
                  <a:gd name="T107" fmla="*/ 1 h 1301"/>
                  <a:gd name="T108" fmla="*/ 0 w 1451"/>
                  <a:gd name="T109" fmla="*/ 1 h 1301"/>
                  <a:gd name="T110" fmla="*/ 0 w 1451"/>
                  <a:gd name="T111" fmla="*/ 1 h 1301"/>
                  <a:gd name="T112" fmla="*/ 0 w 1451"/>
                  <a:gd name="T113" fmla="*/ 1 h 1301"/>
                  <a:gd name="T114" fmla="*/ 0 w 1451"/>
                  <a:gd name="T115" fmla="*/ 1 h 1301"/>
                  <a:gd name="T116" fmla="*/ 0 w 1451"/>
                  <a:gd name="T117" fmla="*/ 0 h 1301"/>
                  <a:gd name="T118" fmla="*/ 0 w 1451"/>
                  <a:gd name="T119" fmla="*/ 1 h 1301"/>
                  <a:gd name="T120" fmla="*/ 0 w 1451"/>
                  <a:gd name="T121" fmla="*/ 1 h 1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1"/>
                  <a:gd name="T184" fmla="*/ 0 h 1301"/>
                  <a:gd name="T185" fmla="*/ 1451 w 1451"/>
                  <a:gd name="T186" fmla="*/ 1301 h 1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1" h="1301">
                    <a:moveTo>
                      <a:pt x="1240" y="17"/>
                    </a:moveTo>
                    <a:lnTo>
                      <a:pt x="1255" y="119"/>
                    </a:lnTo>
                    <a:lnTo>
                      <a:pt x="1265" y="161"/>
                    </a:lnTo>
                    <a:lnTo>
                      <a:pt x="1282" y="201"/>
                    </a:lnTo>
                    <a:lnTo>
                      <a:pt x="1328" y="422"/>
                    </a:lnTo>
                    <a:lnTo>
                      <a:pt x="1364" y="449"/>
                    </a:lnTo>
                    <a:lnTo>
                      <a:pt x="1351" y="551"/>
                    </a:lnTo>
                    <a:lnTo>
                      <a:pt x="1368" y="637"/>
                    </a:lnTo>
                    <a:lnTo>
                      <a:pt x="1451" y="668"/>
                    </a:lnTo>
                    <a:lnTo>
                      <a:pt x="1451" y="710"/>
                    </a:lnTo>
                    <a:lnTo>
                      <a:pt x="1434" y="796"/>
                    </a:lnTo>
                    <a:lnTo>
                      <a:pt x="1222" y="1082"/>
                    </a:lnTo>
                    <a:lnTo>
                      <a:pt x="996" y="1267"/>
                    </a:lnTo>
                    <a:lnTo>
                      <a:pt x="862" y="1282"/>
                    </a:lnTo>
                    <a:lnTo>
                      <a:pt x="844" y="1282"/>
                    </a:lnTo>
                    <a:lnTo>
                      <a:pt x="839" y="1288"/>
                    </a:lnTo>
                    <a:lnTo>
                      <a:pt x="839" y="1301"/>
                    </a:lnTo>
                    <a:lnTo>
                      <a:pt x="706" y="1215"/>
                    </a:lnTo>
                    <a:lnTo>
                      <a:pt x="702" y="1215"/>
                    </a:lnTo>
                    <a:lnTo>
                      <a:pt x="771" y="1173"/>
                    </a:lnTo>
                    <a:lnTo>
                      <a:pt x="739" y="1119"/>
                    </a:lnTo>
                    <a:lnTo>
                      <a:pt x="739" y="1109"/>
                    </a:lnTo>
                    <a:lnTo>
                      <a:pt x="771" y="1079"/>
                    </a:lnTo>
                    <a:lnTo>
                      <a:pt x="668" y="977"/>
                    </a:lnTo>
                    <a:lnTo>
                      <a:pt x="597" y="931"/>
                    </a:lnTo>
                    <a:lnTo>
                      <a:pt x="458" y="937"/>
                    </a:lnTo>
                    <a:lnTo>
                      <a:pt x="318" y="1002"/>
                    </a:lnTo>
                    <a:lnTo>
                      <a:pt x="0" y="1021"/>
                    </a:lnTo>
                    <a:lnTo>
                      <a:pt x="17" y="990"/>
                    </a:lnTo>
                    <a:lnTo>
                      <a:pt x="7" y="837"/>
                    </a:lnTo>
                    <a:lnTo>
                      <a:pt x="0" y="727"/>
                    </a:lnTo>
                    <a:lnTo>
                      <a:pt x="63" y="710"/>
                    </a:lnTo>
                    <a:lnTo>
                      <a:pt x="69" y="706"/>
                    </a:lnTo>
                    <a:lnTo>
                      <a:pt x="17" y="651"/>
                    </a:lnTo>
                    <a:lnTo>
                      <a:pt x="172" y="449"/>
                    </a:lnTo>
                    <a:lnTo>
                      <a:pt x="374" y="428"/>
                    </a:lnTo>
                    <a:lnTo>
                      <a:pt x="453" y="376"/>
                    </a:lnTo>
                    <a:lnTo>
                      <a:pt x="409" y="338"/>
                    </a:lnTo>
                    <a:lnTo>
                      <a:pt x="437" y="320"/>
                    </a:lnTo>
                    <a:lnTo>
                      <a:pt x="533" y="284"/>
                    </a:lnTo>
                    <a:lnTo>
                      <a:pt x="597" y="186"/>
                    </a:lnTo>
                    <a:lnTo>
                      <a:pt x="693" y="242"/>
                    </a:lnTo>
                    <a:lnTo>
                      <a:pt x="702" y="242"/>
                    </a:lnTo>
                    <a:lnTo>
                      <a:pt x="781" y="119"/>
                    </a:lnTo>
                    <a:lnTo>
                      <a:pt x="791" y="109"/>
                    </a:lnTo>
                    <a:lnTo>
                      <a:pt x="981" y="77"/>
                    </a:lnTo>
                    <a:lnTo>
                      <a:pt x="981" y="109"/>
                    </a:lnTo>
                    <a:lnTo>
                      <a:pt x="950" y="109"/>
                    </a:lnTo>
                    <a:lnTo>
                      <a:pt x="946" y="186"/>
                    </a:lnTo>
                    <a:lnTo>
                      <a:pt x="998" y="246"/>
                    </a:lnTo>
                    <a:lnTo>
                      <a:pt x="1046" y="257"/>
                    </a:lnTo>
                    <a:lnTo>
                      <a:pt x="1054" y="303"/>
                    </a:lnTo>
                    <a:lnTo>
                      <a:pt x="1096" y="330"/>
                    </a:lnTo>
                    <a:lnTo>
                      <a:pt x="1102" y="334"/>
                    </a:lnTo>
                    <a:lnTo>
                      <a:pt x="1151" y="267"/>
                    </a:lnTo>
                    <a:lnTo>
                      <a:pt x="1174" y="246"/>
                    </a:lnTo>
                    <a:lnTo>
                      <a:pt x="1169" y="242"/>
                    </a:lnTo>
                    <a:lnTo>
                      <a:pt x="1155" y="242"/>
                    </a:lnTo>
                    <a:lnTo>
                      <a:pt x="1174" y="0"/>
                    </a:lnTo>
                    <a:lnTo>
                      <a:pt x="1236" y="17"/>
                    </a:lnTo>
                    <a:lnTo>
                      <a:pt x="1240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4" name="Freeform 182"/>
              <p:cNvSpPr>
                <a:spLocks/>
              </p:cNvSpPr>
              <p:nvPr/>
            </p:nvSpPr>
            <p:spPr bwMode="gray">
              <a:xfrm>
                <a:off x="3626" y="2972"/>
                <a:ext cx="105" cy="235"/>
              </a:xfrm>
              <a:custGeom>
                <a:avLst/>
                <a:gdLst>
                  <a:gd name="T0" fmla="*/ 0 w 211"/>
                  <a:gd name="T1" fmla="*/ 1 h 470"/>
                  <a:gd name="T2" fmla="*/ 0 w 211"/>
                  <a:gd name="T3" fmla="*/ 1 h 470"/>
                  <a:gd name="T4" fmla="*/ 0 w 211"/>
                  <a:gd name="T5" fmla="*/ 1 h 470"/>
                  <a:gd name="T6" fmla="*/ 0 w 211"/>
                  <a:gd name="T7" fmla="*/ 1 h 470"/>
                  <a:gd name="T8" fmla="*/ 0 w 211"/>
                  <a:gd name="T9" fmla="*/ 1 h 470"/>
                  <a:gd name="T10" fmla="*/ 0 w 211"/>
                  <a:gd name="T11" fmla="*/ 1 h 470"/>
                  <a:gd name="T12" fmla="*/ 0 w 211"/>
                  <a:gd name="T13" fmla="*/ 1 h 470"/>
                  <a:gd name="T14" fmla="*/ 0 w 211"/>
                  <a:gd name="T15" fmla="*/ 1 h 470"/>
                  <a:gd name="T16" fmla="*/ 0 w 211"/>
                  <a:gd name="T17" fmla="*/ 1 h 470"/>
                  <a:gd name="T18" fmla="*/ 0 w 211"/>
                  <a:gd name="T19" fmla="*/ 1 h 470"/>
                  <a:gd name="T20" fmla="*/ 0 w 211"/>
                  <a:gd name="T21" fmla="*/ 1 h 470"/>
                  <a:gd name="T22" fmla="*/ 0 w 211"/>
                  <a:gd name="T23" fmla="*/ 0 h 470"/>
                  <a:gd name="T24" fmla="*/ 0 w 211"/>
                  <a:gd name="T25" fmla="*/ 0 h 470"/>
                  <a:gd name="T26" fmla="*/ 0 w 211"/>
                  <a:gd name="T27" fmla="*/ 1 h 47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1"/>
                  <a:gd name="T43" fmla="*/ 0 h 470"/>
                  <a:gd name="T44" fmla="*/ 211 w 211"/>
                  <a:gd name="T45" fmla="*/ 470 h 47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1" h="470">
                    <a:moveTo>
                      <a:pt x="211" y="52"/>
                    </a:moveTo>
                    <a:lnTo>
                      <a:pt x="207" y="100"/>
                    </a:lnTo>
                    <a:lnTo>
                      <a:pt x="161" y="188"/>
                    </a:lnTo>
                    <a:lnTo>
                      <a:pt x="115" y="438"/>
                    </a:lnTo>
                    <a:lnTo>
                      <a:pt x="25" y="470"/>
                    </a:lnTo>
                    <a:lnTo>
                      <a:pt x="15" y="470"/>
                    </a:lnTo>
                    <a:lnTo>
                      <a:pt x="0" y="432"/>
                    </a:lnTo>
                    <a:lnTo>
                      <a:pt x="3" y="309"/>
                    </a:lnTo>
                    <a:lnTo>
                      <a:pt x="15" y="242"/>
                    </a:lnTo>
                    <a:lnTo>
                      <a:pt x="15" y="146"/>
                    </a:lnTo>
                    <a:lnTo>
                      <a:pt x="130" y="58"/>
                    </a:lnTo>
                    <a:lnTo>
                      <a:pt x="130" y="0"/>
                    </a:lnTo>
                    <a:lnTo>
                      <a:pt x="195" y="0"/>
                    </a:lnTo>
                    <a:lnTo>
                      <a:pt x="211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5" name="Freeform 183"/>
              <p:cNvSpPr>
                <a:spLocks/>
              </p:cNvSpPr>
              <p:nvPr/>
            </p:nvSpPr>
            <p:spPr bwMode="gray">
              <a:xfrm>
                <a:off x="5240" y="3576"/>
                <a:ext cx="63" cy="37"/>
              </a:xfrm>
              <a:custGeom>
                <a:avLst/>
                <a:gdLst>
                  <a:gd name="T0" fmla="*/ 1 w 125"/>
                  <a:gd name="T1" fmla="*/ 1 h 73"/>
                  <a:gd name="T2" fmla="*/ 1 w 125"/>
                  <a:gd name="T3" fmla="*/ 1 h 73"/>
                  <a:gd name="T4" fmla="*/ 0 w 125"/>
                  <a:gd name="T5" fmla="*/ 1 h 73"/>
                  <a:gd name="T6" fmla="*/ 1 w 125"/>
                  <a:gd name="T7" fmla="*/ 0 h 73"/>
                  <a:gd name="T8" fmla="*/ 1 w 125"/>
                  <a:gd name="T9" fmla="*/ 0 h 73"/>
                  <a:gd name="T10" fmla="*/ 1 w 125"/>
                  <a:gd name="T11" fmla="*/ 1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5"/>
                  <a:gd name="T19" fmla="*/ 0 h 73"/>
                  <a:gd name="T20" fmla="*/ 125 w 125"/>
                  <a:gd name="T21" fmla="*/ 73 h 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5" h="73">
                    <a:moveTo>
                      <a:pt x="125" y="29"/>
                    </a:moveTo>
                    <a:lnTo>
                      <a:pt x="50" y="73"/>
                    </a:lnTo>
                    <a:lnTo>
                      <a:pt x="0" y="33"/>
                    </a:lnTo>
                    <a:lnTo>
                      <a:pt x="44" y="0"/>
                    </a:lnTo>
                    <a:lnTo>
                      <a:pt x="94" y="0"/>
                    </a:lnTo>
                    <a:lnTo>
                      <a:pt x="125" y="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6" name="Freeform 184"/>
              <p:cNvSpPr>
                <a:spLocks/>
              </p:cNvSpPr>
              <p:nvPr/>
            </p:nvSpPr>
            <p:spPr bwMode="gray">
              <a:xfrm>
                <a:off x="5428" y="3661"/>
                <a:ext cx="194" cy="103"/>
              </a:xfrm>
              <a:custGeom>
                <a:avLst/>
                <a:gdLst>
                  <a:gd name="T0" fmla="*/ 1 w 388"/>
                  <a:gd name="T1" fmla="*/ 0 h 207"/>
                  <a:gd name="T2" fmla="*/ 1 w 388"/>
                  <a:gd name="T3" fmla="*/ 0 h 207"/>
                  <a:gd name="T4" fmla="*/ 1 w 388"/>
                  <a:gd name="T5" fmla="*/ 0 h 207"/>
                  <a:gd name="T6" fmla="*/ 1 w 388"/>
                  <a:gd name="T7" fmla="*/ 0 h 207"/>
                  <a:gd name="T8" fmla="*/ 1 w 388"/>
                  <a:gd name="T9" fmla="*/ 0 h 207"/>
                  <a:gd name="T10" fmla="*/ 0 w 388"/>
                  <a:gd name="T11" fmla="*/ 0 h 207"/>
                  <a:gd name="T12" fmla="*/ 1 w 388"/>
                  <a:gd name="T13" fmla="*/ 0 h 207"/>
                  <a:gd name="T14" fmla="*/ 1 w 388"/>
                  <a:gd name="T15" fmla="*/ 0 h 207"/>
                  <a:gd name="T16" fmla="*/ 1 w 388"/>
                  <a:gd name="T17" fmla="*/ 0 h 207"/>
                  <a:gd name="T18" fmla="*/ 1 w 388"/>
                  <a:gd name="T19" fmla="*/ 0 h 207"/>
                  <a:gd name="T20" fmla="*/ 1 w 388"/>
                  <a:gd name="T21" fmla="*/ 0 h 207"/>
                  <a:gd name="T22" fmla="*/ 1 w 388"/>
                  <a:gd name="T23" fmla="*/ 0 h 207"/>
                  <a:gd name="T24" fmla="*/ 1 w 388"/>
                  <a:gd name="T25" fmla="*/ 0 h 20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8"/>
                  <a:gd name="T40" fmla="*/ 0 h 207"/>
                  <a:gd name="T41" fmla="*/ 388 w 388"/>
                  <a:gd name="T42" fmla="*/ 207 h 20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8" h="207">
                    <a:moveTo>
                      <a:pt x="388" y="4"/>
                    </a:moveTo>
                    <a:lnTo>
                      <a:pt x="388" y="13"/>
                    </a:lnTo>
                    <a:lnTo>
                      <a:pt x="146" y="132"/>
                    </a:lnTo>
                    <a:lnTo>
                      <a:pt x="20" y="207"/>
                    </a:lnTo>
                    <a:lnTo>
                      <a:pt x="14" y="207"/>
                    </a:lnTo>
                    <a:lnTo>
                      <a:pt x="0" y="196"/>
                    </a:lnTo>
                    <a:lnTo>
                      <a:pt x="71" y="127"/>
                    </a:lnTo>
                    <a:lnTo>
                      <a:pt x="102" y="104"/>
                    </a:lnTo>
                    <a:lnTo>
                      <a:pt x="166" y="104"/>
                    </a:lnTo>
                    <a:lnTo>
                      <a:pt x="200" y="19"/>
                    </a:lnTo>
                    <a:lnTo>
                      <a:pt x="331" y="0"/>
                    </a:lnTo>
                    <a:lnTo>
                      <a:pt x="384" y="0"/>
                    </a:lnTo>
                    <a:lnTo>
                      <a:pt x="388" y="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7" name="Freeform 185"/>
              <p:cNvSpPr>
                <a:spLocks/>
              </p:cNvSpPr>
              <p:nvPr/>
            </p:nvSpPr>
            <p:spPr bwMode="gray">
              <a:xfrm>
                <a:off x="5631" y="3494"/>
                <a:ext cx="76" cy="166"/>
              </a:xfrm>
              <a:custGeom>
                <a:avLst/>
                <a:gdLst>
                  <a:gd name="T0" fmla="*/ 1 w 152"/>
                  <a:gd name="T1" fmla="*/ 1 h 332"/>
                  <a:gd name="T2" fmla="*/ 1 w 152"/>
                  <a:gd name="T3" fmla="*/ 1 h 332"/>
                  <a:gd name="T4" fmla="*/ 1 w 152"/>
                  <a:gd name="T5" fmla="*/ 1 h 332"/>
                  <a:gd name="T6" fmla="*/ 1 w 152"/>
                  <a:gd name="T7" fmla="*/ 1 h 332"/>
                  <a:gd name="T8" fmla="*/ 1 w 152"/>
                  <a:gd name="T9" fmla="*/ 1 h 332"/>
                  <a:gd name="T10" fmla="*/ 1 w 152"/>
                  <a:gd name="T11" fmla="*/ 1 h 332"/>
                  <a:gd name="T12" fmla="*/ 1 w 152"/>
                  <a:gd name="T13" fmla="*/ 1 h 332"/>
                  <a:gd name="T14" fmla="*/ 1 w 152"/>
                  <a:gd name="T15" fmla="*/ 1 h 332"/>
                  <a:gd name="T16" fmla="*/ 1 w 152"/>
                  <a:gd name="T17" fmla="*/ 1 h 332"/>
                  <a:gd name="T18" fmla="*/ 1 w 152"/>
                  <a:gd name="T19" fmla="*/ 1 h 332"/>
                  <a:gd name="T20" fmla="*/ 1 w 152"/>
                  <a:gd name="T21" fmla="*/ 1 h 332"/>
                  <a:gd name="T22" fmla="*/ 1 w 152"/>
                  <a:gd name="T23" fmla="*/ 1 h 332"/>
                  <a:gd name="T24" fmla="*/ 1 w 152"/>
                  <a:gd name="T25" fmla="*/ 1 h 332"/>
                  <a:gd name="T26" fmla="*/ 1 w 152"/>
                  <a:gd name="T27" fmla="*/ 1 h 332"/>
                  <a:gd name="T28" fmla="*/ 1 w 152"/>
                  <a:gd name="T29" fmla="*/ 1 h 332"/>
                  <a:gd name="T30" fmla="*/ 1 w 152"/>
                  <a:gd name="T31" fmla="*/ 1 h 332"/>
                  <a:gd name="T32" fmla="*/ 0 w 152"/>
                  <a:gd name="T33" fmla="*/ 1 h 332"/>
                  <a:gd name="T34" fmla="*/ 0 w 152"/>
                  <a:gd name="T35" fmla="*/ 0 h 332"/>
                  <a:gd name="T36" fmla="*/ 1 w 152"/>
                  <a:gd name="T37" fmla="*/ 1 h 332"/>
                  <a:gd name="T38" fmla="*/ 1 w 152"/>
                  <a:gd name="T39" fmla="*/ 1 h 3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52"/>
                  <a:gd name="T61" fmla="*/ 0 h 332"/>
                  <a:gd name="T62" fmla="*/ 152 w 152"/>
                  <a:gd name="T63" fmla="*/ 332 h 3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52" h="332">
                    <a:moveTo>
                      <a:pt x="8" y="42"/>
                    </a:moveTo>
                    <a:lnTo>
                      <a:pt x="18" y="52"/>
                    </a:lnTo>
                    <a:lnTo>
                      <a:pt x="85" y="61"/>
                    </a:lnTo>
                    <a:lnTo>
                      <a:pt x="87" y="61"/>
                    </a:lnTo>
                    <a:lnTo>
                      <a:pt x="96" y="71"/>
                    </a:lnTo>
                    <a:lnTo>
                      <a:pt x="114" y="196"/>
                    </a:lnTo>
                    <a:lnTo>
                      <a:pt x="152" y="221"/>
                    </a:lnTo>
                    <a:lnTo>
                      <a:pt x="152" y="251"/>
                    </a:lnTo>
                    <a:lnTo>
                      <a:pt x="143" y="280"/>
                    </a:lnTo>
                    <a:lnTo>
                      <a:pt x="22" y="332"/>
                    </a:lnTo>
                    <a:lnTo>
                      <a:pt x="47" y="315"/>
                    </a:lnTo>
                    <a:lnTo>
                      <a:pt x="22" y="271"/>
                    </a:lnTo>
                    <a:lnTo>
                      <a:pt x="18" y="271"/>
                    </a:lnTo>
                    <a:lnTo>
                      <a:pt x="18" y="261"/>
                    </a:lnTo>
                    <a:lnTo>
                      <a:pt x="75" y="228"/>
                    </a:lnTo>
                    <a:lnTo>
                      <a:pt x="96" y="157"/>
                    </a:lnTo>
                    <a:lnTo>
                      <a:pt x="0" y="52"/>
                    </a:lnTo>
                    <a:lnTo>
                      <a:pt x="0" y="0"/>
                    </a:lnTo>
                    <a:lnTo>
                      <a:pt x="8" y="3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8" name="Freeform 186"/>
              <p:cNvSpPr>
                <a:spLocks/>
              </p:cNvSpPr>
              <p:nvPr/>
            </p:nvSpPr>
            <p:spPr bwMode="gray">
              <a:xfrm>
                <a:off x="4965" y="2105"/>
                <a:ext cx="7" cy="45"/>
              </a:xfrm>
              <a:custGeom>
                <a:avLst/>
                <a:gdLst>
                  <a:gd name="T0" fmla="*/ 0 w 16"/>
                  <a:gd name="T1" fmla="*/ 1 h 90"/>
                  <a:gd name="T2" fmla="*/ 0 w 16"/>
                  <a:gd name="T3" fmla="*/ 1 h 90"/>
                  <a:gd name="T4" fmla="*/ 0 w 16"/>
                  <a:gd name="T5" fmla="*/ 1 h 90"/>
                  <a:gd name="T6" fmla="*/ 0 w 16"/>
                  <a:gd name="T7" fmla="*/ 0 h 90"/>
                  <a:gd name="T8" fmla="*/ 0 w 16"/>
                  <a:gd name="T9" fmla="*/ 0 h 90"/>
                  <a:gd name="T10" fmla="*/ 0 w 16"/>
                  <a:gd name="T11" fmla="*/ 1 h 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0"/>
                  <a:gd name="T20" fmla="*/ 16 w 16"/>
                  <a:gd name="T21" fmla="*/ 90 h 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0">
                    <a:moveTo>
                      <a:pt x="16" y="11"/>
                    </a:moveTo>
                    <a:lnTo>
                      <a:pt x="16" y="90"/>
                    </a:lnTo>
                    <a:lnTo>
                      <a:pt x="0" y="9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29" name="Freeform 187"/>
              <p:cNvSpPr>
                <a:spLocks/>
              </p:cNvSpPr>
              <p:nvPr/>
            </p:nvSpPr>
            <p:spPr bwMode="gray">
              <a:xfrm>
                <a:off x="4984" y="2255"/>
                <a:ext cx="83" cy="85"/>
              </a:xfrm>
              <a:custGeom>
                <a:avLst/>
                <a:gdLst>
                  <a:gd name="T0" fmla="*/ 0 w 167"/>
                  <a:gd name="T1" fmla="*/ 0 h 171"/>
                  <a:gd name="T2" fmla="*/ 0 w 167"/>
                  <a:gd name="T3" fmla="*/ 0 h 171"/>
                  <a:gd name="T4" fmla="*/ 0 w 167"/>
                  <a:gd name="T5" fmla="*/ 0 h 171"/>
                  <a:gd name="T6" fmla="*/ 0 w 167"/>
                  <a:gd name="T7" fmla="*/ 0 h 171"/>
                  <a:gd name="T8" fmla="*/ 0 w 167"/>
                  <a:gd name="T9" fmla="*/ 0 h 171"/>
                  <a:gd name="T10" fmla="*/ 0 w 167"/>
                  <a:gd name="T11" fmla="*/ 0 h 171"/>
                  <a:gd name="T12" fmla="*/ 0 w 167"/>
                  <a:gd name="T13" fmla="*/ 0 h 171"/>
                  <a:gd name="T14" fmla="*/ 0 w 167"/>
                  <a:gd name="T15" fmla="*/ 0 h 171"/>
                  <a:gd name="T16" fmla="*/ 0 w 167"/>
                  <a:gd name="T17" fmla="*/ 0 h 171"/>
                  <a:gd name="T18" fmla="*/ 0 w 167"/>
                  <a:gd name="T19" fmla="*/ 0 h 171"/>
                  <a:gd name="T20" fmla="*/ 0 w 167"/>
                  <a:gd name="T21" fmla="*/ 0 h 171"/>
                  <a:gd name="T22" fmla="*/ 0 w 167"/>
                  <a:gd name="T23" fmla="*/ 0 h 1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7"/>
                  <a:gd name="T37" fmla="*/ 0 h 171"/>
                  <a:gd name="T38" fmla="*/ 167 w 167"/>
                  <a:gd name="T39" fmla="*/ 171 h 17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7" h="171">
                    <a:moveTo>
                      <a:pt x="92" y="35"/>
                    </a:moveTo>
                    <a:lnTo>
                      <a:pt x="78" y="87"/>
                    </a:lnTo>
                    <a:lnTo>
                      <a:pt x="92" y="119"/>
                    </a:lnTo>
                    <a:lnTo>
                      <a:pt x="165" y="152"/>
                    </a:lnTo>
                    <a:lnTo>
                      <a:pt x="167" y="152"/>
                    </a:lnTo>
                    <a:lnTo>
                      <a:pt x="78" y="171"/>
                    </a:lnTo>
                    <a:lnTo>
                      <a:pt x="0" y="87"/>
                    </a:lnTo>
                    <a:lnTo>
                      <a:pt x="27" y="87"/>
                    </a:lnTo>
                    <a:lnTo>
                      <a:pt x="27" y="73"/>
                    </a:lnTo>
                    <a:lnTo>
                      <a:pt x="0" y="0"/>
                    </a:lnTo>
                    <a:lnTo>
                      <a:pt x="61" y="0"/>
                    </a:lnTo>
                    <a:lnTo>
                      <a:pt x="92" y="3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0" name="Freeform 188"/>
              <p:cNvSpPr>
                <a:spLocks/>
              </p:cNvSpPr>
              <p:nvPr/>
            </p:nvSpPr>
            <p:spPr bwMode="gray">
              <a:xfrm>
                <a:off x="5082" y="2359"/>
                <a:ext cx="25" cy="30"/>
              </a:xfrm>
              <a:custGeom>
                <a:avLst/>
                <a:gdLst>
                  <a:gd name="T0" fmla="*/ 1 w 49"/>
                  <a:gd name="T1" fmla="*/ 1 h 59"/>
                  <a:gd name="T2" fmla="*/ 1 w 49"/>
                  <a:gd name="T3" fmla="*/ 1 h 59"/>
                  <a:gd name="T4" fmla="*/ 1 w 49"/>
                  <a:gd name="T5" fmla="*/ 1 h 59"/>
                  <a:gd name="T6" fmla="*/ 0 w 49"/>
                  <a:gd name="T7" fmla="*/ 1 h 59"/>
                  <a:gd name="T8" fmla="*/ 1 w 49"/>
                  <a:gd name="T9" fmla="*/ 0 h 59"/>
                  <a:gd name="T10" fmla="*/ 1 w 49"/>
                  <a:gd name="T11" fmla="*/ 1 h 59"/>
                  <a:gd name="T12" fmla="*/ 1 w 49"/>
                  <a:gd name="T13" fmla="*/ 1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59"/>
                  <a:gd name="T23" fmla="*/ 49 w 49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59">
                    <a:moveTo>
                      <a:pt x="49" y="53"/>
                    </a:moveTo>
                    <a:lnTo>
                      <a:pt x="21" y="59"/>
                    </a:lnTo>
                    <a:lnTo>
                      <a:pt x="13" y="59"/>
                    </a:lnTo>
                    <a:lnTo>
                      <a:pt x="0" y="44"/>
                    </a:lnTo>
                    <a:lnTo>
                      <a:pt x="13" y="0"/>
                    </a:lnTo>
                    <a:lnTo>
                      <a:pt x="49" y="40"/>
                    </a:lnTo>
                    <a:lnTo>
                      <a:pt x="49" y="5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1" name="Freeform 189"/>
              <p:cNvSpPr>
                <a:spLocks/>
              </p:cNvSpPr>
              <p:nvPr/>
            </p:nvSpPr>
            <p:spPr bwMode="gray">
              <a:xfrm>
                <a:off x="5079" y="2436"/>
                <a:ext cx="80" cy="83"/>
              </a:xfrm>
              <a:custGeom>
                <a:avLst/>
                <a:gdLst>
                  <a:gd name="T0" fmla="*/ 0 w 161"/>
                  <a:gd name="T1" fmla="*/ 1 h 165"/>
                  <a:gd name="T2" fmla="*/ 0 w 161"/>
                  <a:gd name="T3" fmla="*/ 1 h 165"/>
                  <a:gd name="T4" fmla="*/ 0 w 161"/>
                  <a:gd name="T5" fmla="*/ 1 h 165"/>
                  <a:gd name="T6" fmla="*/ 0 w 161"/>
                  <a:gd name="T7" fmla="*/ 1 h 165"/>
                  <a:gd name="T8" fmla="*/ 0 w 161"/>
                  <a:gd name="T9" fmla="*/ 1 h 165"/>
                  <a:gd name="T10" fmla="*/ 0 w 161"/>
                  <a:gd name="T11" fmla="*/ 1 h 165"/>
                  <a:gd name="T12" fmla="*/ 0 w 161"/>
                  <a:gd name="T13" fmla="*/ 0 h 165"/>
                  <a:gd name="T14" fmla="*/ 0 w 161"/>
                  <a:gd name="T15" fmla="*/ 1 h 165"/>
                  <a:gd name="T16" fmla="*/ 0 w 161"/>
                  <a:gd name="T17" fmla="*/ 1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65"/>
                  <a:gd name="T29" fmla="*/ 161 w 161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65">
                    <a:moveTo>
                      <a:pt x="161" y="100"/>
                    </a:moveTo>
                    <a:lnTo>
                      <a:pt x="100" y="165"/>
                    </a:lnTo>
                    <a:lnTo>
                      <a:pt x="65" y="81"/>
                    </a:lnTo>
                    <a:lnTo>
                      <a:pt x="0" y="81"/>
                    </a:lnTo>
                    <a:lnTo>
                      <a:pt x="0" y="33"/>
                    </a:lnTo>
                    <a:lnTo>
                      <a:pt x="80" y="33"/>
                    </a:lnTo>
                    <a:lnTo>
                      <a:pt x="94" y="0"/>
                    </a:lnTo>
                    <a:lnTo>
                      <a:pt x="157" y="31"/>
                    </a:lnTo>
                    <a:lnTo>
                      <a:pt x="161" y="10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2" name="Freeform 190"/>
              <p:cNvSpPr>
                <a:spLocks/>
              </p:cNvSpPr>
              <p:nvPr/>
            </p:nvSpPr>
            <p:spPr bwMode="gray">
              <a:xfrm>
                <a:off x="4254" y="2482"/>
                <a:ext cx="54" cy="55"/>
              </a:xfrm>
              <a:custGeom>
                <a:avLst/>
                <a:gdLst>
                  <a:gd name="T0" fmla="*/ 1 w 107"/>
                  <a:gd name="T1" fmla="*/ 1 h 110"/>
                  <a:gd name="T2" fmla="*/ 1 w 107"/>
                  <a:gd name="T3" fmla="*/ 1 h 110"/>
                  <a:gd name="T4" fmla="*/ 1 w 107"/>
                  <a:gd name="T5" fmla="*/ 1 h 110"/>
                  <a:gd name="T6" fmla="*/ 1 w 107"/>
                  <a:gd name="T7" fmla="*/ 1 h 110"/>
                  <a:gd name="T8" fmla="*/ 1 w 107"/>
                  <a:gd name="T9" fmla="*/ 1 h 110"/>
                  <a:gd name="T10" fmla="*/ 1 w 107"/>
                  <a:gd name="T11" fmla="*/ 1 h 110"/>
                  <a:gd name="T12" fmla="*/ 1 w 107"/>
                  <a:gd name="T13" fmla="*/ 1 h 110"/>
                  <a:gd name="T14" fmla="*/ 0 w 107"/>
                  <a:gd name="T15" fmla="*/ 1 h 110"/>
                  <a:gd name="T16" fmla="*/ 1 w 107"/>
                  <a:gd name="T17" fmla="*/ 0 h 110"/>
                  <a:gd name="T18" fmla="*/ 1 w 107"/>
                  <a:gd name="T19" fmla="*/ 1 h 110"/>
                  <a:gd name="T20" fmla="*/ 1 w 107"/>
                  <a:gd name="T21" fmla="*/ 1 h 1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7"/>
                  <a:gd name="T34" fmla="*/ 0 h 110"/>
                  <a:gd name="T35" fmla="*/ 107 w 107"/>
                  <a:gd name="T36" fmla="*/ 110 h 1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7" h="110">
                    <a:moveTo>
                      <a:pt x="107" y="35"/>
                    </a:moveTo>
                    <a:lnTo>
                      <a:pt x="79" y="75"/>
                    </a:lnTo>
                    <a:lnTo>
                      <a:pt x="98" y="90"/>
                    </a:lnTo>
                    <a:lnTo>
                      <a:pt x="107" y="96"/>
                    </a:lnTo>
                    <a:lnTo>
                      <a:pt x="73" y="110"/>
                    </a:lnTo>
                    <a:lnTo>
                      <a:pt x="63" y="110"/>
                    </a:lnTo>
                    <a:lnTo>
                      <a:pt x="8" y="10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7" y="4"/>
                    </a:lnTo>
                    <a:lnTo>
                      <a:pt x="107" y="3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3" name="Freeform 191"/>
              <p:cNvSpPr>
                <a:spLocks/>
              </p:cNvSpPr>
              <p:nvPr/>
            </p:nvSpPr>
            <p:spPr bwMode="gray">
              <a:xfrm>
                <a:off x="5025" y="2624"/>
                <a:ext cx="108" cy="129"/>
              </a:xfrm>
              <a:custGeom>
                <a:avLst/>
                <a:gdLst>
                  <a:gd name="T0" fmla="*/ 1 w 215"/>
                  <a:gd name="T1" fmla="*/ 1 h 257"/>
                  <a:gd name="T2" fmla="*/ 1 w 215"/>
                  <a:gd name="T3" fmla="*/ 1 h 257"/>
                  <a:gd name="T4" fmla="*/ 1 w 215"/>
                  <a:gd name="T5" fmla="*/ 1 h 257"/>
                  <a:gd name="T6" fmla="*/ 1 w 215"/>
                  <a:gd name="T7" fmla="*/ 1 h 257"/>
                  <a:gd name="T8" fmla="*/ 1 w 215"/>
                  <a:gd name="T9" fmla="*/ 1 h 257"/>
                  <a:gd name="T10" fmla="*/ 1 w 215"/>
                  <a:gd name="T11" fmla="*/ 1 h 257"/>
                  <a:gd name="T12" fmla="*/ 1 w 215"/>
                  <a:gd name="T13" fmla="*/ 1 h 257"/>
                  <a:gd name="T14" fmla="*/ 1 w 215"/>
                  <a:gd name="T15" fmla="*/ 1 h 257"/>
                  <a:gd name="T16" fmla="*/ 1 w 215"/>
                  <a:gd name="T17" fmla="*/ 1 h 257"/>
                  <a:gd name="T18" fmla="*/ 1 w 215"/>
                  <a:gd name="T19" fmla="*/ 1 h 257"/>
                  <a:gd name="T20" fmla="*/ 1 w 215"/>
                  <a:gd name="T21" fmla="*/ 1 h 257"/>
                  <a:gd name="T22" fmla="*/ 1 w 215"/>
                  <a:gd name="T23" fmla="*/ 1 h 257"/>
                  <a:gd name="T24" fmla="*/ 1 w 215"/>
                  <a:gd name="T25" fmla="*/ 1 h 257"/>
                  <a:gd name="T26" fmla="*/ 1 w 215"/>
                  <a:gd name="T27" fmla="*/ 1 h 257"/>
                  <a:gd name="T28" fmla="*/ 1 w 215"/>
                  <a:gd name="T29" fmla="*/ 1 h 257"/>
                  <a:gd name="T30" fmla="*/ 0 w 215"/>
                  <a:gd name="T31" fmla="*/ 1 h 257"/>
                  <a:gd name="T32" fmla="*/ 1 w 215"/>
                  <a:gd name="T33" fmla="*/ 1 h 257"/>
                  <a:gd name="T34" fmla="*/ 1 w 215"/>
                  <a:gd name="T35" fmla="*/ 1 h 257"/>
                  <a:gd name="T36" fmla="*/ 1 w 215"/>
                  <a:gd name="T37" fmla="*/ 0 h 257"/>
                  <a:gd name="T38" fmla="*/ 1 w 215"/>
                  <a:gd name="T39" fmla="*/ 0 h 257"/>
                  <a:gd name="T40" fmla="*/ 1 w 215"/>
                  <a:gd name="T41" fmla="*/ 1 h 2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257"/>
                  <a:gd name="T65" fmla="*/ 215 w 215"/>
                  <a:gd name="T66" fmla="*/ 257 h 2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257">
                    <a:moveTo>
                      <a:pt x="215" y="29"/>
                    </a:moveTo>
                    <a:lnTo>
                      <a:pt x="90" y="33"/>
                    </a:lnTo>
                    <a:lnTo>
                      <a:pt x="90" y="50"/>
                    </a:lnTo>
                    <a:lnTo>
                      <a:pt x="94" y="71"/>
                    </a:lnTo>
                    <a:lnTo>
                      <a:pt x="100" y="65"/>
                    </a:lnTo>
                    <a:lnTo>
                      <a:pt x="100" y="52"/>
                    </a:lnTo>
                    <a:lnTo>
                      <a:pt x="117" y="115"/>
                    </a:lnTo>
                    <a:lnTo>
                      <a:pt x="117" y="125"/>
                    </a:lnTo>
                    <a:lnTo>
                      <a:pt x="104" y="138"/>
                    </a:lnTo>
                    <a:lnTo>
                      <a:pt x="167" y="227"/>
                    </a:lnTo>
                    <a:lnTo>
                      <a:pt x="104" y="227"/>
                    </a:lnTo>
                    <a:lnTo>
                      <a:pt x="94" y="209"/>
                    </a:lnTo>
                    <a:lnTo>
                      <a:pt x="41" y="209"/>
                    </a:lnTo>
                    <a:lnTo>
                      <a:pt x="39" y="244"/>
                    </a:lnTo>
                    <a:lnTo>
                      <a:pt x="39" y="257"/>
                    </a:lnTo>
                    <a:lnTo>
                      <a:pt x="0" y="188"/>
                    </a:lnTo>
                    <a:lnTo>
                      <a:pt x="39" y="50"/>
                    </a:lnTo>
                    <a:lnTo>
                      <a:pt x="39" y="16"/>
                    </a:lnTo>
                    <a:lnTo>
                      <a:pt x="94" y="0"/>
                    </a:lnTo>
                    <a:lnTo>
                      <a:pt x="202" y="0"/>
                    </a:lnTo>
                    <a:lnTo>
                      <a:pt x="215" y="2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4" name="Freeform 192"/>
              <p:cNvSpPr>
                <a:spLocks/>
              </p:cNvSpPr>
              <p:nvPr/>
            </p:nvSpPr>
            <p:spPr bwMode="gray">
              <a:xfrm>
                <a:off x="5607" y="2738"/>
                <a:ext cx="77" cy="37"/>
              </a:xfrm>
              <a:custGeom>
                <a:avLst/>
                <a:gdLst>
                  <a:gd name="T0" fmla="*/ 1 w 154"/>
                  <a:gd name="T1" fmla="*/ 1 h 73"/>
                  <a:gd name="T2" fmla="*/ 1 w 154"/>
                  <a:gd name="T3" fmla="*/ 1 h 73"/>
                  <a:gd name="T4" fmla="*/ 0 w 154"/>
                  <a:gd name="T5" fmla="*/ 1 h 73"/>
                  <a:gd name="T6" fmla="*/ 1 w 154"/>
                  <a:gd name="T7" fmla="*/ 1 h 73"/>
                  <a:gd name="T8" fmla="*/ 1 w 154"/>
                  <a:gd name="T9" fmla="*/ 1 h 73"/>
                  <a:gd name="T10" fmla="*/ 1 w 154"/>
                  <a:gd name="T11" fmla="*/ 1 h 73"/>
                  <a:gd name="T12" fmla="*/ 1 w 154"/>
                  <a:gd name="T13" fmla="*/ 0 h 73"/>
                  <a:gd name="T14" fmla="*/ 1 w 154"/>
                  <a:gd name="T15" fmla="*/ 1 h 73"/>
                  <a:gd name="T16" fmla="*/ 1 w 154"/>
                  <a:gd name="T17" fmla="*/ 1 h 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4"/>
                  <a:gd name="T28" fmla="*/ 0 h 73"/>
                  <a:gd name="T29" fmla="*/ 154 w 154"/>
                  <a:gd name="T30" fmla="*/ 73 h 7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4" h="73">
                    <a:moveTo>
                      <a:pt x="120" y="42"/>
                    </a:moveTo>
                    <a:lnTo>
                      <a:pt x="54" y="73"/>
                    </a:lnTo>
                    <a:lnTo>
                      <a:pt x="0" y="59"/>
                    </a:lnTo>
                    <a:lnTo>
                      <a:pt x="31" y="42"/>
                    </a:lnTo>
                    <a:lnTo>
                      <a:pt x="48" y="40"/>
                    </a:lnTo>
                    <a:lnTo>
                      <a:pt x="62" y="40"/>
                    </a:lnTo>
                    <a:lnTo>
                      <a:pt x="120" y="0"/>
                    </a:lnTo>
                    <a:lnTo>
                      <a:pt x="154" y="38"/>
                    </a:lnTo>
                    <a:lnTo>
                      <a:pt x="120" y="4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5" name="Freeform 193"/>
              <p:cNvSpPr>
                <a:spLocks/>
              </p:cNvSpPr>
              <p:nvPr/>
            </p:nvSpPr>
            <p:spPr bwMode="gray">
              <a:xfrm>
                <a:off x="4984" y="2784"/>
                <a:ext cx="193" cy="85"/>
              </a:xfrm>
              <a:custGeom>
                <a:avLst/>
                <a:gdLst>
                  <a:gd name="T0" fmla="*/ 1 w 386"/>
                  <a:gd name="T1" fmla="*/ 1 h 169"/>
                  <a:gd name="T2" fmla="*/ 1 w 386"/>
                  <a:gd name="T3" fmla="*/ 1 h 169"/>
                  <a:gd name="T4" fmla="*/ 1 w 386"/>
                  <a:gd name="T5" fmla="*/ 1 h 169"/>
                  <a:gd name="T6" fmla="*/ 1 w 386"/>
                  <a:gd name="T7" fmla="*/ 1 h 169"/>
                  <a:gd name="T8" fmla="*/ 1 w 386"/>
                  <a:gd name="T9" fmla="*/ 1 h 169"/>
                  <a:gd name="T10" fmla="*/ 1 w 386"/>
                  <a:gd name="T11" fmla="*/ 1 h 169"/>
                  <a:gd name="T12" fmla="*/ 1 w 386"/>
                  <a:gd name="T13" fmla="*/ 1 h 169"/>
                  <a:gd name="T14" fmla="*/ 1 w 386"/>
                  <a:gd name="T15" fmla="*/ 1 h 169"/>
                  <a:gd name="T16" fmla="*/ 1 w 386"/>
                  <a:gd name="T17" fmla="*/ 1 h 169"/>
                  <a:gd name="T18" fmla="*/ 1 w 386"/>
                  <a:gd name="T19" fmla="*/ 1 h 169"/>
                  <a:gd name="T20" fmla="*/ 1 w 386"/>
                  <a:gd name="T21" fmla="*/ 1 h 169"/>
                  <a:gd name="T22" fmla="*/ 1 w 386"/>
                  <a:gd name="T23" fmla="*/ 1 h 169"/>
                  <a:gd name="T24" fmla="*/ 1 w 386"/>
                  <a:gd name="T25" fmla="*/ 1 h 169"/>
                  <a:gd name="T26" fmla="*/ 1 w 386"/>
                  <a:gd name="T27" fmla="*/ 1 h 169"/>
                  <a:gd name="T28" fmla="*/ 0 w 386"/>
                  <a:gd name="T29" fmla="*/ 1 h 169"/>
                  <a:gd name="T30" fmla="*/ 1 w 386"/>
                  <a:gd name="T31" fmla="*/ 1 h 169"/>
                  <a:gd name="T32" fmla="*/ 1 w 386"/>
                  <a:gd name="T33" fmla="*/ 1 h 169"/>
                  <a:gd name="T34" fmla="*/ 1 w 386"/>
                  <a:gd name="T35" fmla="*/ 1 h 169"/>
                  <a:gd name="T36" fmla="*/ 1 w 386"/>
                  <a:gd name="T37" fmla="*/ 1 h 169"/>
                  <a:gd name="T38" fmla="*/ 1 w 386"/>
                  <a:gd name="T39" fmla="*/ 1 h 169"/>
                  <a:gd name="T40" fmla="*/ 1 w 386"/>
                  <a:gd name="T41" fmla="*/ 1 h 169"/>
                  <a:gd name="T42" fmla="*/ 1 w 386"/>
                  <a:gd name="T43" fmla="*/ 1 h 169"/>
                  <a:gd name="T44" fmla="*/ 1 w 386"/>
                  <a:gd name="T45" fmla="*/ 0 h 169"/>
                  <a:gd name="T46" fmla="*/ 1 w 386"/>
                  <a:gd name="T47" fmla="*/ 1 h 169"/>
                  <a:gd name="T48" fmla="*/ 1 w 386"/>
                  <a:gd name="T49" fmla="*/ 1 h 16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6"/>
                  <a:gd name="T76" fmla="*/ 0 h 169"/>
                  <a:gd name="T77" fmla="*/ 386 w 386"/>
                  <a:gd name="T78" fmla="*/ 169 h 16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6" h="169">
                    <a:moveTo>
                      <a:pt x="386" y="69"/>
                    </a:moveTo>
                    <a:lnTo>
                      <a:pt x="359" y="80"/>
                    </a:lnTo>
                    <a:lnTo>
                      <a:pt x="301" y="169"/>
                    </a:lnTo>
                    <a:lnTo>
                      <a:pt x="228" y="101"/>
                    </a:lnTo>
                    <a:lnTo>
                      <a:pt x="207" y="90"/>
                    </a:lnTo>
                    <a:lnTo>
                      <a:pt x="203" y="86"/>
                    </a:lnTo>
                    <a:lnTo>
                      <a:pt x="169" y="130"/>
                    </a:lnTo>
                    <a:lnTo>
                      <a:pt x="169" y="96"/>
                    </a:lnTo>
                    <a:lnTo>
                      <a:pt x="163" y="90"/>
                    </a:lnTo>
                    <a:lnTo>
                      <a:pt x="119" y="136"/>
                    </a:lnTo>
                    <a:lnTo>
                      <a:pt x="84" y="136"/>
                    </a:lnTo>
                    <a:lnTo>
                      <a:pt x="75" y="86"/>
                    </a:lnTo>
                    <a:lnTo>
                      <a:pt x="7" y="98"/>
                    </a:lnTo>
                    <a:lnTo>
                      <a:pt x="4" y="101"/>
                    </a:lnTo>
                    <a:lnTo>
                      <a:pt x="0" y="98"/>
                    </a:lnTo>
                    <a:lnTo>
                      <a:pt x="30" y="67"/>
                    </a:lnTo>
                    <a:lnTo>
                      <a:pt x="251" y="67"/>
                    </a:lnTo>
                    <a:lnTo>
                      <a:pt x="278" y="80"/>
                    </a:lnTo>
                    <a:lnTo>
                      <a:pt x="288" y="80"/>
                    </a:lnTo>
                    <a:lnTo>
                      <a:pt x="305" y="67"/>
                    </a:lnTo>
                    <a:lnTo>
                      <a:pt x="349" y="67"/>
                    </a:lnTo>
                    <a:lnTo>
                      <a:pt x="359" y="57"/>
                    </a:lnTo>
                    <a:lnTo>
                      <a:pt x="370" y="0"/>
                    </a:lnTo>
                    <a:lnTo>
                      <a:pt x="386" y="53"/>
                    </a:lnTo>
                    <a:lnTo>
                      <a:pt x="386" y="69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6" name="Freeform 194"/>
              <p:cNvSpPr>
                <a:spLocks/>
              </p:cNvSpPr>
              <p:nvPr/>
            </p:nvSpPr>
            <p:spPr bwMode="gray">
              <a:xfrm>
                <a:off x="4790" y="2793"/>
                <a:ext cx="121" cy="38"/>
              </a:xfrm>
              <a:custGeom>
                <a:avLst/>
                <a:gdLst>
                  <a:gd name="T0" fmla="*/ 1 w 242"/>
                  <a:gd name="T1" fmla="*/ 0 h 77"/>
                  <a:gd name="T2" fmla="*/ 1 w 242"/>
                  <a:gd name="T3" fmla="*/ 0 h 77"/>
                  <a:gd name="T4" fmla="*/ 1 w 242"/>
                  <a:gd name="T5" fmla="*/ 0 h 77"/>
                  <a:gd name="T6" fmla="*/ 1 w 242"/>
                  <a:gd name="T7" fmla="*/ 0 h 77"/>
                  <a:gd name="T8" fmla="*/ 0 w 242"/>
                  <a:gd name="T9" fmla="*/ 0 h 77"/>
                  <a:gd name="T10" fmla="*/ 1 w 242"/>
                  <a:gd name="T11" fmla="*/ 0 h 77"/>
                  <a:gd name="T12" fmla="*/ 1 w 242"/>
                  <a:gd name="T13" fmla="*/ 0 h 77"/>
                  <a:gd name="T14" fmla="*/ 1 w 242"/>
                  <a:gd name="T15" fmla="*/ 0 h 77"/>
                  <a:gd name="T16" fmla="*/ 1 w 242"/>
                  <a:gd name="T17" fmla="*/ 0 h 77"/>
                  <a:gd name="T18" fmla="*/ 1 w 242"/>
                  <a:gd name="T19" fmla="*/ 0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2"/>
                  <a:gd name="T31" fmla="*/ 0 h 77"/>
                  <a:gd name="T32" fmla="*/ 242 w 242"/>
                  <a:gd name="T33" fmla="*/ 77 h 7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2" h="77">
                    <a:moveTo>
                      <a:pt x="242" y="58"/>
                    </a:moveTo>
                    <a:lnTo>
                      <a:pt x="209" y="77"/>
                    </a:lnTo>
                    <a:lnTo>
                      <a:pt x="138" y="73"/>
                    </a:lnTo>
                    <a:lnTo>
                      <a:pt x="109" y="58"/>
                    </a:lnTo>
                    <a:lnTo>
                      <a:pt x="0" y="58"/>
                    </a:lnTo>
                    <a:lnTo>
                      <a:pt x="15" y="44"/>
                    </a:lnTo>
                    <a:lnTo>
                      <a:pt x="106" y="42"/>
                    </a:lnTo>
                    <a:lnTo>
                      <a:pt x="190" y="0"/>
                    </a:lnTo>
                    <a:lnTo>
                      <a:pt x="230" y="42"/>
                    </a:lnTo>
                    <a:lnTo>
                      <a:pt x="242" y="5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7" name="Freeform 195"/>
              <p:cNvSpPr>
                <a:spLocks/>
              </p:cNvSpPr>
              <p:nvPr/>
            </p:nvSpPr>
            <p:spPr bwMode="gray">
              <a:xfrm>
                <a:off x="5045" y="1727"/>
                <a:ext cx="132" cy="152"/>
              </a:xfrm>
              <a:custGeom>
                <a:avLst/>
                <a:gdLst>
                  <a:gd name="T0" fmla="*/ 1 w 263"/>
                  <a:gd name="T1" fmla="*/ 0 h 305"/>
                  <a:gd name="T2" fmla="*/ 1 w 263"/>
                  <a:gd name="T3" fmla="*/ 0 h 305"/>
                  <a:gd name="T4" fmla="*/ 1 w 263"/>
                  <a:gd name="T5" fmla="*/ 0 h 305"/>
                  <a:gd name="T6" fmla="*/ 1 w 263"/>
                  <a:gd name="T7" fmla="*/ 0 h 305"/>
                  <a:gd name="T8" fmla="*/ 1 w 263"/>
                  <a:gd name="T9" fmla="*/ 0 h 305"/>
                  <a:gd name="T10" fmla="*/ 1 w 263"/>
                  <a:gd name="T11" fmla="*/ 0 h 305"/>
                  <a:gd name="T12" fmla="*/ 1 w 263"/>
                  <a:gd name="T13" fmla="*/ 0 h 305"/>
                  <a:gd name="T14" fmla="*/ 1 w 263"/>
                  <a:gd name="T15" fmla="*/ 0 h 305"/>
                  <a:gd name="T16" fmla="*/ 0 w 263"/>
                  <a:gd name="T17" fmla="*/ 0 h 305"/>
                  <a:gd name="T18" fmla="*/ 0 w 263"/>
                  <a:gd name="T19" fmla="*/ 0 h 305"/>
                  <a:gd name="T20" fmla="*/ 1 w 263"/>
                  <a:gd name="T21" fmla="*/ 0 h 305"/>
                  <a:gd name="T22" fmla="*/ 1 w 263"/>
                  <a:gd name="T23" fmla="*/ 0 h 305"/>
                  <a:gd name="T24" fmla="*/ 1 w 263"/>
                  <a:gd name="T25" fmla="*/ 0 h 305"/>
                  <a:gd name="T26" fmla="*/ 1 w 263"/>
                  <a:gd name="T27" fmla="*/ 0 h 305"/>
                  <a:gd name="T28" fmla="*/ 1 w 263"/>
                  <a:gd name="T29" fmla="*/ 0 h 305"/>
                  <a:gd name="T30" fmla="*/ 1 w 263"/>
                  <a:gd name="T31" fmla="*/ 0 h 305"/>
                  <a:gd name="T32" fmla="*/ 1 w 263"/>
                  <a:gd name="T33" fmla="*/ 0 h 305"/>
                  <a:gd name="T34" fmla="*/ 1 w 263"/>
                  <a:gd name="T35" fmla="*/ 0 h 305"/>
                  <a:gd name="T36" fmla="*/ 1 w 263"/>
                  <a:gd name="T37" fmla="*/ 0 h 305"/>
                  <a:gd name="T38" fmla="*/ 1 w 263"/>
                  <a:gd name="T39" fmla="*/ 0 h 30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3"/>
                  <a:gd name="T61" fmla="*/ 0 h 305"/>
                  <a:gd name="T62" fmla="*/ 263 w 263"/>
                  <a:gd name="T63" fmla="*/ 305 h 30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3" h="305">
                    <a:moveTo>
                      <a:pt x="263" y="265"/>
                    </a:moveTo>
                    <a:lnTo>
                      <a:pt x="199" y="265"/>
                    </a:lnTo>
                    <a:lnTo>
                      <a:pt x="195" y="268"/>
                    </a:lnTo>
                    <a:lnTo>
                      <a:pt x="230" y="286"/>
                    </a:lnTo>
                    <a:lnTo>
                      <a:pt x="186" y="299"/>
                    </a:lnTo>
                    <a:lnTo>
                      <a:pt x="182" y="305"/>
                    </a:lnTo>
                    <a:lnTo>
                      <a:pt x="163" y="284"/>
                    </a:lnTo>
                    <a:lnTo>
                      <a:pt x="51" y="286"/>
                    </a:lnTo>
                    <a:lnTo>
                      <a:pt x="0" y="305"/>
                    </a:lnTo>
                    <a:lnTo>
                      <a:pt x="0" y="286"/>
                    </a:lnTo>
                    <a:lnTo>
                      <a:pt x="147" y="232"/>
                    </a:lnTo>
                    <a:lnTo>
                      <a:pt x="136" y="197"/>
                    </a:lnTo>
                    <a:lnTo>
                      <a:pt x="176" y="180"/>
                    </a:lnTo>
                    <a:lnTo>
                      <a:pt x="180" y="180"/>
                    </a:lnTo>
                    <a:lnTo>
                      <a:pt x="180" y="132"/>
                    </a:lnTo>
                    <a:lnTo>
                      <a:pt x="167" y="27"/>
                    </a:lnTo>
                    <a:lnTo>
                      <a:pt x="163" y="21"/>
                    </a:lnTo>
                    <a:lnTo>
                      <a:pt x="180" y="0"/>
                    </a:lnTo>
                    <a:lnTo>
                      <a:pt x="263" y="101"/>
                    </a:lnTo>
                    <a:lnTo>
                      <a:pt x="263" y="2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8" name="Freeform 196"/>
              <p:cNvSpPr>
                <a:spLocks/>
              </p:cNvSpPr>
              <p:nvPr/>
            </p:nvSpPr>
            <p:spPr bwMode="gray">
              <a:xfrm>
                <a:off x="5082" y="1652"/>
                <a:ext cx="86" cy="75"/>
              </a:xfrm>
              <a:custGeom>
                <a:avLst/>
                <a:gdLst>
                  <a:gd name="T0" fmla="*/ 1 w 172"/>
                  <a:gd name="T1" fmla="*/ 1 h 150"/>
                  <a:gd name="T2" fmla="*/ 1 w 172"/>
                  <a:gd name="T3" fmla="*/ 1 h 150"/>
                  <a:gd name="T4" fmla="*/ 1 w 172"/>
                  <a:gd name="T5" fmla="*/ 1 h 150"/>
                  <a:gd name="T6" fmla="*/ 1 w 172"/>
                  <a:gd name="T7" fmla="*/ 1 h 150"/>
                  <a:gd name="T8" fmla="*/ 1 w 172"/>
                  <a:gd name="T9" fmla="*/ 1 h 150"/>
                  <a:gd name="T10" fmla="*/ 1 w 172"/>
                  <a:gd name="T11" fmla="*/ 1 h 150"/>
                  <a:gd name="T12" fmla="*/ 1 w 172"/>
                  <a:gd name="T13" fmla="*/ 1 h 150"/>
                  <a:gd name="T14" fmla="*/ 1 w 172"/>
                  <a:gd name="T15" fmla="*/ 1 h 150"/>
                  <a:gd name="T16" fmla="*/ 1 w 172"/>
                  <a:gd name="T17" fmla="*/ 1 h 150"/>
                  <a:gd name="T18" fmla="*/ 0 w 172"/>
                  <a:gd name="T19" fmla="*/ 1 h 150"/>
                  <a:gd name="T20" fmla="*/ 1 w 172"/>
                  <a:gd name="T21" fmla="*/ 1 h 150"/>
                  <a:gd name="T22" fmla="*/ 1 w 172"/>
                  <a:gd name="T23" fmla="*/ 1 h 150"/>
                  <a:gd name="T24" fmla="*/ 0 w 172"/>
                  <a:gd name="T25" fmla="*/ 0 h 150"/>
                  <a:gd name="T26" fmla="*/ 1 w 172"/>
                  <a:gd name="T27" fmla="*/ 0 h 150"/>
                  <a:gd name="T28" fmla="*/ 1 w 172"/>
                  <a:gd name="T29" fmla="*/ 1 h 1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2"/>
                  <a:gd name="T46" fmla="*/ 0 h 150"/>
                  <a:gd name="T47" fmla="*/ 172 w 172"/>
                  <a:gd name="T48" fmla="*/ 150 h 1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2" h="150">
                    <a:moveTo>
                      <a:pt x="168" y="46"/>
                    </a:moveTo>
                    <a:lnTo>
                      <a:pt x="172" y="48"/>
                    </a:lnTo>
                    <a:lnTo>
                      <a:pt x="117" y="98"/>
                    </a:lnTo>
                    <a:lnTo>
                      <a:pt x="88" y="84"/>
                    </a:lnTo>
                    <a:lnTo>
                      <a:pt x="69" y="98"/>
                    </a:lnTo>
                    <a:lnTo>
                      <a:pt x="65" y="102"/>
                    </a:lnTo>
                    <a:lnTo>
                      <a:pt x="92" y="129"/>
                    </a:lnTo>
                    <a:lnTo>
                      <a:pt x="74" y="146"/>
                    </a:lnTo>
                    <a:lnTo>
                      <a:pt x="61" y="150"/>
                    </a:lnTo>
                    <a:lnTo>
                      <a:pt x="0" y="102"/>
                    </a:lnTo>
                    <a:lnTo>
                      <a:pt x="11" y="52"/>
                    </a:lnTo>
                    <a:lnTo>
                      <a:pt x="11" y="37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68" y="4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39" name="Freeform 197"/>
              <p:cNvSpPr>
                <a:spLocks/>
              </p:cNvSpPr>
              <p:nvPr/>
            </p:nvSpPr>
            <p:spPr bwMode="gray">
              <a:xfrm>
                <a:off x="5037" y="1897"/>
                <a:ext cx="33" cy="54"/>
              </a:xfrm>
              <a:custGeom>
                <a:avLst/>
                <a:gdLst>
                  <a:gd name="T0" fmla="*/ 0 w 67"/>
                  <a:gd name="T1" fmla="*/ 0 h 110"/>
                  <a:gd name="T2" fmla="*/ 0 w 67"/>
                  <a:gd name="T3" fmla="*/ 0 h 110"/>
                  <a:gd name="T4" fmla="*/ 0 w 67"/>
                  <a:gd name="T5" fmla="*/ 0 h 110"/>
                  <a:gd name="T6" fmla="*/ 0 w 67"/>
                  <a:gd name="T7" fmla="*/ 0 h 110"/>
                  <a:gd name="T8" fmla="*/ 0 w 67"/>
                  <a:gd name="T9" fmla="*/ 0 h 110"/>
                  <a:gd name="T10" fmla="*/ 0 w 67"/>
                  <a:gd name="T11" fmla="*/ 0 h 110"/>
                  <a:gd name="T12" fmla="*/ 0 w 67"/>
                  <a:gd name="T13" fmla="*/ 0 h 110"/>
                  <a:gd name="T14" fmla="*/ 0 w 67"/>
                  <a:gd name="T15" fmla="*/ 0 h 1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110"/>
                  <a:gd name="T26" fmla="*/ 67 w 67"/>
                  <a:gd name="T27" fmla="*/ 110 h 1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110">
                    <a:moveTo>
                      <a:pt x="64" y="93"/>
                    </a:moveTo>
                    <a:lnTo>
                      <a:pt x="60" y="104"/>
                    </a:lnTo>
                    <a:lnTo>
                      <a:pt x="60" y="110"/>
                    </a:lnTo>
                    <a:lnTo>
                      <a:pt x="21" y="62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67" y="62"/>
                    </a:lnTo>
                    <a:lnTo>
                      <a:pt x="64" y="9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0" name="Freeform 198"/>
              <p:cNvSpPr>
                <a:spLocks/>
              </p:cNvSpPr>
              <p:nvPr/>
            </p:nvSpPr>
            <p:spPr bwMode="gray">
              <a:xfrm>
                <a:off x="5082" y="1888"/>
                <a:ext cx="33" cy="18"/>
              </a:xfrm>
              <a:custGeom>
                <a:avLst/>
                <a:gdLst>
                  <a:gd name="T0" fmla="*/ 0 w 67"/>
                  <a:gd name="T1" fmla="*/ 0 h 37"/>
                  <a:gd name="T2" fmla="*/ 0 w 67"/>
                  <a:gd name="T3" fmla="*/ 0 h 37"/>
                  <a:gd name="T4" fmla="*/ 0 w 67"/>
                  <a:gd name="T5" fmla="*/ 0 h 37"/>
                  <a:gd name="T6" fmla="*/ 0 w 67"/>
                  <a:gd name="T7" fmla="*/ 0 h 37"/>
                  <a:gd name="T8" fmla="*/ 0 w 67"/>
                  <a:gd name="T9" fmla="*/ 0 h 37"/>
                  <a:gd name="T10" fmla="*/ 0 w 67"/>
                  <a:gd name="T11" fmla="*/ 0 h 37"/>
                  <a:gd name="T12" fmla="*/ 0 w 67"/>
                  <a:gd name="T13" fmla="*/ 0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37"/>
                  <a:gd name="T23" fmla="*/ 67 w 6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37">
                    <a:moveTo>
                      <a:pt x="67" y="12"/>
                    </a:moveTo>
                    <a:lnTo>
                      <a:pt x="17" y="37"/>
                    </a:lnTo>
                    <a:lnTo>
                      <a:pt x="3" y="19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67" y="0"/>
                    </a:lnTo>
                    <a:lnTo>
                      <a:pt x="67" y="1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1" name="Freeform 199"/>
              <p:cNvSpPr>
                <a:spLocks/>
              </p:cNvSpPr>
              <p:nvPr/>
            </p:nvSpPr>
            <p:spPr bwMode="gray">
              <a:xfrm>
                <a:off x="2049" y="1020"/>
                <a:ext cx="610" cy="471"/>
              </a:xfrm>
              <a:custGeom>
                <a:avLst/>
                <a:gdLst>
                  <a:gd name="T0" fmla="*/ 0 w 1221"/>
                  <a:gd name="T1" fmla="*/ 0 h 943"/>
                  <a:gd name="T2" fmla="*/ 0 w 1221"/>
                  <a:gd name="T3" fmla="*/ 0 h 943"/>
                  <a:gd name="T4" fmla="*/ 0 w 1221"/>
                  <a:gd name="T5" fmla="*/ 0 h 943"/>
                  <a:gd name="T6" fmla="*/ 0 w 1221"/>
                  <a:gd name="T7" fmla="*/ 0 h 943"/>
                  <a:gd name="T8" fmla="*/ 0 w 1221"/>
                  <a:gd name="T9" fmla="*/ 0 h 943"/>
                  <a:gd name="T10" fmla="*/ 0 w 1221"/>
                  <a:gd name="T11" fmla="*/ 0 h 943"/>
                  <a:gd name="T12" fmla="*/ 0 w 1221"/>
                  <a:gd name="T13" fmla="*/ 0 h 943"/>
                  <a:gd name="T14" fmla="*/ 0 w 1221"/>
                  <a:gd name="T15" fmla="*/ 0 h 943"/>
                  <a:gd name="T16" fmla="*/ 0 w 1221"/>
                  <a:gd name="T17" fmla="*/ 0 h 943"/>
                  <a:gd name="T18" fmla="*/ 0 w 1221"/>
                  <a:gd name="T19" fmla="*/ 0 h 943"/>
                  <a:gd name="T20" fmla="*/ 0 w 1221"/>
                  <a:gd name="T21" fmla="*/ 0 h 943"/>
                  <a:gd name="T22" fmla="*/ 0 w 1221"/>
                  <a:gd name="T23" fmla="*/ 0 h 943"/>
                  <a:gd name="T24" fmla="*/ 0 w 1221"/>
                  <a:gd name="T25" fmla="*/ 0 h 943"/>
                  <a:gd name="T26" fmla="*/ 0 w 1221"/>
                  <a:gd name="T27" fmla="*/ 0 h 943"/>
                  <a:gd name="T28" fmla="*/ 0 w 1221"/>
                  <a:gd name="T29" fmla="*/ 0 h 943"/>
                  <a:gd name="T30" fmla="*/ 0 w 1221"/>
                  <a:gd name="T31" fmla="*/ 0 h 943"/>
                  <a:gd name="T32" fmla="*/ 0 w 1221"/>
                  <a:gd name="T33" fmla="*/ 0 h 943"/>
                  <a:gd name="T34" fmla="*/ 0 w 1221"/>
                  <a:gd name="T35" fmla="*/ 0 h 943"/>
                  <a:gd name="T36" fmla="*/ 0 w 1221"/>
                  <a:gd name="T37" fmla="*/ 0 h 943"/>
                  <a:gd name="T38" fmla="*/ 0 w 1221"/>
                  <a:gd name="T39" fmla="*/ 0 h 943"/>
                  <a:gd name="T40" fmla="*/ 0 w 1221"/>
                  <a:gd name="T41" fmla="*/ 0 h 943"/>
                  <a:gd name="T42" fmla="*/ 0 w 1221"/>
                  <a:gd name="T43" fmla="*/ 0 h 943"/>
                  <a:gd name="T44" fmla="*/ 0 w 1221"/>
                  <a:gd name="T45" fmla="*/ 0 h 943"/>
                  <a:gd name="T46" fmla="*/ 0 w 1221"/>
                  <a:gd name="T47" fmla="*/ 0 h 943"/>
                  <a:gd name="T48" fmla="*/ 0 w 1221"/>
                  <a:gd name="T49" fmla="*/ 0 h 943"/>
                  <a:gd name="T50" fmla="*/ 0 w 1221"/>
                  <a:gd name="T51" fmla="*/ 0 h 943"/>
                  <a:gd name="T52" fmla="*/ 0 w 1221"/>
                  <a:gd name="T53" fmla="*/ 0 h 943"/>
                  <a:gd name="T54" fmla="*/ 0 w 1221"/>
                  <a:gd name="T55" fmla="*/ 0 h 943"/>
                  <a:gd name="T56" fmla="*/ 0 w 1221"/>
                  <a:gd name="T57" fmla="*/ 0 h 943"/>
                  <a:gd name="T58" fmla="*/ 0 w 1221"/>
                  <a:gd name="T59" fmla="*/ 0 h 943"/>
                  <a:gd name="T60" fmla="*/ 0 w 1221"/>
                  <a:gd name="T61" fmla="*/ 0 h 943"/>
                  <a:gd name="T62" fmla="*/ 0 w 1221"/>
                  <a:gd name="T63" fmla="*/ 0 h 943"/>
                  <a:gd name="T64" fmla="*/ 0 w 1221"/>
                  <a:gd name="T65" fmla="*/ 0 h 943"/>
                  <a:gd name="T66" fmla="*/ 0 w 1221"/>
                  <a:gd name="T67" fmla="*/ 0 h 943"/>
                  <a:gd name="T68" fmla="*/ 0 w 1221"/>
                  <a:gd name="T69" fmla="*/ 0 h 943"/>
                  <a:gd name="T70" fmla="*/ 0 w 1221"/>
                  <a:gd name="T71" fmla="*/ 0 h 943"/>
                  <a:gd name="T72" fmla="*/ 0 w 1221"/>
                  <a:gd name="T73" fmla="*/ 0 h 943"/>
                  <a:gd name="T74" fmla="*/ 0 w 1221"/>
                  <a:gd name="T75" fmla="*/ 0 h 943"/>
                  <a:gd name="T76" fmla="*/ 0 w 1221"/>
                  <a:gd name="T77" fmla="*/ 0 h 943"/>
                  <a:gd name="T78" fmla="*/ 0 w 1221"/>
                  <a:gd name="T79" fmla="*/ 0 h 943"/>
                  <a:gd name="T80" fmla="*/ 0 w 1221"/>
                  <a:gd name="T81" fmla="*/ 0 h 943"/>
                  <a:gd name="T82" fmla="*/ 0 w 1221"/>
                  <a:gd name="T83" fmla="*/ 0 h 943"/>
                  <a:gd name="T84" fmla="*/ 0 w 1221"/>
                  <a:gd name="T85" fmla="*/ 0 h 943"/>
                  <a:gd name="T86" fmla="*/ 0 w 1221"/>
                  <a:gd name="T87" fmla="*/ 0 h 943"/>
                  <a:gd name="T88" fmla="*/ 0 w 1221"/>
                  <a:gd name="T89" fmla="*/ 0 h 943"/>
                  <a:gd name="T90" fmla="*/ 0 w 1221"/>
                  <a:gd name="T91" fmla="*/ 0 h 943"/>
                  <a:gd name="T92" fmla="*/ 0 w 1221"/>
                  <a:gd name="T93" fmla="*/ 0 h 943"/>
                  <a:gd name="T94" fmla="*/ 0 w 1221"/>
                  <a:gd name="T95" fmla="*/ 0 h 943"/>
                  <a:gd name="T96" fmla="*/ 0 w 1221"/>
                  <a:gd name="T97" fmla="*/ 0 h 943"/>
                  <a:gd name="T98" fmla="*/ 0 w 1221"/>
                  <a:gd name="T99" fmla="*/ 0 h 943"/>
                  <a:gd name="T100" fmla="*/ 0 w 1221"/>
                  <a:gd name="T101" fmla="*/ 0 h 943"/>
                  <a:gd name="T102" fmla="*/ 0 w 1221"/>
                  <a:gd name="T103" fmla="*/ 0 h 943"/>
                  <a:gd name="T104" fmla="*/ 0 w 1221"/>
                  <a:gd name="T105" fmla="*/ 0 h 943"/>
                  <a:gd name="T106" fmla="*/ 0 w 1221"/>
                  <a:gd name="T107" fmla="*/ 0 h 94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21"/>
                  <a:gd name="T163" fmla="*/ 0 h 943"/>
                  <a:gd name="T164" fmla="*/ 1221 w 1221"/>
                  <a:gd name="T165" fmla="*/ 943 h 94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21" h="943">
                    <a:moveTo>
                      <a:pt x="1100" y="106"/>
                    </a:moveTo>
                    <a:lnTo>
                      <a:pt x="1115" y="112"/>
                    </a:lnTo>
                    <a:lnTo>
                      <a:pt x="1128" y="112"/>
                    </a:lnTo>
                    <a:lnTo>
                      <a:pt x="1134" y="67"/>
                    </a:lnTo>
                    <a:lnTo>
                      <a:pt x="1134" y="60"/>
                    </a:lnTo>
                    <a:lnTo>
                      <a:pt x="1221" y="92"/>
                    </a:lnTo>
                    <a:lnTo>
                      <a:pt x="1221" y="112"/>
                    </a:lnTo>
                    <a:lnTo>
                      <a:pt x="1182" y="133"/>
                    </a:lnTo>
                    <a:lnTo>
                      <a:pt x="1100" y="386"/>
                    </a:lnTo>
                    <a:lnTo>
                      <a:pt x="1009" y="407"/>
                    </a:lnTo>
                    <a:lnTo>
                      <a:pt x="983" y="407"/>
                    </a:lnTo>
                    <a:lnTo>
                      <a:pt x="983" y="444"/>
                    </a:lnTo>
                    <a:lnTo>
                      <a:pt x="994" y="478"/>
                    </a:lnTo>
                    <a:lnTo>
                      <a:pt x="910" y="566"/>
                    </a:lnTo>
                    <a:lnTo>
                      <a:pt x="785" y="649"/>
                    </a:lnTo>
                    <a:lnTo>
                      <a:pt x="712" y="611"/>
                    </a:lnTo>
                    <a:lnTo>
                      <a:pt x="681" y="676"/>
                    </a:lnTo>
                    <a:lnTo>
                      <a:pt x="672" y="685"/>
                    </a:lnTo>
                    <a:lnTo>
                      <a:pt x="533" y="701"/>
                    </a:lnTo>
                    <a:lnTo>
                      <a:pt x="512" y="714"/>
                    </a:lnTo>
                    <a:lnTo>
                      <a:pt x="340" y="889"/>
                    </a:lnTo>
                    <a:lnTo>
                      <a:pt x="270" y="943"/>
                    </a:lnTo>
                    <a:lnTo>
                      <a:pt x="165" y="927"/>
                    </a:lnTo>
                    <a:lnTo>
                      <a:pt x="155" y="927"/>
                    </a:lnTo>
                    <a:lnTo>
                      <a:pt x="121" y="850"/>
                    </a:lnTo>
                    <a:lnTo>
                      <a:pt x="121" y="826"/>
                    </a:lnTo>
                    <a:lnTo>
                      <a:pt x="128" y="806"/>
                    </a:lnTo>
                    <a:lnTo>
                      <a:pt x="128" y="787"/>
                    </a:lnTo>
                    <a:lnTo>
                      <a:pt x="138" y="764"/>
                    </a:lnTo>
                    <a:lnTo>
                      <a:pt x="128" y="722"/>
                    </a:lnTo>
                    <a:lnTo>
                      <a:pt x="121" y="676"/>
                    </a:lnTo>
                    <a:lnTo>
                      <a:pt x="121" y="672"/>
                    </a:lnTo>
                    <a:lnTo>
                      <a:pt x="115" y="668"/>
                    </a:lnTo>
                    <a:lnTo>
                      <a:pt x="222" y="557"/>
                    </a:lnTo>
                    <a:lnTo>
                      <a:pt x="228" y="484"/>
                    </a:lnTo>
                    <a:lnTo>
                      <a:pt x="242" y="373"/>
                    </a:lnTo>
                    <a:lnTo>
                      <a:pt x="121" y="294"/>
                    </a:lnTo>
                    <a:lnTo>
                      <a:pt x="15" y="294"/>
                    </a:lnTo>
                    <a:lnTo>
                      <a:pt x="0" y="280"/>
                    </a:lnTo>
                    <a:lnTo>
                      <a:pt x="48" y="188"/>
                    </a:lnTo>
                    <a:lnTo>
                      <a:pt x="151" y="185"/>
                    </a:lnTo>
                    <a:lnTo>
                      <a:pt x="155" y="179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424" y="64"/>
                    </a:lnTo>
                    <a:lnTo>
                      <a:pt x="443" y="60"/>
                    </a:lnTo>
                    <a:lnTo>
                      <a:pt x="526" y="92"/>
                    </a:lnTo>
                    <a:lnTo>
                      <a:pt x="574" y="60"/>
                    </a:lnTo>
                    <a:lnTo>
                      <a:pt x="691" y="112"/>
                    </a:lnTo>
                    <a:lnTo>
                      <a:pt x="695" y="67"/>
                    </a:lnTo>
                    <a:lnTo>
                      <a:pt x="695" y="60"/>
                    </a:lnTo>
                    <a:lnTo>
                      <a:pt x="890" y="0"/>
                    </a:lnTo>
                    <a:lnTo>
                      <a:pt x="1100" y="41"/>
                    </a:lnTo>
                    <a:lnTo>
                      <a:pt x="1100" y="10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2" name="Freeform 200"/>
              <p:cNvSpPr>
                <a:spLocks/>
              </p:cNvSpPr>
              <p:nvPr/>
            </p:nvSpPr>
            <p:spPr bwMode="gray">
              <a:xfrm>
                <a:off x="2500" y="1369"/>
                <a:ext cx="140" cy="45"/>
              </a:xfrm>
              <a:custGeom>
                <a:avLst/>
                <a:gdLst>
                  <a:gd name="T0" fmla="*/ 1 w 280"/>
                  <a:gd name="T1" fmla="*/ 0 h 90"/>
                  <a:gd name="T2" fmla="*/ 1 w 280"/>
                  <a:gd name="T3" fmla="*/ 1 h 90"/>
                  <a:gd name="T4" fmla="*/ 1 w 280"/>
                  <a:gd name="T5" fmla="*/ 1 h 90"/>
                  <a:gd name="T6" fmla="*/ 1 w 280"/>
                  <a:gd name="T7" fmla="*/ 1 h 90"/>
                  <a:gd name="T8" fmla="*/ 0 w 280"/>
                  <a:gd name="T9" fmla="*/ 1 h 90"/>
                  <a:gd name="T10" fmla="*/ 0 w 280"/>
                  <a:gd name="T11" fmla="*/ 1 h 90"/>
                  <a:gd name="T12" fmla="*/ 1 w 280"/>
                  <a:gd name="T13" fmla="*/ 0 h 90"/>
                  <a:gd name="T14" fmla="*/ 1 w 280"/>
                  <a:gd name="T15" fmla="*/ 1 h 90"/>
                  <a:gd name="T16" fmla="*/ 1 w 280"/>
                  <a:gd name="T17" fmla="*/ 0 h 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0"/>
                  <a:gd name="T28" fmla="*/ 0 h 90"/>
                  <a:gd name="T29" fmla="*/ 280 w 280"/>
                  <a:gd name="T30" fmla="*/ 90 h 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0" h="90">
                    <a:moveTo>
                      <a:pt x="221" y="0"/>
                    </a:moveTo>
                    <a:lnTo>
                      <a:pt x="280" y="57"/>
                    </a:lnTo>
                    <a:lnTo>
                      <a:pt x="280" y="61"/>
                    </a:lnTo>
                    <a:lnTo>
                      <a:pt x="86" y="90"/>
                    </a:lnTo>
                    <a:lnTo>
                      <a:pt x="0" y="77"/>
                    </a:lnTo>
                    <a:lnTo>
                      <a:pt x="0" y="17"/>
                    </a:lnTo>
                    <a:lnTo>
                      <a:pt x="27" y="0"/>
                    </a:lnTo>
                    <a:lnTo>
                      <a:pt x="109" y="17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3" name="Freeform 201"/>
              <p:cNvSpPr>
                <a:spLocks/>
              </p:cNvSpPr>
              <p:nvPr/>
            </p:nvSpPr>
            <p:spPr bwMode="gray">
              <a:xfrm>
                <a:off x="2721" y="1522"/>
                <a:ext cx="90" cy="148"/>
              </a:xfrm>
              <a:custGeom>
                <a:avLst/>
                <a:gdLst>
                  <a:gd name="T0" fmla="*/ 0 w 181"/>
                  <a:gd name="T1" fmla="*/ 0 h 298"/>
                  <a:gd name="T2" fmla="*/ 0 w 181"/>
                  <a:gd name="T3" fmla="*/ 0 h 298"/>
                  <a:gd name="T4" fmla="*/ 0 w 181"/>
                  <a:gd name="T5" fmla="*/ 0 h 298"/>
                  <a:gd name="T6" fmla="*/ 0 w 181"/>
                  <a:gd name="T7" fmla="*/ 0 h 298"/>
                  <a:gd name="T8" fmla="*/ 0 w 181"/>
                  <a:gd name="T9" fmla="*/ 0 h 298"/>
                  <a:gd name="T10" fmla="*/ 0 w 181"/>
                  <a:gd name="T11" fmla="*/ 0 h 298"/>
                  <a:gd name="T12" fmla="*/ 0 w 181"/>
                  <a:gd name="T13" fmla="*/ 0 h 298"/>
                  <a:gd name="T14" fmla="*/ 0 w 181"/>
                  <a:gd name="T15" fmla="*/ 0 h 298"/>
                  <a:gd name="T16" fmla="*/ 0 w 181"/>
                  <a:gd name="T17" fmla="*/ 0 h 298"/>
                  <a:gd name="T18" fmla="*/ 0 w 181"/>
                  <a:gd name="T19" fmla="*/ 0 h 298"/>
                  <a:gd name="T20" fmla="*/ 0 w 181"/>
                  <a:gd name="T21" fmla="*/ 0 h 298"/>
                  <a:gd name="T22" fmla="*/ 0 w 181"/>
                  <a:gd name="T23" fmla="*/ 0 h 298"/>
                  <a:gd name="T24" fmla="*/ 0 w 181"/>
                  <a:gd name="T25" fmla="*/ 0 h 298"/>
                  <a:gd name="T26" fmla="*/ 0 w 181"/>
                  <a:gd name="T27" fmla="*/ 0 h 298"/>
                  <a:gd name="T28" fmla="*/ 0 w 181"/>
                  <a:gd name="T29" fmla="*/ 0 h 298"/>
                  <a:gd name="T30" fmla="*/ 0 w 181"/>
                  <a:gd name="T31" fmla="*/ 0 h 298"/>
                  <a:gd name="T32" fmla="*/ 0 w 181"/>
                  <a:gd name="T33" fmla="*/ 0 h 2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1"/>
                  <a:gd name="T52" fmla="*/ 0 h 298"/>
                  <a:gd name="T53" fmla="*/ 181 w 181"/>
                  <a:gd name="T54" fmla="*/ 298 h 29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1" h="298">
                    <a:moveTo>
                      <a:pt x="83" y="65"/>
                    </a:moveTo>
                    <a:lnTo>
                      <a:pt x="52" y="115"/>
                    </a:lnTo>
                    <a:lnTo>
                      <a:pt x="71" y="129"/>
                    </a:lnTo>
                    <a:lnTo>
                      <a:pt x="125" y="154"/>
                    </a:lnTo>
                    <a:lnTo>
                      <a:pt x="135" y="225"/>
                    </a:lnTo>
                    <a:lnTo>
                      <a:pt x="181" y="246"/>
                    </a:lnTo>
                    <a:lnTo>
                      <a:pt x="181" y="259"/>
                    </a:lnTo>
                    <a:lnTo>
                      <a:pt x="83" y="263"/>
                    </a:lnTo>
                    <a:lnTo>
                      <a:pt x="0" y="298"/>
                    </a:lnTo>
                    <a:lnTo>
                      <a:pt x="0" y="246"/>
                    </a:lnTo>
                    <a:lnTo>
                      <a:pt x="29" y="246"/>
                    </a:lnTo>
                    <a:lnTo>
                      <a:pt x="35" y="163"/>
                    </a:lnTo>
                    <a:lnTo>
                      <a:pt x="0" y="154"/>
                    </a:lnTo>
                    <a:lnTo>
                      <a:pt x="0" y="3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4" name="Freeform 202"/>
              <p:cNvSpPr>
                <a:spLocks/>
              </p:cNvSpPr>
              <p:nvPr/>
            </p:nvSpPr>
            <p:spPr bwMode="gray">
              <a:xfrm>
                <a:off x="2625" y="1596"/>
                <a:ext cx="79" cy="74"/>
              </a:xfrm>
              <a:custGeom>
                <a:avLst/>
                <a:gdLst>
                  <a:gd name="T0" fmla="*/ 0 w 159"/>
                  <a:gd name="T1" fmla="*/ 1 h 148"/>
                  <a:gd name="T2" fmla="*/ 0 w 159"/>
                  <a:gd name="T3" fmla="*/ 1 h 148"/>
                  <a:gd name="T4" fmla="*/ 0 w 159"/>
                  <a:gd name="T5" fmla="*/ 1 h 148"/>
                  <a:gd name="T6" fmla="*/ 0 w 159"/>
                  <a:gd name="T7" fmla="*/ 1 h 148"/>
                  <a:gd name="T8" fmla="*/ 0 w 159"/>
                  <a:gd name="T9" fmla="*/ 1 h 148"/>
                  <a:gd name="T10" fmla="*/ 0 w 159"/>
                  <a:gd name="T11" fmla="*/ 1 h 148"/>
                  <a:gd name="T12" fmla="*/ 0 w 159"/>
                  <a:gd name="T13" fmla="*/ 1 h 148"/>
                  <a:gd name="T14" fmla="*/ 0 w 159"/>
                  <a:gd name="T15" fmla="*/ 1 h 148"/>
                  <a:gd name="T16" fmla="*/ 0 w 159"/>
                  <a:gd name="T17" fmla="*/ 1 h 148"/>
                  <a:gd name="T18" fmla="*/ 0 w 159"/>
                  <a:gd name="T19" fmla="*/ 1 h 148"/>
                  <a:gd name="T20" fmla="*/ 0 w 159"/>
                  <a:gd name="T21" fmla="*/ 1 h 148"/>
                  <a:gd name="T22" fmla="*/ 0 w 159"/>
                  <a:gd name="T23" fmla="*/ 0 h 148"/>
                  <a:gd name="T24" fmla="*/ 0 w 159"/>
                  <a:gd name="T25" fmla="*/ 0 h 148"/>
                  <a:gd name="T26" fmla="*/ 0 w 159"/>
                  <a:gd name="T27" fmla="*/ 1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9"/>
                  <a:gd name="T43" fmla="*/ 0 h 148"/>
                  <a:gd name="T44" fmla="*/ 159 w 159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9" h="148">
                    <a:moveTo>
                      <a:pt x="159" y="30"/>
                    </a:moveTo>
                    <a:lnTo>
                      <a:pt x="142" y="73"/>
                    </a:lnTo>
                    <a:lnTo>
                      <a:pt x="153" y="107"/>
                    </a:lnTo>
                    <a:lnTo>
                      <a:pt x="159" y="111"/>
                    </a:lnTo>
                    <a:lnTo>
                      <a:pt x="71" y="119"/>
                    </a:lnTo>
                    <a:lnTo>
                      <a:pt x="48" y="148"/>
                    </a:lnTo>
                    <a:lnTo>
                      <a:pt x="0" y="148"/>
                    </a:lnTo>
                    <a:lnTo>
                      <a:pt x="57" y="100"/>
                    </a:lnTo>
                    <a:lnTo>
                      <a:pt x="57" y="77"/>
                    </a:lnTo>
                    <a:lnTo>
                      <a:pt x="48" y="40"/>
                    </a:lnTo>
                    <a:lnTo>
                      <a:pt x="48" y="30"/>
                    </a:lnTo>
                    <a:lnTo>
                      <a:pt x="105" y="0"/>
                    </a:lnTo>
                    <a:lnTo>
                      <a:pt x="142" y="0"/>
                    </a:lnTo>
                    <a:lnTo>
                      <a:pt x="159" y="3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5" name="Freeform 203"/>
              <p:cNvSpPr>
                <a:spLocks/>
              </p:cNvSpPr>
              <p:nvPr/>
            </p:nvSpPr>
            <p:spPr bwMode="gray">
              <a:xfrm>
                <a:off x="2917" y="1867"/>
                <a:ext cx="33" cy="39"/>
              </a:xfrm>
              <a:custGeom>
                <a:avLst/>
                <a:gdLst>
                  <a:gd name="T0" fmla="*/ 0 w 67"/>
                  <a:gd name="T1" fmla="*/ 0 h 79"/>
                  <a:gd name="T2" fmla="*/ 0 w 67"/>
                  <a:gd name="T3" fmla="*/ 0 h 79"/>
                  <a:gd name="T4" fmla="*/ 0 w 67"/>
                  <a:gd name="T5" fmla="*/ 0 h 79"/>
                  <a:gd name="T6" fmla="*/ 0 w 67"/>
                  <a:gd name="T7" fmla="*/ 0 h 79"/>
                  <a:gd name="T8" fmla="*/ 0 w 67"/>
                  <a:gd name="T9" fmla="*/ 0 h 79"/>
                  <a:gd name="T10" fmla="*/ 0 w 67"/>
                  <a:gd name="T11" fmla="*/ 0 h 79"/>
                  <a:gd name="T12" fmla="*/ 0 w 67"/>
                  <a:gd name="T13" fmla="*/ 0 h 79"/>
                  <a:gd name="T14" fmla="*/ 0 w 67"/>
                  <a:gd name="T15" fmla="*/ 0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79"/>
                  <a:gd name="T26" fmla="*/ 67 w 67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79">
                    <a:moveTo>
                      <a:pt x="67" y="31"/>
                    </a:moveTo>
                    <a:lnTo>
                      <a:pt x="58" y="42"/>
                    </a:lnTo>
                    <a:lnTo>
                      <a:pt x="67" y="73"/>
                    </a:lnTo>
                    <a:lnTo>
                      <a:pt x="44" y="79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40" y="0"/>
                    </a:lnTo>
                    <a:lnTo>
                      <a:pt x="67" y="3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6" name="Freeform 204"/>
              <p:cNvSpPr>
                <a:spLocks/>
              </p:cNvSpPr>
              <p:nvPr/>
            </p:nvSpPr>
            <p:spPr bwMode="gray">
              <a:xfrm>
                <a:off x="3007" y="1945"/>
                <a:ext cx="42" cy="26"/>
              </a:xfrm>
              <a:custGeom>
                <a:avLst/>
                <a:gdLst>
                  <a:gd name="T0" fmla="*/ 0 w 85"/>
                  <a:gd name="T1" fmla="*/ 1 h 52"/>
                  <a:gd name="T2" fmla="*/ 0 w 85"/>
                  <a:gd name="T3" fmla="*/ 1 h 52"/>
                  <a:gd name="T4" fmla="*/ 0 w 85"/>
                  <a:gd name="T5" fmla="*/ 1 h 52"/>
                  <a:gd name="T6" fmla="*/ 0 w 85"/>
                  <a:gd name="T7" fmla="*/ 1 h 52"/>
                  <a:gd name="T8" fmla="*/ 0 w 85"/>
                  <a:gd name="T9" fmla="*/ 0 h 52"/>
                  <a:gd name="T10" fmla="*/ 0 w 85"/>
                  <a:gd name="T11" fmla="*/ 0 h 52"/>
                  <a:gd name="T12" fmla="*/ 0 w 85"/>
                  <a:gd name="T13" fmla="*/ 1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"/>
                  <a:gd name="T22" fmla="*/ 0 h 52"/>
                  <a:gd name="T23" fmla="*/ 85 w 85"/>
                  <a:gd name="T24" fmla="*/ 52 h 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" h="52">
                    <a:moveTo>
                      <a:pt x="85" y="43"/>
                    </a:moveTo>
                    <a:lnTo>
                      <a:pt x="58" y="52"/>
                    </a:lnTo>
                    <a:lnTo>
                      <a:pt x="2" y="29"/>
                    </a:lnTo>
                    <a:lnTo>
                      <a:pt x="0" y="27"/>
                    </a:lnTo>
                    <a:lnTo>
                      <a:pt x="68" y="0"/>
                    </a:lnTo>
                    <a:lnTo>
                      <a:pt x="85" y="0"/>
                    </a:lnTo>
                    <a:lnTo>
                      <a:pt x="85" y="4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7" name="Freeform 205"/>
              <p:cNvSpPr>
                <a:spLocks/>
              </p:cNvSpPr>
              <p:nvPr/>
            </p:nvSpPr>
            <p:spPr bwMode="gray">
              <a:xfrm>
                <a:off x="3183" y="1972"/>
                <a:ext cx="42" cy="8"/>
              </a:xfrm>
              <a:custGeom>
                <a:avLst/>
                <a:gdLst>
                  <a:gd name="T0" fmla="*/ 1 w 82"/>
                  <a:gd name="T1" fmla="*/ 0 h 17"/>
                  <a:gd name="T2" fmla="*/ 1 w 82"/>
                  <a:gd name="T3" fmla="*/ 0 h 17"/>
                  <a:gd name="T4" fmla="*/ 0 w 82"/>
                  <a:gd name="T5" fmla="*/ 0 h 17"/>
                  <a:gd name="T6" fmla="*/ 1 w 82"/>
                  <a:gd name="T7" fmla="*/ 0 h 17"/>
                  <a:gd name="T8" fmla="*/ 1 w 82"/>
                  <a:gd name="T9" fmla="*/ 0 h 17"/>
                  <a:gd name="T10" fmla="*/ 1 w 8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2"/>
                  <a:gd name="T19" fmla="*/ 0 h 17"/>
                  <a:gd name="T20" fmla="*/ 82 w 8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2" h="17">
                    <a:moveTo>
                      <a:pt x="82" y="17"/>
                    </a:moveTo>
                    <a:lnTo>
                      <a:pt x="5" y="16"/>
                    </a:lnTo>
                    <a:lnTo>
                      <a:pt x="0" y="10"/>
                    </a:lnTo>
                    <a:lnTo>
                      <a:pt x="40" y="0"/>
                    </a:lnTo>
                    <a:lnTo>
                      <a:pt x="71" y="16"/>
                    </a:lnTo>
                    <a:lnTo>
                      <a:pt x="82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8" name="Freeform 206"/>
              <p:cNvSpPr>
                <a:spLocks/>
              </p:cNvSpPr>
              <p:nvPr/>
            </p:nvSpPr>
            <p:spPr bwMode="gray">
              <a:xfrm>
                <a:off x="1827" y="1040"/>
                <a:ext cx="326" cy="112"/>
              </a:xfrm>
              <a:custGeom>
                <a:avLst/>
                <a:gdLst>
                  <a:gd name="T0" fmla="*/ 1 w 651"/>
                  <a:gd name="T1" fmla="*/ 1 h 224"/>
                  <a:gd name="T2" fmla="*/ 1 w 651"/>
                  <a:gd name="T3" fmla="*/ 1 h 224"/>
                  <a:gd name="T4" fmla="*/ 1 w 651"/>
                  <a:gd name="T5" fmla="*/ 1 h 224"/>
                  <a:gd name="T6" fmla="*/ 1 w 651"/>
                  <a:gd name="T7" fmla="*/ 1 h 224"/>
                  <a:gd name="T8" fmla="*/ 1 w 651"/>
                  <a:gd name="T9" fmla="*/ 1 h 224"/>
                  <a:gd name="T10" fmla="*/ 1 w 651"/>
                  <a:gd name="T11" fmla="*/ 1 h 224"/>
                  <a:gd name="T12" fmla="*/ 1 w 651"/>
                  <a:gd name="T13" fmla="*/ 1 h 224"/>
                  <a:gd name="T14" fmla="*/ 1 w 651"/>
                  <a:gd name="T15" fmla="*/ 1 h 224"/>
                  <a:gd name="T16" fmla="*/ 1 w 651"/>
                  <a:gd name="T17" fmla="*/ 1 h 224"/>
                  <a:gd name="T18" fmla="*/ 1 w 651"/>
                  <a:gd name="T19" fmla="*/ 1 h 224"/>
                  <a:gd name="T20" fmla="*/ 1 w 651"/>
                  <a:gd name="T21" fmla="*/ 1 h 224"/>
                  <a:gd name="T22" fmla="*/ 1 w 651"/>
                  <a:gd name="T23" fmla="*/ 1 h 224"/>
                  <a:gd name="T24" fmla="*/ 1 w 651"/>
                  <a:gd name="T25" fmla="*/ 1 h 224"/>
                  <a:gd name="T26" fmla="*/ 1 w 651"/>
                  <a:gd name="T27" fmla="*/ 1 h 224"/>
                  <a:gd name="T28" fmla="*/ 1 w 651"/>
                  <a:gd name="T29" fmla="*/ 1 h 224"/>
                  <a:gd name="T30" fmla="*/ 0 w 651"/>
                  <a:gd name="T31" fmla="*/ 1 h 224"/>
                  <a:gd name="T32" fmla="*/ 1 w 651"/>
                  <a:gd name="T33" fmla="*/ 0 h 224"/>
                  <a:gd name="T34" fmla="*/ 1 w 651"/>
                  <a:gd name="T35" fmla="*/ 0 h 224"/>
                  <a:gd name="T36" fmla="*/ 1 w 651"/>
                  <a:gd name="T37" fmla="*/ 1 h 2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51"/>
                  <a:gd name="T58" fmla="*/ 0 h 224"/>
                  <a:gd name="T59" fmla="*/ 651 w 651"/>
                  <a:gd name="T60" fmla="*/ 224 h 2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51" h="224">
                    <a:moveTo>
                      <a:pt x="640" y="44"/>
                    </a:moveTo>
                    <a:lnTo>
                      <a:pt x="463" y="136"/>
                    </a:lnTo>
                    <a:lnTo>
                      <a:pt x="446" y="107"/>
                    </a:lnTo>
                    <a:lnTo>
                      <a:pt x="438" y="107"/>
                    </a:lnTo>
                    <a:lnTo>
                      <a:pt x="236" y="224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96" y="161"/>
                    </a:lnTo>
                    <a:lnTo>
                      <a:pt x="141" y="157"/>
                    </a:lnTo>
                    <a:lnTo>
                      <a:pt x="144" y="157"/>
                    </a:lnTo>
                    <a:lnTo>
                      <a:pt x="154" y="149"/>
                    </a:lnTo>
                    <a:lnTo>
                      <a:pt x="141" y="111"/>
                    </a:lnTo>
                    <a:lnTo>
                      <a:pt x="131" y="101"/>
                    </a:lnTo>
                    <a:lnTo>
                      <a:pt x="100" y="136"/>
                    </a:lnTo>
                    <a:lnTo>
                      <a:pt x="33" y="136"/>
                    </a:lnTo>
                    <a:lnTo>
                      <a:pt x="0" y="101"/>
                    </a:lnTo>
                    <a:lnTo>
                      <a:pt x="284" y="0"/>
                    </a:lnTo>
                    <a:lnTo>
                      <a:pt x="651" y="0"/>
                    </a:lnTo>
                    <a:lnTo>
                      <a:pt x="640" y="4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49" name="Freeform 207"/>
              <p:cNvSpPr>
                <a:spLocks/>
              </p:cNvSpPr>
              <p:nvPr/>
            </p:nvSpPr>
            <p:spPr bwMode="gray">
              <a:xfrm>
                <a:off x="1763" y="1132"/>
                <a:ext cx="152" cy="48"/>
              </a:xfrm>
              <a:custGeom>
                <a:avLst/>
                <a:gdLst>
                  <a:gd name="T0" fmla="*/ 1 w 303"/>
                  <a:gd name="T1" fmla="*/ 1 h 96"/>
                  <a:gd name="T2" fmla="*/ 1 w 303"/>
                  <a:gd name="T3" fmla="*/ 1 h 96"/>
                  <a:gd name="T4" fmla="*/ 1 w 303"/>
                  <a:gd name="T5" fmla="*/ 1 h 96"/>
                  <a:gd name="T6" fmla="*/ 1 w 303"/>
                  <a:gd name="T7" fmla="*/ 1 h 96"/>
                  <a:gd name="T8" fmla="*/ 0 w 303"/>
                  <a:gd name="T9" fmla="*/ 1 h 96"/>
                  <a:gd name="T10" fmla="*/ 1 w 303"/>
                  <a:gd name="T11" fmla="*/ 0 h 96"/>
                  <a:gd name="T12" fmla="*/ 1 w 303"/>
                  <a:gd name="T13" fmla="*/ 0 h 96"/>
                  <a:gd name="T14" fmla="*/ 1 w 303"/>
                  <a:gd name="T15" fmla="*/ 1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3"/>
                  <a:gd name="T25" fmla="*/ 0 h 96"/>
                  <a:gd name="T26" fmla="*/ 303 w 303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3" h="96">
                    <a:moveTo>
                      <a:pt x="105" y="52"/>
                    </a:moveTo>
                    <a:lnTo>
                      <a:pt x="303" y="52"/>
                    </a:lnTo>
                    <a:lnTo>
                      <a:pt x="270" y="92"/>
                    </a:lnTo>
                    <a:lnTo>
                      <a:pt x="34" y="96"/>
                    </a:lnTo>
                    <a:lnTo>
                      <a:pt x="0" y="46"/>
                    </a:lnTo>
                    <a:lnTo>
                      <a:pt x="38" y="0"/>
                    </a:lnTo>
                    <a:lnTo>
                      <a:pt x="98" y="0"/>
                    </a:lnTo>
                    <a:lnTo>
                      <a:pt x="105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0" name="Freeform 208"/>
              <p:cNvSpPr>
                <a:spLocks/>
              </p:cNvSpPr>
              <p:nvPr/>
            </p:nvSpPr>
            <p:spPr bwMode="gray">
              <a:xfrm>
                <a:off x="1587" y="1170"/>
                <a:ext cx="106" cy="57"/>
              </a:xfrm>
              <a:custGeom>
                <a:avLst/>
                <a:gdLst>
                  <a:gd name="T0" fmla="*/ 1 w 211"/>
                  <a:gd name="T1" fmla="*/ 1 h 113"/>
                  <a:gd name="T2" fmla="*/ 1 w 211"/>
                  <a:gd name="T3" fmla="*/ 1 h 113"/>
                  <a:gd name="T4" fmla="*/ 1 w 211"/>
                  <a:gd name="T5" fmla="*/ 1 h 113"/>
                  <a:gd name="T6" fmla="*/ 0 w 211"/>
                  <a:gd name="T7" fmla="*/ 1 h 113"/>
                  <a:gd name="T8" fmla="*/ 1 w 211"/>
                  <a:gd name="T9" fmla="*/ 0 h 113"/>
                  <a:gd name="T10" fmla="*/ 1 w 211"/>
                  <a:gd name="T11" fmla="*/ 1 h 113"/>
                  <a:gd name="T12" fmla="*/ 1 w 211"/>
                  <a:gd name="T13" fmla="*/ 1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1"/>
                  <a:gd name="T22" fmla="*/ 0 h 113"/>
                  <a:gd name="T23" fmla="*/ 211 w 211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1" h="113">
                    <a:moveTo>
                      <a:pt x="147" y="97"/>
                    </a:moveTo>
                    <a:lnTo>
                      <a:pt x="59" y="109"/>
                    </a:lnTo>
                    <a:lnTo>
                      <a:pt x="34" y="113"/>
                    </a:lnTo>
                    <a:lnTo>
                      <a:pt x="0" y="67"/>
                    </a:lnTo>
                    <a:lnTo>
                      <a:pt x="161" y="0"/>
                    </a:lnTo>
                    <a:lnTo>
                      <a:pt x="211" y="63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1" name="Freeform 209"/>
              <p:cNvSpPr>
                <a:spLocks/>
              </p:cNvSpPr>
              <p:nvPr/>
            </p:nvSpPr>
            <p:spPr bwMode="gray">
              <a:xfrm>
                <a:off x="1418" y="1210"/>
                <a:ext cx="158" cy="64"/>
              </a:xfrm>
              <a:custGeom>
                <a:avLst/>
                <a:gdLst>
                  <a:gd name="T0" fmla="*/ 1 w 314"/>
                  <a:gd name="T1" fmla="*/ 0 h 129"/>
                  <a:gd name="T2" fmla="*/ 1 w 314"/>
                  <a:gd name="T3" fmla="*/ 0 h 129"/>
                  <a:gd name="T4" fmla="*/ 1 w 314"/>
                  <a:gd name="T5" fmla="*/ 0 h 129"/>
                  <a:gd name="T6" fmla="*/ 1 w 314"/>
                  <a:gd name="T7" fmla="*/ 0 h 129"/>
                  <a:gd name="T8" fmla="*/ 0 w 314"/>
                  <a:gd name="T9" fmla="*/ 0 h 129"/>
                  <a:gd name="T10" fmla="*/ 0 w 314"/>
                  <a:gd name="T11" fmla="*/ 0 h 129"/>
                  <a:gd name="T12" fmla="*/ 1 w 314"/>
                  <a:gd name="T13" fmla="*/ 0 h 129"/>
                  <a:gd name="T14" fmla="*/ 1 w 314"/>
                  <a:gd name="T15" fmla="*/ 0 h 129"/>
                  <a:gd name="T16" fmla="*/ 1 w 314"/>
                  <a:gd name="T17" fmla="*/ 0 h 129"/>
                  <a:gd name="T18" fmla="*/ 1 w 314"/>
                  <a:gd name="T19" fmla="*/ 0 h 129"/>
                  <a:gd name="T20" fmla="*/ 1 w 314"/>
                  <a:gd name="T21" fmla="*/ 0 h 129"/>
                  <a:gd name="T22" fmla="*/ 1 w 314"/>
                  <a:gd name="T23" fmla="*/ 0 h 129"/>
                  <a:gd name="T24" fmla="*/ 1 w 314"/>
                  <a:gd name="T25" fmla="*/ 0 h 129"/>
                  <a:gd name="T26" fmla="*/ 1 w 314"/>
                  <a:gd name="T27" fmla="*/ 0 h 12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4"/>
                  <a:gd name="T43" fmla="*/ 0 h 129"/>
                  <a:gd name="T44" fmla="*/ 314 w 314"/>
                  <a:gd name="T45" fmla="*/ 129 h 12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4" h="129">
                    <a:moveTo>
                      <a:pt x="314" y="77"/>
                    </a:moveTo>
                    <a:lnTo>
                      <a:pt x="255" y="129"/>
                    </a:lnTo>
                    <a:lnTo>
                      <a:pt x="117" y="77"/>
                    </a:lnTo>
                    <a:lnTo>
                      <a:pt x="17" y="115"/>
                    </a:lnTo>
                    <a:lnTo>
                      <a:pt x="0" y="87"/>
                    </a:lnTo>
                    <a:lnTo>
                      <a:pt x="0" y="77"/>
                    </a:lnTo>
                    <a:lnTo>
                      <a:pt x="57" y="23"/>
                    </a:lnTo>
                    <a:lnTo>
                      <a:pt x="57" y="18"/>
                    </a:lnTo>
                    <a:lnTo>
                      <a:pt x="53" y="16"/>
                    </a:lnTo>
                    <a:lnTo>
                      <a:pt x="42" y="16"/>
                    </a:lnTo>
                    <a:lnTo>
                      <a:pt x="211" y="31"/>
                    </a:lnTo>
                    <a:lnTo>
                      <a:pt x="280" y="0"/>
                    </a:lnTo>
                    <a:lnTo>
                      <a:pt x="290" y="52"/>
                    </a:lnTo>
                    <a:lnTo>
                      <a:pt x="314" y="7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2" name="Freeform 210"/>
              <p:cNvSpPr>
                <a:spLocks/>
              </p:cNvSpPr>
              <p:nvPr/>
            </p:nvSpPr>
            <p:spPr bwMode="gray">
              <a:xfrm>
                <a:off x="1534" y="1132"/>
                <a:ext cx="95" cy="48"/>
              </a:xfrm>
              <a:custGeom>
                <a:avLst/>
                <a:gdLst>
                  <a:gd name="T0" fmla="*/ 0 w 192"/>
                  <a:gd name="T1" fmla="*/ 1 h 96"/>
                  <a:gd name="T2" fmla="*/ 0 w 192"/>
                  <a:gd name="T3" fmla="*/ 1 h 96"/>
                  <a:gd name="T4" fmla="*/ 0 w 192"/>
                  <a:gd name="T5" fmla="*/ 1 h 96"/>
                  <a:gd name="T6" fmla="*/ 0 w 192"/>
                  <a:gd name="T7" fmla="*/ 1 h 96"/>
                  <a:gd name="T8" fmla="*/ 0 w 192"/>
                  <a:gd name="T9" fmla="*/ 0 h 96"/>
                  <a:gd name="T10" fmla="*/ 0 w 192"/>
                  <a:gd name="T11" fmla="*/ 1 h 96"/>
                  <a:gd name="T12" fmla="*/ 0 w 192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96"/>
                  <a:gd name="T23" fmla="*/ 192 w 192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96">
                    <a:moveTo>
                      <a:pt x="192" y="4"/>
                    </a:moveTo>
                    <a:lnTo>
                      <a:pt x="192" y="52"/>
                    </a:lnTo>
                    <a:lnTo>
                      <a:pt x="35" y="96"/>
                    </a:lnTo>
                    <a:lnTo>
                      <a:pt x="0" y="52"/>
                    </a:lnTo>
                    <a:lnTo>
                      <a:pt x="46" y="0"/>
                    </a:lnTo>
                    <a:lnTo>
                      <a:pt x="88" y="15"/>
                    </a:lnTo>
                    <a:lnTo>
                      <a:pt x="192" y="4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3" name="Freeform 211"/>
              <p:cNvSpPr>
                <a:spLocks/>
              </p:cNvSpPr>
              <p:nvPr/>
            </p:nvSpPr>
            <p:spPr bwMode="gray">
              <a:xfrm>
                <a:off x="1702" y="1132"/>
                <a:ext cx="42" cy="29"/>
              </a:xfrm>
              <a:custGeom>
                <a:avLst/>
                <a:gdLst>
                  <a:gd name="T0" fmla="*/ 1 w 82"/>
                  <a:gd name="T1" fmla="*/ 1 h 57"/>
                  <a:gd name="T2" fmla="*/ 1 w 82"/>
                  <a:gd name="T3" fmla="*/ 1 h 57"/>
                  <a:gd name="T4" fmla="*/ 0 w 82"/>
                  <a:gd name="T5" fmla="*/ 0 h 57"/>
                  <a:gd name="T6" fmla="*/ 1 w 82"/>
                  <a:gd name="T7" fmla="*/ 0 h 57"/>
                  <a:gd name="T8" fmla="*/ 1 w 82"/>
                  <a:gd name="T9" fmla="*/ 1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57"/>
                  <a:gd name="T17" fmla="*/ 82 w 82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57">
                    <a:moveTo>
                      <a:pt x="31" y="52"/>
                    </a:moveTo>
                    <a:lnTo>
                      <a:pt x="13" y="57"/>
                    </a:lnTo>
                    <a:lnTo>
                      <a:pt x="0" y="0"/>
                    </a:lnTo>
                    <a:lnTo>
                      <a:pt x="82" y="0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4" name="Freeform 212"/>
              <p:cNvSpPr>
                <a:spLocks/>
              </p:cNvSpPr>
              <p:nvPr/>
            </p:nvSpPr>
            <p:spPr bwMode="gray">
              <a:xfrm>
                <a:off x="1366" y="1163"/>
                <a:ext cx="131" cy="54"/>
              </a:xfrm>
              <a:custGeom>
                <a:avLst/>
                <a:gdLst>
                  <a:gd name="T0" fmla="*/ 0 w 263"/>
                  <a:gd name="T1" fmla="*/ 0 h 110"/>
                  <a:gd name="T2" fmla="*/ 0 w 263"/>
                  <a:gd name="T3" fmla="*/ 0 h 110"/>
                  <a:gd name="T4" fmla="*/ 0 w 263"/>
                  <a:gd name="T5" fmla="*/ 0 h 110"/>
                  <a:gd name="T6" fmla="*/ 0 w 263"/>
                  <a:gd name="T7" fmla="*/ 0 h 110"/>
                  <a:gd name="T8" fmla="*/ 0 w 263"/>
                  <a:gd name="T9" fmla="*/ 0 h 110"/>
                  <a:gd name="T10" fmla="*/ 0 w 263"/>
                  <a:gd name="T11" fmla="*/ 0 h 110"/>
                  <a:gd name="T12" fmla="*/ 0 w 263"/>
                  <a:gd name="T13" fmla="*/ 0 h 1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3"/>
                  <a:gd name="T22" fmla="*/ 0 h 110"/>
                  <a:gd name="T23" fmla="*/ 263 w 263"/>
                  <a:gd name="T24" fmla="*/ 110 h 1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3" h="110">
                    <a:moveTo>
                      <a:pt x="263" y="46"/>
                    </a:moveTo>
                    <a:lnTo>
                      <a:pt x="63" y="110"/>
                    </a:lnTo>
                    <a:lnTo>
                      <a:pt x="4" y="79"/>
                    </a:lnTo>
                    <a:lnTo>
                      <a:pt x="0" y="79"/>
                    </a:lnTo>
                    <a:lnTo>
                      <a:pt x="159" y="0"/>
                    </a:lnTo>
                    <a:lnTo>
                      <a:pt x="263" y="0"/>
                    </a:lnTo>
                    <a:lnTo>
                      <a:pt x="263" y="4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5" name="Freeform 213"/>
              <p:cNvSpPr>
                <a:spLocks/>
              </p:cNvSpPr>
              <p:nvPr/>
            </p:nvSpPr>
            <p:spPr bwMode="gray">
              <a:xfrm>
                <a:off x="1869" y="1682"/>
                <a:ext cx="98" cy="92"/>
              </a:xfrm>
              <a:custGeom>
                <a:avLst/>
                <a:gdLst>
                  <a:gd name="T0" fmla="*/ 1 w 196"/>
                  <a:gd name="T1" fmla="*/ 1 h 184"/>
                  <a:gd name="T2" fmla="*/ 1 w 196"/>
                  <a:gd name="T3" fmla="*/ 1 h 184"/>
                  <a:gd name="T4" fmla="*/ 1 w 196"/>
                  <a:gd name="T5" fmla="*/ 1 h 184"/>
                  <a:gd name="T6" fmla="*/ 1 w 196"/>
                  <a:gd name="T7" fmla="*/ 1 h 184"/>
                  <a:gd name="T8" fmla="*/ 1 w 196"/>
                  <a:gd name="T9" fmla="*/ 1 h 184"/>
                  <a:gd name="T10" fmla="*/ 1 w 196"/>
                  <a:gd name="T11" fmla="*/ 1 h 184"/>
                  <a:gd name="T12" fmla="*/ 1 w 196"/>
                  <a:gd name="T13" fmla="*/ 1 h 184"/>
                  <a:gd name="T14" fmla="*/ 1 w 196"/>
                  <a:gd name="T15" fmla="*/ 1 h 184"/>
                  <a:gd name="T16" fmla="*/ 1 w 196"/>
                  <a:gd name="T17" fmla="*/ 1 h 184"/>
                  <a:gd name="T18" fmla="*/ 1 w 196"/>
                  <a:gd name="T19" fmla="*/ 1 h 184"/>
                  <a:gd name="T20" fmla="*/ 1 w 196"/>
                  <a:gd name="T21" fmla="*/ 1 h 184"/>
                  <a:gd name="T22" fmla="*/ 1 w 196"/>
                  <a:gd name="T23" fmla="*/ 1 h 184"/>
                  <a:gd name="T24" fmla="*/ 1 w 196"/>
                  <a:gd name="T25" fmla="*/ 1 h 184"/>
                  <a:gd name="T26" fmla="*/ 1 w 196"/>
                  <a:gd name="T27" fmla="*/ 1 h 184"/>
                  <a:gd name="T28" fmla="*/ 0 w 196"/>
                  <a:gd name="T29" fmla="*/ 1 h 184"/>
                  <a:gd name="T30" fmla="*/ 1 w 196"/>
                  <a:gd name="T31" fmla="*/ 1 h 184"/>
                  <a:gd name="T32" fmla="*/ 1 w 196"/>
                  <a:gd name="T33" fmla="*/ 1 h 184"/>
                  <a:gd name="T34" fmla="*/ 1 w 196"/>
                  <a:gd name="T35" fmla="*/ 0 h 184"/>
                  <a:gd name="T36" fmla="*/ 1 w 196"/>
                  <a:gd name="T37" fmla="*/ 0 h 184"/>
                  <a:gd name="T38" fmla="*/ 1 w 196"/>
                  <a:gd name="T39" fmla="*/ 1 h 18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6"/>
                  <a:gd name="T61" fmla="*/ 0 h 184"/>
                  <a:gd name="T62" fmla="*/ 196 w 196"/>
                  <a:gd name="T63" fmla="*/ 184 h 18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6" h="184">
                    <a:moveTo>
                      <a:pt x="144" y="17"/>
                    </a:moveTo>
                    <a:lnTo>
                      <a:pt x="117" y="28"/>
                    </a:lnTo>
                    <a:lnTo>
                      <a:pt x="148" y="49"/>
                    </a:lnTo>
                    <a:lnTo>
                      <a:pt x="159" y="49"/>
                    </a:lnTo>
                    <a:lnTo>
                      <a:pt x="159" y="94"/>
                    </a:lnTo>
                    <a:lnTo>
                      <a:pt x="182" y="99"/>
                    </a:lnTo>
                    <a:lnTo>
                      <a:pt x="196" y="99"/>
                    </a:lnTo>
                    <a:lnTo>
                      <a:pt x="165" y="176"/>
                    </a:lnTo>
                    <a:lnTo>
                      <a:pt x="165" y="180"/>
                    </a:lnTo>
                    <a:lnTo>
                      <a:pt x="159" y="184"/>
                    </a:lnTo>
                    <a:lnTo>
                      <a:pt x="98" y="130"/>
                    </a:lnTo>
                    <a:lnTo>
                      <a:pt x="111" y="107"/>
                    </a:lnTo>
                    <a:lnTo>
                      <a:pt x="113" y="103"/>
                    </a:lnTo>
                    <a:lnTo>
                      <a:pt x="13" y="99"/>
                    </a:lnTo>
                    <a:lnTo>
                      <a:pt x="0" y="99"/>
                    </a:lnTo>
                    <a:lnTo>
                      <a:pt x="36" y="46"/>
                    </a:lnTo>
                    <a:lnTo>
                      <a:pt x="50" y="28"/>
                    </a:lnTo>
                    <a:lnTo>
                      <a:pt x="134" y="0"/>
                    </a:lnTo>
                    <a:lnTo>
                      <a:pt x="144" y="0"/>
                    </a:lnTo>
                    <a:lnTo>
                      <a:pt x="144" y="1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6" name="Freeform 214"/>
              <p:cNvSpPr>
                <a:spLocks/>
              </p:cNvSpPr>
              <p:nvPr/>
            </p:nvSpPr>
            <p:spPr bwMode="gray">
              <a:xfrm>
                <a:off x="1268" y="2266"/>
                <a:ext cx="173" cy="65"/>
              </a:xfrm>
              <a:custGeom>
                <a:avLst/>
                <a:gdLst>
                  <a:gd name="T0" fmla="*/ 0 w 348"/>
                  <a:gd name="T1" fmla="*/ 0 h 131"/>
                  <a:gd name="T2" fmla="*/ 0 w 348"/>
                  <a:gd name="T3" fmla="*/ 0 h 131"/>
                  <a:gd name="T4" fmla="*/ 0 w 348"/>
                  <a:gd name="T5" fmla="*/ 0 h 131"/>
                  <a:gd name="T6" fmla="*/ 0 w 348"/>
                  <a:gd name="T7" fmla="*/ 0 h 131"/>
                  <a:gd name="T8" fmla="*/ 0 w 348"/>
                  <a:gd name="T9" fmla="*/ 0 h 131"/>
                  <a:gd name="T10" fmla="*/ 0 w 348"/>
                  <a:gd name="T11" fmla="*/ 0 h 131"/>
                  <a:gd name="T12" fmla="*/ 0 w 348"/>
                  <a:gd name="T13" fmla="*/ 0 h 131"/>
                  <a:gd name="T14" fmla="*/ 0 w 348"/>
                  <a:gd name="T15" fmla="*/ 0 h 131"/>
                  <a:gd name="T16" fmla="*/ 0 w 348"/>
                  <a:gd name="T17" fmla="*/ 0 h 131"/>
                  <a:gd name="T18" fmla="*/ 0 w 348"/>
                  <a:gd name="T19" fmla="*/ 0 h 131"/>
                  <a:gd name="T20" fmla="*/ 0 w 348"/>
                  <a:gd name="T21" fmla="*/ 0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8"/>
                  <a:gd name="T34" fmla="*/ 0 h 131"/>
                  <a:gd name="T35" fmla="*/ 348 w 348"/>
                  <a:gd name="T36" fmla="*/ 131 h 1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8" h="131">
                    <a:moveTo>
                      <a:pt x="259" y="68"/>
                    </a:moveTo>
                    <a:lnTo>
                      <a:pt x="348" y="127"/>
                    </a:lnTo>
                    <a:lnTo>
                      <a:pt x="219" y="131"/>
                    </a:lnTo>
                    <a:lnTo>
                      <a:pt x="206" y="104"/>
                    </a:lnTo>
                    <a:lnTo>
                      <a:pt x="98" y="52"/>
                    </a:lnTo>
                    <a:lnTo>
                      <a:pt x="18" y="46"/>
                    </a:lnTo>
                    <a:lnTo>
                      <a:pt x="0" y="21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81" y="12"/>
                    </a:lnTo>
                    <a:lnTo>
                      <a:pt x="259" y="68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7" name="Freeform 215"/>
              <p:cNvSpPr>
                <a:spLocks/>
              </p:cNvSpPr>
              <p:nvPr/>
            </p:nvSpPr>
            <p:spPr bwMode="gray">
              <a:xfrm>
                <a:off x="1437" y="2341"/>
                <a:ext cx="104" cy="36"/>
              </a:xfrm>
              <a:custGeom>
                <a:avLst/>
                <a:gdLst>
                  <a:gd name="T0" fmla="*/ 0 w 209"/>
                  <a:gd name="T1" fmla="*/ 1 h 71"/>
                  <a:gd name="T2" fmla="*/ 0 w 209"/>
                  <a:gd name="T3" fmla="*/ 1 h 71"/>
                  <a:gd name="T4" fmla="*/ 0 w 209"/>
                  <a:gd name="T5" fmla="*/ 1 h 71"/>
                  <a:gd name="T6" fmla="*/ 0 w 209"/>
                  <a:gd name="T7" fmla="*/ 1 h 71"/>
                  <a:gd name="T8" fmla="*/ 0 w 209"/>
                  <a:gd name="T9" fmla="*/ 1 h 71"/>
                  <a:gd name="T10" fmla="*/ 0 w 209"/>
                  <a:gd name="T11" fmla="*/ 1 h 71"/>
                  <a:gd name="T12" fmla="*/ 0 w 209"/>
                  <a:gd name="T13" fmla="*/ 1 h 71"/>
                  <a:gd name="T14" fmla="*/ 0 w 209"/>
                  <a:gd name="T15" fmla="*/ 1 h 71"/>
                  <a:gd name="T16" fmla="*/ 0 w 209"/>
                  <a:gd name="T17" fmla="*/ 1 h 71"/>
                  <a:gd name="T18" fmla="*/ 0 w 209"/>
                  <a:gd name="T19" fmla="*/ 1 h 71"/>
                  <a:gd name="T20" fmla="*/ 0 w 209"/>
                  <a:gd name="T21" fmla="*/ 0 h 71"/>
                  <a:gd name="T22" fmla="*/ 0 w 209"/>
                  <a:gd name="T23" fmla="*/ 1 h 71"/>
                  <a:gd name="T24" fmla="*/ 0 w 209"/>
                  <a:gd name="T25" fmla="*/ 1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9"/>
                  <a:gd name="T40" fmla="*/ 0 h 71"/>
                  <a:gd name="T41" fmla="*/ 209 w 209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9" h="71">
                    <a:moveTo>
                      <a:pt x="207" y="13"/>
                    </a:moveTo>
                    <a:lnTo>
                      <a:pt x="209" y="71"/>
                    </a:lnTo>
                    <a:lnTo>
                      <a:pt x="148" y="31"/>
                    </a:lnTo>
                    <a:lnTo>
                      <a:pt x="144" y="29"/>
                    </a:lnTo>
                    <a:lnTo>
                      <a:pt x="117" y="67"/>
                    </a:lnTo>
                    <a:lnTo>
                      <a:pt x="111" y="71"/>
                    </a:lnTo>
                    <a:lnTo>
                      <a:pt x="81" y="29"/>
                    </a:lnTo>
                    <a:lnTo>
                      <a:pt x="4" y="71"/>
                    </a:lnTo>
                    <a:lnTo>
                      <a:pt x="0" y="29"/>
                    </a:lnTo>
                    <a:lnTo>
                      <a:pt x="65" y="4"/>
                    </a:lnTo>
                    <a:lnTo>
                      <a:pt x="77" y="0"/>
                    </a:lnTo>
                    <a:lnTo>
                      <a:pt x="183" y="4"/>
                    </a:lnTo>
                    <a:lnTo>
                      <a:pt x="207" y="13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8" name="Freeform 216"/>
              <p:cNvSpPr>
                <a:spLocks/>
              </p:cNvSpPr>
              <p:nvPr/>
            </p:nvSpPr>
            <p:spPr bwMode="gray">
              <a:xfrm>
                <a:off x="1366" y="2349"/>
                <a:ext cx="43" cy="40"/>
              </a:xfrm>
              <a:custGeom>
                <a:avLst/>
                <a:gdLst>
                  <a:gd name="T0" fmla="*/ 1 w 86"/>
                  <a:gd name="T1" fmla="*/ 0 h 81"/>
                  <a:gd name="T2" fmla="*/ 1 w 86"/>
                  <a:gd name="T3" fmla="*/ 0 h 81"/>
                  <a:gd name="T4" fmla="*/ 1 w 86"/>
                  <a:gd name="T5" fmla="*/ 0 h 81"/>
                  <a:gd name="T6" fmla="*/ 1 w 86"/>
                  <a:gd name="T7" fmla="*/ 0 h 81"/>
                  <a:gd name="T8" fmla="*/ 0 w 86"/>
                  <a:gd name="T9" fmla="*/ 0 h 81"/>
                  <a:gd name="T10" fmla="*/ 0 w 86"/>
                  <a:gd name="T11" fmla="*/ 0 h 81"/>
                  <a:gd name="T12" fmla="*/ 1 w 86"/>
                  <a:gd name="T13" fmla="*/ 0 h 81"/>
                  <a:gd name="T14" fmla="*/ 1 w 86"/>
                  <a:gd name="T15" fmla="*/ 0 h 81"/>
                  <a:gd name="T16" fmla="*/ 1 w 86"/>
                  <a:gd name="T17" fmla="*/ 0 h 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81"/>
                  <a:gd name="T29" fmla="*/ 86 w 86"/>
                  <a:gd name="T30" fmla="*/ 81 h 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81">
                    <a:moveTo>
                      <a:pt x="86" y="56"/>
                    </a:moveTo>
                    <a:lnTo>
                      <a:pt x="86" y="66"/>
                    </a:lnTo>
                    <a:lnTo>
                      <a:pt x="60" y="75"/>
                    </a:lnTo>
                    <a:lnTo>
                      <a:pt x="58" y="81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5" y="0"/>
                    </a:lnTo>
                    <a:lnTo>
                      <a:pt x="58" y="0"/>
                    </a:lnTo>
                    <a:lnTo>
                      <a:pt x="86" y="5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  <p:sp>
            <p:nvSpPr>
              <p:cNvPr id="159" name="Freeform 217"/>
              <p:cNvSpPr>
                <a:spLocks/>
              </p:cNvSpPr>
              <p:nvPr/>
            </p:nvSpPr>
            <p:spPr bwMode="gray">
              <a:xfrm>
                <a:off x="1908" y="3896"/>
                <a:ext cx="59" cy="19"/>
              </a:xfrm>
              <a:custGeom>
                <a:avLst/>
                <a:gdLst>
                  <a:gd name="T0" fmla="*/ 0 w 119"/>
                  <a:gd name="T1" fmla="*/ 0 h 39"/>
                  <a:gd name="T2" fmla="*/ 0 w 119"/>
                  <a:gd name="T3" fmla="*/ 0 h 39"/>
                  <a:gd name="T4" fmla="*/ 0 w 119"/>
                  <a:gd name="T5" fmla="*/ 0 h 39"/>
                  <a:gd name="T6" fmla="*/ 0 w 119"/>
                  <a:gd name="T7" fmla="*/ 0 h 39"/>
                  <a:gd name="T8" fmla="*/ 0 w 119"/>
                  <a:gd name="T9" fmla="*/ 0 h 39"/>
                  <a:gd name="T10" fmla="*/ 0 w 119"/>
                  <a:gd name="T11" fmla="*/ 0 h 39"/>
                  <a:gd name="T12" fmla="*/ 0 w 119"/>
                  <a:gd name="T13" fmla="*/ 0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9"/>
                  <a:gd name="T22" fmla="*/ 0 h 39"/>
                  <a:gd name="T23" fmla="*/ 119 w 119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9" h="39">
                    <a:moveTo>
                      <a:pt x="119" y="6"/>
                    </a:moveTo>
                    <a:lnTo>
                      <a:pt x="119" y="16"/>
                    </a:lnTo>
                    <a:lnTo>
                      <a:pt x="78" y="37"/>
                    </a:lnTo>
                    <a:lnTo>
                      <a:pt x="0" y="39"/>
                    </a:lnTo>
                    <a:lnTo>
                      <a:pt x="74" y="0"/>
                    </a:lnTo>
                    <a:lnTo>
                      <a:pt x="117" y="0"/>
                    </a:lnTo>
                    <a:lnTo>
                      <a:pt x="119" y="6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en-US" dirty="0">
                  <a:latin typeface="Source Sans Pro"/>
                  <a:cs typeface="Source Sans Pro"/>
                </a:endParaRPr>
              </a:p>
            </p:txBody>
          </p:sp>
        </p:grpSp>
      </p:grpSp>
      <p:sp>
        <p:nvSpPr>
          <p:cNvPr id="169" name="Rectangle 3"/>
          <p:cNvSpPr>
            <a:spLocks noChangeArrowheads="1"/>
          </p:cNvSpPr>
          <p:nvPr/>
        </p:nvSpPr>
        <p:spPr bwMode="gray">
          <a:xfrm>
            <a:off x="25401" y="5989638"/>
            <a:ext cx="9278938" cy="328612"/>
          </a:xfrm>
          <a:prstGeom prst="rect">
            <a:avLst/>
          </a:prstGeom>
          <a:noFill/>
          <a:ln w="9525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eaLnBrk="0" hangingPunct="0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  <a:latin typeface="Source Sans Pro"/>
                <a:cs typeface="Source Sans Pro"/>
              </a:rPr>
              <a:t>Source: </a:t>
            </a:r>
            <a:r>
              <a:rPr lang="fr-FR" sz="800" dirty="0">
                <a:solidFill>
                  <a:srgbClr val="000000"/>
                </a:solidFill>
                <a:latin typeface="Source Sans Pro"/>
                <a:cs typeface="Source Sans Pro"/>
              </a:rPr>
              <a:t>BCG SME </a:t>
            </a:r>
            <a:r>
              <a:rPr lang="fr-FR" sz="800" dirty="0" smtClean="0">
                <a:solidFill>
                  <a:srgbClr val="000000"/>
                </a:solidFill>
                <a:latin typeface="Source Sans Pro"/>
                <a:cs typeface="Source Sans Pro"/>
              </a:rPr>
              <a:t>Internet </a:t>
            </a:r>
            <a:r>
              <a:rPr lang="fr-FR" sz="800" dirty="0">
                <a:solidFill>
                  <a:srgbClr val="000000"/>
                </a:solidFill>
                <a:latin typeface="Source Sans Pro"/>
                <a:cs typeface="Source Sans Pro"/>
              </a:rPr>
              <a:t>e-Friction survey 2013</a:t>
            </a:r>
            <a:endParaRPr lang="en-GB" sz="800" dirty="0">
              <a:solidFill>
                <a:srgbClr val="000000"/>
              </a:solidFill>
              <a:latin typeface="Source Sans Pro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2125075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Reducing e-Friction essential to help SMEs go further </a:t>
            </a:r>
            <a:r>
              <a:rPr lang="en-US" sz="2800" dirty="0"/>
              <a:t>online</a:t>
            </a:r>
          </a:p>
        </p:txBody>
      </p:sp>
      <p:sp>
        <p:nvSpPr>
          <p:cNvPr id="3" name="Rectangle 2"/>
          <p:cNvSpPr/>
          <p:nvPr/>
        </p:nvSpPr>
        <p:spPr>
          <a:xfrm flipH="1">
            <a:off x="270583" y="2404659"/>
            <a:ext cx="375671" cy="1897036"/>
          </a:xfrm>
          <a:prstGeom prst="rect">
            <a:avLst/>
          </a:prstGeom>
          <a:solidFill>
            <a:srgbClr val="9C3328"/>
          </a:solidFill>
          <a:ln w="25400">
            <a:solidFill>
              <a:srgbClr val="9C332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bg1"/>
                </a:solidFill>
                <a:latin typeface="Source Sans Pro"/>
                <a:cs typeface="Source Sans Pro"/>
              </a:rPr>
              <a:t>Industry</a:t>
            </a:r>
          </a:p>
        </p:txBody>
      </p:sp>
      <p:sp>
        <p:nvSpPr>
          <p:cNvPr id="4" name="Rectangle 3"/>
          <p:cNvSpPr/>
          <p:nvPr/>
        </p:nvSpPr>
        <p:spPr>
          <a:xfrm flipH="1">
            <a:off x="270584" y="4373009"/>
            <a:ext cx="375670" cy="920513"/>
          </a:xfrm>
          <a:prstGeom prst="rect">
            <a:avLst/>
          </a:prstGeom>
          <a:solidFill>
            <a:srgbClr val="4D4D4D"/>
          </a:solidFill>
          <a:ln w="25400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bg1"/>
                </a:solidFill>
                <a:latin typeface="Source Sans Pro"/>
                <a:cs typeface="Source Sans Pro"/>
              </a:rPr>
              <a:t>Individuals</a:t>
            </a:r>
          </a:p>
        </p:txBody>
      </p:sp>
      <p:sp>
        <p:nvSpPr>
          <p:cNvPr id="5" name="Rectangle 4"/>
          <p:cNvSpPr/>
          <p:nvPr/>
        </p:nvSpPr>
        <p:spPr>
          <a:xfrm flipH="1">
            <a:off x="270584" y="1200592"/>
            <a:ext cx="375670" cy="1132763"/>
          </a:xfrm>
          <a:prstGeom prst="rect">
            <a:avLst/>
          </a:prstGeom>
          <a:solidFill>
            <a:schemeClr val="tx2"/>
          </a:solidFill>
          <a:ln w="254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bg1"/>
                </a:solidFill>
                <a:latin typeface="Source Sans Pro"/>
                <a:cs typeface="Source Sans Pro"/>
              </a:rPr>
              <a:t>Infrastructure</a:t>
            </a:r>
          </a:p>
        </p:txBody>
      </p:sp>
      <p:graphicFrame>
        <p:nvGraphicFramePr>
          <p:cNvPr id="6" name="Object 8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588786"/>
              </p:ext>
            </p:extLst>
          </p:nvPr>
        </p:nvGraphicFramePr>
        <p:xfrm>
          <a:off x="3406775" y="1230313"/>
          <a:ext cx="5156200" cy="508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2" name="Chart" r:id="rId62" imgW="5156200" imgH="5080000" progId="MSGraph.Chart.8">
                  <p:embed followColorScheme="full"/>
                </p:oleObj>
              </mc:Choice>
              <mc:Fallback>
                <p:oleObj name="Chart" r:id="rId62" imgW="5156200" imgH="50800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06775" y="1230313"/>
                        <a:ext cx="5156200" cy="5080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09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423988" y="5999163"/>
            <a:ext cx="20494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4E6F3565-56E4-4239-8A67-763F5D514446}" type="datetime'Diffic''u''lty t''''o ob''tai''''n a'' ''w''ebsite doma''in '">
              <a:rPr lang="en-US" sz="1000">
                <a:latin typeface="Source Sans Pro"/>
                <a:cs typeface="Source Sans Pro"/>
              </a:rPr>
              <a:pPr algn="r"/>
              <a:t>Difficulty to obtain a website domain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8" name="Text Placeholder 155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983038" y="6015040"/>
            <a:ext cx="2428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6D978651-8AEA-48C8-81AE-91B4DDDD62E6}" type="datetime'''2''''''''''''2''''''%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2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9" name="Text Placeholder 10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43064" y="5832475"/>
            <a:ext cx="18303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D3684530-157A-4E1F-A17B-88D03D16D43D}" type="datetime'Co''''''''st t''o ob''ta''''in a ''web''''sit''e dom''ain'' '">
              <a:rPr lang="en-US" sz="1000">
                <a:latin typeface="Source Sans Pro"/>
                <a:cs typeface="Source Sans Pro"/>
              </a:rPr>
              <a:pPr algn="r"/>
              <a:t>Cost to obtain a website domain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0" name="Text Placeholder 15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087813" y="584835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CA46F3B8-5892-401A-8F4A-FD96096F3983}" type="datetime'''''''''''''''''''''''''''''''''''2''6''''''''%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6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1" name="Text Placeholder 10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11326" y="5665788"/>
            <a:ext cx="1762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C1E1BE86-395E-4439-B0F4-62040D87D1EC}" type="datetime'''C''''hoi''''''ce of onli''n''e'' ''tool''''s provide''''rs'">
              <a:rPr lang="en-US" sz="1000">
                <a:latin typeface="Source Sans Pro"/>
                <a:cs typeface="Source Sans Pro"/>
              </a:rPr>
              <a:pPr algn="r"/>
              <a:t>Choice of online tools provider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12" name="Text Placeholder 149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111625" y="56816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33C609E0-C748-4D7C-BC7B-01A80A21E644}" type="datetime'''''''''''''''''''''2''''''''7''''''''%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7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3" name="Text Placeholder 10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68376" y="5503863"/>
            <a:ext cx="25050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4FC14189-94E6-4C94-9616-1A4EB6EBBB5D}" type="datetime'''Co''mplexity to set ''up and ''''main''tain a ''we''bsite '">
              <a:rPr lang="en-US" sz="1000">
                <a:latin typeface="Source Sans Pro"/>
                <a:cs typeface="Source Sans Pro"/>
              </a:rPr>
              <a:pPr algn="r"/>
              <a:t>Complexity to set up and maintain a website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4" name="Text Placeholder 14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68776" y="551974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FD44F864-495D-4681-99C7-AB1179A8186D}" type="datetime'''''''''''''''''''''2''''9''''''''''''''%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9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5" name="Text Placeholder 10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335088" y="5337175"/>
            <a:ext cx="2138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8B21E277-130E-4EDE-8775-4C3F47FE26F5}" type="datetime'''Co''st to ''set ''up a''''nd mai''nta''in'' a web''si''te '">
              <a:rPr lang="en-US" sz="1000">
                <a:latin typeface="Source Sans Pro"/>
                <a:cs typeface="Source Sans Pro"/>
              </a:rPr>
              <a:pPr algn="r"/>
              <a:t>Cost to set up and maintain a website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6" name="Text Placeholder 14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197350" y="5353050"/>
            <a:ext cx="2428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640EE21D-BA47-4639-B686-BDD32B87A977}" type="datetime'''''''''''''''''''''''3''''''''''''''''''0''''''''''''%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0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7" name="Text Placeholder 10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162050" y="5170488"/>
            <a:ext cx="2311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51F65C26-6232-41CA-A4B1-B5BF2BA1E329}" type="datetime'Customers'' intere''st ''to i''nteract ''via'' w''ebs''ite'''">
              <a:rPr lang="en-US" sz="1000">
                <a:latin typeface="Source Sans Pro"/>
                <a:cs typeface="Source Sans Pro"/>
              </a:rPr>
              <a:pPr algn="r"/>
              <a:t>Customers interest to interact via websit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8" name="Text Placeholder 14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016376" y="51863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37F753C-AA19-4A37-A3F6-F984F58BC679}" type="datetime'''''2''''''''3''''''''''''''''''''''''''''''''''%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3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19" name="Text Placeholder 10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00226" y="5008563"/>
            <a:ext cx="16732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62A6E3E7-7CE7-4926-94BB-AB70FE1AC0BA}" type="datetime'''Cu''s''t''o''''''mers’ ''skil''ls to'' ''be ''onli''n''e '''">
              <a:rPr lang="en-US" sz="1000">
                <a:latin typeface="Source Sans Pro"/>
                <a:cs typeface="Source Sans Pro"/>
              </a:rPr>
              <a:pPr algn="r"/>
              <a:t>Customers’ skills to be online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20" name="Text Placeholder 13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40201" y="502444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E446070A-146B-4FB1-B38C-DF223E9B38FD}" type="datetime'2''''''''''''''''''''8%''''''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8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1" name="Text Placeholder 10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087438" y="4841875"/>
            <a:ext cx="23860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01FEC3F-5A84-4E0F-A092-4ED8294BE154}" type="datetime'Cu''stomers'''' ''''o''wnershi''p of tools to be onli''n''e '">
              <a:rPr lang="en-US" sz="1000">
                <a:latin typeface="Source Sans Pro"/>
                <a:cs typeface="Source Sans Pro"/>
              </a:rPr>
              <a:pPr algn="r"/>
              <a:t>Customers ownership of tools to be online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2" name="Text Placeholder 13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87825" y="4857750"/>
            <a:ext cx="2428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7E372194-3219-4FF9-823D-A0D9740E6819}" type="datetime'''''''''''''''''''''3''''''''''''''''0''%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0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3" name="Text Placeholder 101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419226" y="4675188"/>
            <a:ext cx="20542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056173C5-2611-493B-97E1-F41791F11F5A}" type="datetime'Safety to'' store o''''''ur data or'' sell'' ''''''on''l''ine'">
              <a:rPr lang="en-US" sz="1000">
                <a:latin typeface="Source Sans Pro"/>
                <a:cs typeface="Source Sans Pro"/>
              </a:rPr>
              <a:pPr algn="r"/>
              <a:t>Safety to store our data or sell onlin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24" name="Text Placeholder 13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206876" y="46910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52925CA5-675B-424D-B814-778EA9E26D85}" type="datetime'''''''''''''''''''31''''''''''''%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1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5" name="Text Placeholder 100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49338" y="4513263"/>
            <a:ext cx="24241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4CD88172-0380-4347-9417-7F4CFE557D6C}" type="datetime'Con''sum''''er tru''st i''n onlin''''''e payment s''ys''tems '">
              <a:rPr lang="en-US" sz="1000">
                <a:latin typeface="Source Sans Pro"/>
                <a:cs typeface="Source Sans Pro"/>
              </a:rPr>
              <a:pPr algn="r"/>
              <a:t>Consumer trust in online payment systems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6" name="Text Placeholder 12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383089" y="4529140"/>
            <a:ext cx="2428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2783E6E-224B-419A-9A6F-037CE84B3630}" type="datetime'''''''''''''''''''''''''''''''''''''''3''''8''''''%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8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7" name="Text Placeholder 9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43026" y="4346575"/>
            <a:ext cx="21304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5004B881-F0D4-4D44-90DC-D405221744FC}" type="datetime'Beli''e''''f'' in safety'' of personal ''data ''on''''li''ne'">
              <a:rPr lang="en-US" sz="1000">
                <a:latin typeface="Source Sans Pro"/>
                <a:cs typeface="Source Sans Pro"/>
              </a:rPr>
              <a:pPr algn="r"/>
              <a:t>Belief in safety of personal data onlin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28" name="Text Placeholder 12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97413" y="4362450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A801E3B3-121C-4C8F-8B53-AF22707688D1}" type="datetime'''''''''''''''''''''''''''''''''5''''''''1''''''''''''''%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51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29" name="Text Placeholder 9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654176" y="4179888"/>
            <a:ext cx="18192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4A3EBDB-008E-47FA-826D-2DBCF179EA00}" type="datetime'''''E''''''mpl''oyees acc''''e''ss ''to c''omp''u''te''r''s'''">
              <a:rPr lang="en-US" sz="1000">
                <a:latin typeface="Source Sans Pro"/>
                <a:cs typeface="Source Sans Pro"/>
              </a:rPr>
              <a:pPr algn="r"/>
              <a:t>Employees access to computer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0" name="Text Placeholder 12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016376" y="41957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AE093B20-68D2-4D39-BC47-7B53AF9510A3}" type="datetime'''''''''''''2''''''''''''''''3''''''''''''''''''''''''''%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3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1" name="Text Placeholder 97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00114" y="4017963"/>
            <a:ext cx="25733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6446328-392C-4E15-BB4D-27850A67963F}" type="datetime'Belief in ''Internet’s'' contribution to'' the bu''s''i''ness'">
              <a:rPr lang="en-US" sz="1000">
                <a:latin typeface="Source Sans Pro"/>
                <a:cs typeface="Source Sans Pro"/>
              </a:rPr>
              <a:pPr algn="r"/>
              <a:t>Belief in Internet’s contribution to the busines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32" name="Text Placeholder 119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68764" y="4033840"/>
            <a:ext cx="2428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CE86A711-39C5-4531-AB37-606A798F62F8}" type="datetime'2''''''''5''''%''''''''''''''''''''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5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3" name="Text Placeholder 96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74726" y="3851275"/>
            <a:ext cx="2498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F1BE012-1507-4E99-B81A-5F865812FE82}" type="datetime'W''illi''ngness to bu''y'' onl''ine du''e to retu''rn policy'">
              <a:rPr lang="en-US" sz="1000">
                <a:latin typeface="Source Sans Pro"/>
                <a:cs typeface="Source Sans Pro"/>
              </a:rPr>
              <a:pPr algn="r"/>
              <a:t>Willingness to buy online due to return policy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4" name="Text Placeholder 11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78301" y="3867150"/>
            <a:ext cx="2428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329C00EA-148D-4887-8BBB-6AF7EBC99ED2}" type="datetime'''''''''''''''''''''''''3''0''''''''''%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0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5" name="Text Placeholder 95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333500" y="3684588"/>
            <a:ext cx="2139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AF3C20F0-971F-4C85-861C-8430257C25FF}" type="datetime'Staff'''' ''prepa''rednes''''s ''for ''online a''ctiv''ities'">
              <a:rPr lang="en-US" sz="1000">
                <a:latin typeface="Source Sans Pro"/>
                <a:cs typeface="Source Sans Pro"/>
              </a:rPr>
              <a:pPr algn="r"/>
              <a:t>Staff preparedness for online activitie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6" name="Text Placeholder 1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87825" y="37004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2D79DA3-FC33-4474-81C9-C8A44EB1DB1C}" type="datetime'''''''''''''''''''''''''''3''''''0''''''''''''%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0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Arial" pitchFamily="34" charset="0"/>
            </a:endParaRPr>
          </a:p>
        </p:txBody>
      </p:sp>
      <p:sp>
        <p:nvSpPr>
          <p:cNvPr id="37" name="Text Placeholder 94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76276" y="3517900"/>
            <a:ext cx="2797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E101D4C5-F080-4725-A4F6-FC020EA9FF15}" type="datetime'Compa''ny’s fund to fur''t''h''er develo''p the online offer'">
              <a:rPr lang="en-US" sz="1000">
                <a:latin typeface="Source Sans Pro"/>
                <a:cs typeface="Source Sans Pro"/>
              </a:rPr>
              <a:pPr algn="r"/>
              <a:t>Company’s fund to further develop the online offer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8" name="Text Placeholder 110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192589" y="353377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8E09238A-06B5-4733-95B2-B8CA46C969B5}" type="datetime'''''''''''''''''''''''''''3''''''''0''%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0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39" name="Text Placeholder 11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44564" y="3351213"/>
            <a:ext cx="25288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B8CB0133-CF7E-412F-9FA2-85C14B568751}" type="datetime'Reliability of intel''lec''''tual ''property rights'' online'">
              <a:rPr lang="en-US" sz="1000">
                <a:latin typeface="Source Sans Pro"/>
                <a:cs typeface="Source Sans Pro"/>
              </a:rPr>
              <a:pPr algn="r"/>
              <a:t>Reliability of intellectual property rights onlin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40" name="Text Placeholder 245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264025" y="336709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5BB2E1E-3AE5-4B51-B3F1-DB9C6E0A521F}" type="datetime'''''3''''''''''''3''''''''%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3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1" name="Text Placeholder 257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38226" y="3189288"/>
            <a:ext cx="24352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61B59DE-4434-4212-A07A-95064C47FD5D}" type="datetime'Offline ''infrastru''''ct''ure'''' to support online ''sales'">
              <a:rPr lang="en-US" sz="1000">
                <a:latin typeface="Source Sans Pro"/>
                <a:cs typeface="Source Sans Pro"/>
              </a:rPr>
              <a:pPr algn="r"/>
              <a:t>Offline infrastructure to support online sale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2" name="Text Placeholder 258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287838" y="3205165"/>
            <a:ext cx="2428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460188DB-4C83-4156-B1DE-FA4F07A69753}" type="datetime'''3''''''''''''''''''''''4''''''''''''%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4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3" name="Text Placeholder 111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330326" y="3022600"/>
            <a:ext cx="2143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64F17FE8-B767-46BD-B9E2-CF1CF80E33AD}" type="datetime'Hirin''g of ma''na''''''ge''r''''s for online a''ctiviti''es'">
              <a:rPr lang="en-US" sz="1000">
                <a:latin typeface="Source Sans Pro"/>
                <a:cs typeface="Source Sans Pro"/>
              </a:rPr>
              <a:pPr algn="r"/>
              <a:t>Hiring of managers for online activitie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44" name="Text Placeholder 239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302125" y="3038475"/>
            <a:ext cx="2428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B00904FD-28FF-4C93-BD5F-74C2C3F91C1B}" type="datetime'''''3''''5%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5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5" name="Text Placeholder 108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23938" y="2855913"/>
            <a:ext cx="2449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805E026F-C8CB-4C40-A760-06ADCA00254C}" type="datetime'Avai''''lability of ma''r''ket fundin''''g for ''online offer'">
              <a:rPr lang="en-US" sz="1000">
                <a:latin typeface="Source Sans Pro"/>
                <a:cs typeface="Source Sans Pro"/>
              </a:rPr>
              <a:pPr algn="r"/>
              <a:t>Availability of market funding for online offer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6" name="Text Placeholder 236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330701" y="287179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B22C7637-BC9A-4B41-8781-378FE412A8E2}" type="datetime'''3''''''''6''%''''''''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6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7" name="Text Placeholder 107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444626" y="2693988"/>
            <a:ext cx="20288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4E27BFDB-8F54-48E0-9C80-6BB8A5D631BD}" type="datetime'A''vail''''''ab''ili''ty'' of indust''ry supp''ort g''rou''p'">
              <a:rPr lang="en-US" sz="1000">
                <a:latin typeface="Source Sans Pro"/>
                <a:cs typeface="Source Sans Pro"/>
              </a:rPr>
              <a:pPr algn="r"/>
              <a:t>Availability of industry support group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48" name="Text Placeholder 233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359276" y="2709865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463EFBCD-2373-4D62-8FDD-1CF4AEACA86D}" type="datetime'37''''''''''''''''''''''%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7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49" name="Text Placeholder 56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11200" y="2527300"/>
            <a:ext cx="27622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578DE157-CC76-44FC-BE3B-262545F7469C}" type="datetime'Sup''portiv''e regula''tions to encour''age on''line sal''es '">
              <a:rPr lang="en-US" sz="1000">
                <a:latin typeface="Source Sans Pro"/>
                <a:cs typeface="Source Sans Pro"/>
              </a:rPr>
              <a:pPr algn="r"/>
              <a:t>Supportive regulations to encourage online sales 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0" name="Text Placeholder 60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368801" y="2543175"/>
            <a:ext cx="2428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9C51B0E5-D9F6-4139-A10B-2B07DA4E05E7}" type="datetime'''''''''''''3''''''''''''''7''''''''''%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7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1" name="Text Placeholder 55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690688" y="2360613"/>
            <a:ext cx="17827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829C5D1E-C7B0-4BFD-979D-405EA9B11BEF}" type="datetime'P''''roce''s''s t''o s''ta''rt a new'' b''''u''''sine''''s''s'">
              <a:rPr lang="en-US" sz="1000">
                <a:latin typeface="Source Sans Pro"/>
                <a:cs typeface="Source Sans Pro"/>
              </a:rPr>
              <a:pPr algn="r"/>
              <a:t>Process to start a new busines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52" name="Text Placeholder 57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454525" y="237649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A5A24909-0F5C-432F-999A-3BC6E5709B85}" type="datetime'4''''''''''''1''''''''''''''''%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41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3" name="Text Placeholder 106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336676" y="2198688"/>
            <a:ext cx="2136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F08C3157-8F3E-499B-9FEE-32370375043F}" type="datetime'Reli''abi''''li''ty of Inte''''rn''et service'' ''pr''oviders'">
              <a:rPr lang="en-US" sz="1000">
                <a:latin typeface="Source Sans Pro"/>
                <a:cs typeface="Source Sans Pro"/>
              </a:rPr>
              <a:pPr algn="r"/>
              <a:t>Reliability of Internet service provider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4" name="Text Placeholder 230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049713" y="2214565"/>
            <a:ext cx="2428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E9C176F-338C-4B20-B73E-CE6FDB4CD3D8}" type="datetime'''''''''''2''''''''''''''''4%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4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5" name="Text Placeholder 10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928814" y="2032000"/>
            <a:ext cx="15446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0B3F3715-370D-4363-93C6-3FD3682DDA96}" type="datetime'Cho''ice'''' ''''''of internet p''ro''v''''ide''''''''r''s'">
              <a:rPr lang="en-US" sz="1000">
                <a:latin typeface="Source Sans Pro"/>
                <a:cs typeface="Source Sans Pro"/>
              </a:rPr>
              <a:pPr algn="r"/>
              <a:t>Choice of internet provider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56" name="Text Placeholder 227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106864" y="204787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DBCF17A6-DD43-4542-82EB-4FC6CAD13F6C}" type="datetime'''2''''''''''''7''''''''''''%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7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7" name="Text Placeholder 104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189164" y="1865313"/>
            <a:ext cx="12842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443E869F-700B-47C1-BAEF-C8831F50C743}" type="datetime'''Co''st'''''' of'' ''int''e''''rnet'' acc''e''''ss'''''">
              <a:rPr lang="en-US" sz="1000">
                <a:latin typeface="Source Sans Pro"/>
                <a:cs typeface="Source Sans Pro"/>
              </a:rPr>
              <a:pPr algn="r"/>
              <a:t>Cost of internet access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8" name="Text Placeholder 224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121150" y="188119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34E7A350-43A0-4C44-AEA4-12690FDB0066}" type="datetime'''''''''''2''7''''''%''''''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7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59" name="Text Placeholder 103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839914" y="1703388"/>
            <a:ext cx="16335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EC4D750-1148-4E50-B260-E2C22491A431}" type="datetime'''Quality ''''o''f'''' ''inter''ne''''t ''''c''''onnection'''">
              <a:rPr lang="en-US" sz="1000">
                <a:latin typeface="Source Sans Pro"/>
                <a:cs typeface="Source Sans Pro"/>
              </a:rPr>
              <a:pPr algn="r"/>
              <a:t>Quality of internet connection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60" name="Text Placeholder 221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149725" y="1719263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05AF3B6A-FEB9-4083-B3ED-25CA756FF545}" type="datetime'''''''''''2''''8''''''''''''%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28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61" name="Text Placeholder 7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833564" y="1536700"/>
            <a:ext cx="16398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A6E58646-E9E5-4E41-8339-1E2E84FB1D7D}" type="datetime'R''egul''''''ations to'' op''e''rate o''nli''''''n''''e'''''''">
              <a:rPr lang="en-US" sz="1000">
                <a:latin typeface="Source Sans Pro"/>
                <a:cs typeface="Source Sans Pro"/>
              </a:rPr>
              <a:pPr algn="r"/>
              <a:t>Regulations to operate onlin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62" name="Text Placeholder 218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221164" y="1552575"/>
            <a:ext cx="24288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EDF76034-E814-49EE-BD53-8FB0CCAC4A62}" type="datetime'''''''''''''''''3''''1''''''%''''''''''''''''''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1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sp>
        <p:nvSpPr>
          <p:cNvPr id="63" name="Text Placeholder 102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517650" y="1370013"/>
            <a:ext cx="19558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FB16A4E2-13B3-438E-8292-EC184E253780}" type="datetime'C''ost o''f ''''a''cce''''ss to'' too''ls t''o be o''nli''ne'">
              <a:rPr lang="en-US" sz="1000">
                <a:latin typeface="Source Sans Pro"/>
                <a:cs typeface="Source Sans Pro"/>
              </a:rPr>
              <a:pPr algn="r"/>
              <a:t>Cost of access to tools to be online</a:t>
            </a:fld>
            <a:endParaRPr lang="en-GB" sz="1000" dirty="0">
              <a:latin typeface="Source Sans Pro"/>
              <a:cs typeface="Source Sans Pro"/>
              <a:sym typeface="+mn-lt" charset="0"/>
            </a:endParaRPr>
          </a:p>
        </p:txBody>
      </p:sp>
      <p:sp useBgFill="1">
        <p:nvSpPr>
          <p:cNvPr id="64" name="Text Placeholder 215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244976" y="1385890"/>
            <a:ext cx="24288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algn="ctr"/>
            <a:fld id="{57584CA2-327A-4853-B04C-CE06C3BFD6FE}" type="datetime'''''''''''3''''''''2''''''''''''%'''''''''''''''">
              <a:rPr lang="en-US" sz="800">
                <a:solidFill>
                  <a:schemeClr val="bg1"/>
                </a:solidFill>
                <a:latin typeface="Source Sans Pro"/>
                <a:cs typeface="Source Sans Pro"/>
              </a:rPr>
              <a:pPr algn="ctr"/>
              <a:t>32%</a:t>
            </a:fld>
            <a:endParaRPr lang="en-GB" sz="800" dirty="0">
              <a:solidFill>
                <a:schemeClr val="bg1"/>
              </a:solidFill>
              <a:latin typeface="Source Sans Pro"/>
              <a:cs typeface="Source Sans Pro"/>
              <a:sym typeface="+mn-lt" charset="0"/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>
            <a:off x="279401" y="4337050"/>
            <a:ext cx="4697413" cy="1588"/>
          </a:xfrm>
          <a:prstGeom prst="line">
            <a:avLst/>
          </a:prstGeom>
          <a:ln w="158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 flipH="1">
            <a:off x="270584" y="5364821"/>
            <a:ext cx="375670" cy="736978"/>
          </a:xfrm>
          <a:prstGeom prst="rect">
            <a:avLst/>
          </a:prstGeom>
          <a:solidFill>
            <a:srgbClr val="DC6E00"/>
          </a:solidFill>
          <a:ln w="25400">
            <a:solidFill>
              <a:srgbClr val="DC6E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anchor="ctr"/>
          <a:lstStyle/>
          <a:p>
            <a:pPr marL="0" lvl="1" algn="ctr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 err="1" smtClean="0">
                <a:solidFill>
                  <a:schemeClr val="bg1"/>
                </a:solidFill>
                <a:latin typeface="Source Sans Pro"/>
                <a:cs typeface="Source Sans Pro"/>
              </a:rPr>
              <a:t>Infor-mation</a:t>
            </a:r>
            <a:endParaRPr lang="en-GB" sz="1200" b="1" dirty="0">
              <a:solidFill>
                <a:schemeClr val="bg1"/>
              </a:solidFill>
              <a:latin typeface="Source Sans Pro"/>
              <a:cs typeface="Source Sans Pro"/>
            </a:endParaRPr>
          </a:p>
        </p:txBody>
      </p:sp>
      <p:sp>
        <p:nvSpPr>
          <p:cNvPr id="67" name="ColumnHeader"/>
          <p:cNvSpPr>
            <a:spLocks noChangeArrowheads="1"/>
          </p:cNvSpPr>
          <p:nvPr/>
        </p:nvSpPr>
        <p:spPr bwMode="gray">
          <a:xfrm>
            <a:off x="771525" y="873127"/>
            <a:ext cx="7869238" cy="2206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25400" dir="5400000" sx="99001" sy="99001" algn="ctr" rotWithShape="0">
              <a:schemeClr val="tx2"/>
            </a:outerShdw>
          </a:effectLst>
        </p:spPr>
        <p:txBody>
          <a:bodyPr lIns="0" tIns="0" rIns="0" bIns="36000" anchor="b">
            <a:spAutoFit/>
          </a:bodyPr>
          <a:lstStyle/>
          <a:p>
            <a:pPr algn="ctr"/>
            <a:r>
              <a:rPr lang="en-GB" sz="1200" b="1" dirty="0">
                <a:solidFill>
                  <a:srgbClr val="000000"/>
                </a:solidFill>
                <a:latin typeface="Source Sans Pro"/>
                <a:cs typeface="Source Sans Pro"/>
              </a:rPr>
              <a:t>SMEs' view on e-Frictions within their country</a:t>
            </a:r>
          </a:p>
        </p:txBody>
      </p:sp>
      <p:sp>
        <p:nvSpPr>
          <p:cNvPr id="68" name="TextBox 203"/>
          <p:cNvSpPr txBox="1">
            <a:spLocks noChangeArrowheads="1"/>
          </p:cNvSpPr>
          <p:nvPr/>
        </p:nvSpPr>
        <p:spPr bwMode="auto">
          <a:xfrm>
            <a:off x="4067252" y="1119190"/>
            <a:ext cx="607859" cy="320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90000" bIns="90000">
            <a:spAutoFit/>
          </a:bodyPr>
          <a:lstStyle/>
          <a:p>
            <a:pPr algn="ctr"/>
            <a:r>
              <a:rPr lang="en-GB" sz="900" dirty="0">
                <a:latin typeface="Source Sans Pro"/>
                <a:cs typeface="Source Sans Pro"/>
              </a:rPr>
              <a:t>Problem</a:t>
            </a:r>
          </a:p>
        </p:txBody>
      </p:sp>
      <p:sp>
        <p:nvSpPr>
          <p:cNvPr id="69" name="TextBox 207"/>
          <p:cNvSpPr txBox="1">
            <a:spLocks noChangeArrowheads="1"/>
          </p:cNvSpPr>
          <p:nvPr/>
        </p:nvSpPr>
        <p:spPr bwMode="auto">
          <a:xfrm>
            <a:off x="5700245" y="1119190"/>
            <a:ext cx="556563" cy="320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90000" bIns="90000">
            <a:spAutoFit/>
          </a:bodyPr>
          <a:lstStyle/>
          <a:p>
            <a:pPr algn="ctr"/>
            <a:r>
              <a:rPr lang="en-GB" sz="900" dirty="0">
                <a:latin typeface="Source Sans Pro"/>
                <a:cs typeface="Source Sans Pro"/>
              </a:rPr>
              <a:t>Neutral</a:t>
            </a:r>
          </a:p>
        </p:txBody>
      </p:sp>
      <p:sp>
        <p:nvSpPr>
          <p:cNvPr id="70" name="TextBox 214"/>
          <p:cNvSpPr txBox="1">
            <a:spLocks noChangeArrowheads="1"/>
          </p:cNvSpPr>
          <p:nvPr/>
        </p:nvSpPr>
        <p:spPr bwMode="auto">
          <a:xfrm>
            <a:off x="7290721" y="1119190"/>
            <a:ext cx="761747" cy="320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90000" bIns="90000">
            <a:spAutoFit/>
          </a:bodyPr>
          <a:lstStyle/>
          <a:p>
            <a:pPr algn="ctr"/>
            <a:r>
              <a:rPr lang="en-GB" sz="900" dirty="0">
                <a:latin typeface="Source Sans Pro"/>
                <a:cs typeface="Source Sans Pro"/>
              </a:rPr>
              <a:t>No problem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279401" y="2368550"/>
            <a:ext cx="4697413" cy="1588"/>
          </a:xfrm>
          <a:prstGeom prst="line">
            <a:avLst/>
          </a:prstGeom>
          <a:ln w="158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279401" y="5327650"/>
            <a:ext cx="4697413" cy="1588"/>
          </a:xfrm>
          <a:prstGeom prst="line">
            <a:avLst/>
          </a:prstGeom>
          <a:ln w="158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6276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ext Placeholder 1"/>
          <p:cNvSpPr>
            <a:spLocks noGrp="1"/>
          </p:cNvSpPr>
          <p:nvPr>
            <p:ph type="body" sz="quarter" idx="13"/>
          </p:nvPr>
        </p:nvSpPr>
        <p:spPr bwMode="auto">
          <a:xfrm>
            <a:off x="569913" y="2378075"/>
            <a:ext cx="6256337" cy="17287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1" dirty="0" smtClean="0">
                <a:latin typeface="Source Sans Pro" charset="0"/>
                <a:cs typeface="Source Sans Pro" charset="0"/>
              </a:rPr>
              <a:t>What is ICANN?</a:t>
            </a:r>
            <a:endParaRPr lang="en-US" dirty="0">
              <a:latin typeface="Source Sans Pro Light" charset="0"/>
              <a:cs typeface="Source Sans Pro Light" charset="0"/>
            </a:endParaRPr>
          </a:p>
        </p:txBody>
      </p:sp>
      <p:sp>
        <p:nvSpPr>
          <p:cNvPr id="13314" name="TextBox 2"/>
          <p:cNvSpPr txBox="1">
            <a:spLocks noChangeArrowheads="1"/>
          </p:cNvSpPr>
          <p:nvPr/>
        </p:nvSpPr>
        <p:spPr bwMode="auto">
          <a:xfrm>
            <a:off x="842963" y="1219200"/>
            <a:ext cx="1857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995880" y="920045"/>
            <a:ext cx="3653469" cy="4958700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8" name="Text Placeholder 32"/>
          <p:cNvSpPr txBox="1">
            <a:spLocks/>
          </p:cNvSpPr>
          <p:nvPr/>
        </p:nvSpPr>
        <p:spPr bwMode="auto">
          <a:xfrm>
            <a:off x="1033111" y="5902698"/>
            <a:ext cx="2306989" cy="35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6858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514350" indent="-171450" defTabSz="6858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857250" indent="-171450" defTabSz="6858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200150" indent="-171450" defTabSz="6858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1543050" indent="-171450" defTabSz="6858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000250" indent="-17145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457450" indent="-17145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2914650" indent="-17145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371850" indent="-17145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2000" dirty="0">
                <a:solidFill>
                  <a:srgbClr val="0C1F24"/>
                </a:solidFill>
                <a:latin typeface="Source Sans Pro"/>
                <a:cs typeface="Source Sans Pro"/>
                <a:hlinkClick r:id="rId2"/>
              </a:rPr>
              <a:t>http://goo.gl/</a:t>
            </a:r>
            <a:r>
              <a:rPr lang="en-US" sz="2000" dirty="0" smtClean="0">
                <a:solidFill>
                  <a:srgbClr val="0C1F24"/>
                </a:solidFill>
                <a:latin typeface="Source Sans Pro"/>
                <a:cs typeface="Source Sans Pro"/>
                <a:hlinkClick r:id="rId2"/>
              </a:rPr>
              <a:t>lmBDtr</a:t>
            </a:r>
            <a:r>
              <a:rPr lang="en-US" sz="2000" dirty="0" smtClean="0">
                <a:solidFill>
                  <a:srgbClr val="0C1F24"/>
                </a:solidFill>
                <a:latin typeface="Source Sans Pro"/>
                <a:cs typeface="Source Sans Pro"/>
              </a:rPr>
              <a:t> </a:t>
            </a:r>
            <a:endParaRPr lang="en-US" sz="2000" dirty="0">
              <a:solidFill>
                <a:srgbClr val="0C1F24"/>
              </a:solidFill>
              <a:latin typeface="Source Sans Pro"/>
              <a:cs typeface="Source Sans Pro"/>
            </a:endParaRPr>
          </a:p>
        </p:txBody>
      </p:sp>
      <p:sp>
        <p:nvSpPr>
          <p:cNvPr id="19" name="Text Placeholder 33"/>
          <p:cNvSpPr txBox="1">
            <a:spLocks/>
          </p:cNvSpPr>
          <p:nvPr/>
        </p:nvSpPr>
        <p:spPr>
          <a:xfrm>
            <a:off x="5499726" y="5878744"/>
            <a:ext cx="2751667" cy="1047750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082" fontAlgn="auto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AU" sz="2200" dirty="0">
              <a:solidFill>
                <a:schemeClr val="bg1"/>
              </a:solidFill>
              <a:latin typeface="Source Sans Pro" panose="020B0503030403020204" pitchFamily="34" charset="0"/>
              <a:ea typeface="Segoe UI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Where to Find the </a:t>
            </a:r>
            <a:r>
              <a:rPr lang="en-US" dirty="0" smtClean="0"/>
              <a:t>Reports?</a:t>
            </a:r>
            <a:endParaRPr lang="en-US" dirty="0"/>
          </a:p>
        </p:txBody>
      </p:sp>
      <p:pic>
        <p:nvPicPr>
          <p:cNvPr id="10" name="Content Placeholder 5" descr="Screen Shot 2014-04-01 at 3.05.54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" b="4007"/>
          <a:stretch>
            <a:fillRect/>
          </a:stretch>
        </p:blipFill>
        <p:spPr>
          <a:xfrm>
            <a:off x="360380" y="920044"/>
            <a:ext cx="3667109" cy="4962227"/>
          </a:xfrm>
          <a:prstGeom prst="rect">
            <a:avLst/>
          </a:prstGeom>
        </p:spPr>
      </p:pic>
      <p:pic>
        <p:nvPicPr>
          <p:cNvPr id="11" name="Picture 10" descr="COVER_BCG_Which_Wheels_to_Grease_Apr_2015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880" y="923571"/>
            <a:ext cx="3653469" cy="49587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702300" y="5869584"/>
            <a:ext cx="25070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Source Sans Pro"/>
                <a:cs typeface="Source Sans Pro"/>
                <a:hlinkClick r:id="rId5"/>
              </a:rPr>
              <a:t>http://goo.gl/</a:t>
            </a:r>
            <a:r>
              <a:rPr lang="en-US" sz="2000" dirty="0" smtClean="0">
                <a:latin typeface="Source Sans Pro"/>
                <a:cs typeface="Source Sans Pro"/>
                <a:hlinkClick r:id="rId5"/>
              </a:rPr>
              <a:t>91NkW8</a:t>
            </a:r>
            <a:r>
              <a:rPr lang="en-US" sz="2000" dirty="0" smtClean="0">
                <a:latin typeface="Source Sans Pro"/>
                <a:cs typeface="Source Sans Pro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1064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738598" y="736026"/>
            <a:ext cx="6405402" cy="2249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 dirty="0">
              <a:solidFill>
                <a:prstClr val="white"/>
              </a:solidFill>
            </a:endParaRPr>
          </a:p>
        </p:txBody>
      </p:sp>
      <p:sp>
        <p:nvSpPr>
          <p:cNvPr id="8" name="Text Placeholder 33"/>
          <p:cNvSpPr txBox="1">
            <a:spLocks/>
          </p:cNvSpPr>
          <p:nvPr/>
        </p:nvSpPr>
        <p:spPr bwMode="auto">
          <a:xfrm>
            <a:off x="2968431" y="1099946"/>
            <a:ext cx="4808999" cy="393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455613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514350" indent="-171450" defTabSz="455613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857250" indent="-171450" defTabSz="455613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200150" indent="-171450" defTabSz="455613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1543050" indent="-171450" defTabSz="455613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000250" indent="-17145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457450" indent="-17145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2914650" indent="-17145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371850" indent="-17145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AU" sz="2800" b="1" dirty="0">
                <a:solidFill>
                  <a:schemeClr val="bg1"/>
                </a:solidFill>
                <a:latin typeface="Source Sans Pro" charset="0"/>
                <a:ea typeface="Segoe UI" charset="0"/>
                <a:cs typeface="Segoe UI Semilight" charset="0"/>
              </a:rPr>
              <a:t>Thank You and Ques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" y="736026"/>
            <a:ext cx="2693114" cy="22492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sp>
        <p:nvSpPr>
          <p:cNvPr id="22" name="Text Placeholder 32"/>
          <p:cNvSpPr txBox="1">
            <a:spLocks/>
          </p:cNvSpPr>
          <p:nvPr/>
        </p:nvSpPr>
        <p:spPr>
          <a:xfrm>
            <a:off x="5396046" y="3343901"/>
            <a:ext cx="2118807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gplus.to/icann</a:t>
            </a:r>
            <a:endParaRPr lang="en-US" sz="1800" dirty="0" smtClean="0">
              <a:solidFill>
                <a:srgbClr val="0A304B"/>
              </a:solidFill>
              <a:latin typeface="Source Sans Pro" panose="020B0503030403020204" pitchFamily="34" charset="0"/>
              <a:ea typeface="Segoe UI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3" name="Text Placeholder 32"/>
          <p:cNvSpPr txBox="1">
            <a:spLocks/>
          </p:cNvSpPr>
          <p:nvPr/>
        </p:nvSpPr>
        <p:spPr>
          <a:xfrm>
            <a:off x="5364494" y="4119355"/>
            <a:ext cx="2673232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weibo.com</a:t>
            </a:r>
            <a:r>
              <a:rPr lang="en-US" sz="1800" dirty="0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/ICANNorg</a:t>
            </a:r>
            <a:endParaRPr lang="en-US" sz="1800" dirty="0">
              <a:solidFill>
                <a:srgbClr val="0A304B"/>
              </a:solidFill>
              <a:latin typeface="Source Sans Pro" panose="020B0503030403020204" pitchFamily="34" charset="0"/>
              <a:ea typeface="Segoe UI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" name="Text Placeholder 32"/>
          <p:cNvSpPr txBox="1">
            <a:spLocks/>
          </p:cNvSpPr>
          <p:nvPr/>
        </p:nvSpPr>
        <p:spPr>
          <a:xfrm>
            <a:off x="5364495" y="4884343"/>
            <a:ext cx="2949307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flickr.com/photos/icann</a:t>
            </a:r>
          </a:p>
        </p:txBody>
      </p:sp>
      <p:sp>
        <p:nvSpPr>
          <p:cNvPr id="25" name="Text Placeholder 32"/>
          <p:cNvSpPr txBox="1">
            <a:spLocks/>
          </p:cNvSpPr>
          <p:nvPr/>
        </p:nvSpPr>
        <p:spPr>
          <a:xfrm>
            <a:off x="5364494" y="5554438"/>
            <a:ext cx="3700626" cy="425654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slideshare.net/icannpresentations</a:t>
            </a:r>
          </a:p>
        </p:txBody>
      </p:sp>
      <p:sp>
        <p:nvSpPr>
          <p:cNvPr id="32" name="Text Placeholder 32"/>
          <p:cNvSpPr txBox="1">
            <a:spLocks/>
          </p:cNvSpPr>
          <p:nvPr/>
        </p:nvSpPr>
        <p:spPr>
          <a:xfrm>
            <a:off x="1105839" y="3364489"/>
            <a:ext cx="2342226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twitter.com/</a:t>
            </a:r>
            <a:r>
              <a:rPr lang="en-US" sz="1800" dirty="0" err="1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icann</a:t>
            </a:r>
            <a:endParaRPr lang="en-US" sz="1800" dirty="0" smtClean="0">
              <a:solidFill>
                <a:srgbClr val="0A304B"/>
              </a:solidFill>
              <a:latin typeface="Source Sans Pro" panose="020B0503030403020204" pitchFamily="34" charset="0"/>
              <a:ea typeface="Segoe UI" panose="020B0502040204020203" pitchFamily="34" charset="0"/>
              <a:cs typeface="Segoe UI Semilight" panose="020B0402040204020203" pitchFamily="34" charset="0"/>
            </a:endParaRPr>
          </a:p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 err="1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t</a:t>
            </a:r>
            <a:r>
              <a:rPr lang="en-US" sz="1800" dirty="0" err="1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witter.com</a:t>
            </a:r>
            <a:r>
              <a:rPr lang="en-US" sz="1800" dirty="0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/icann4biz</a:t>
            </a:r>
            <a:endParaRPr lang="en-US" sz="1800" dirty="0">
              <a:solidFill>
                <a:srgbClr val="0A304B"/>
              </a:solidFill>
              <a:latin typeface="Source Sans Pro" panose="020B0503030403020204" pitchFamily="34" charset="0"/>
              <a:ea typeface="Segoe UI" panose="020B05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3" name="Text Placeholder 32"/>
          <p:cNvSpPr txBox="1">
            <a:spLocks/>
          </p:cNvSpPr>
          <p:nvPr/>
        </p:nvSpPr>
        <p:spPr>
          <a:xfrm>
            <a:off x="1105839" y="4119355"/>
            <a:ext cx="3262961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facebook.com/icannorg</a:t>
            </a:r>
          </a:p>
        </p:txBody>
      </p:sp>
      <p:sp>
        <p:nvSpPr>
          <p:cNvPr id="34" name="Text Placeholder 32"/>
          <p:cNvSpPr txBox="1">
            <a:spLocks/>
          </p:cNvSpPr>
          <p:nvPr/>
        </p:nvSpPr>
        <p:spPr>
          <a:xfrm>
            <a:off x="1105838" y="4884343"/>
            <a:ext cx="3169242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linkedin.com/company/icann</a:t>
            </a:r>
          </a:p>
        </p:txBody>
      </p:sp>
      <p:sp>
        <p:nvSpPr>
          <p:cNvPr id="35" name="Text Placeholder 32"/>
          <p:cNvSpPr txBox="1">
            <a:spLocks/>
          </p:cNvSpPr>
          <p:nvPr/>
        </p:nvSpPr>
        <p:spPr>
          <a:xfrm>
            <a:off x="1105839" y="5597405"/>
            <a:ext cx="3145416" cy="339725"/>
          </a:xfrm>
          <a:prstGeom prst="rect">
            <a:avLst/>
          </a:prstGeom>
        </p:spPr>
        <p:txBody>
          <a:bodyPr lIns="0" tIns="0" rIns="0" bIns="0"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2">
              <a:spcBef>
                <a:spcPct val="20000"/>
              </a:spcBef>
              <a:buNone/>
              <a:defRPr/>
            </a:pPr>
            <a:r>
              <a:rPr lang="en-US" sz="1800" dirty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youtube.com/user</a:t>
            </a:r>
            <a:r>
              <a:rPr lang="en-US" sz="1800" dirty="0" smtClean="0">
                <a:solidFill>
                  <a:srgbClr val="0A304B"/>
                </a:solidFill>
                <a:latin typeface="Source Sans Pro" panose="020B0503030403020204" pitchFamily="34" charset="0"/>
                <a:ea typeface="Segoe UI" panose="020B0502040204020203" pitchFamily="34" charset="0"/>
                <a:cs typeface="Segoe UI Semilight" panose="020B0402040204020203" pitchFamily="34" charset="0"/>
              </a:rPr>
              <a:t>/icannnews</a:t>
            </a: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/>
              <a:t>Engage with ICANN</a:t>
            </a:r>
            <a:endParaRPr lang="en-US" dirty="0"/>
          </a:p>
        </p:txBody>
      </p:sp>
      <p:pic>
        <p:nvPicPr>
          <p:cNvPr id="40" name="Picture 39" descr="ICANN_Logo_W.eps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83" y="921876"/>
            <a:ext cx="2366915" cy="1837061"/>
          </a:xfrm>
          <a:prstGeom prst="rect">
            <a:avLst/>
          </a:prstGeom>
        </p:spPr>
      </p:pic>
      <p:pic>
        <p:nvPicPr>
          <p:cNvPr id="41" name="Picture 40" descr="1420947842_social_style_3_flikr-128.png">
            <a:hlinkClick r:id="rId4" action="ppaction://hlinkfile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6383" y="4775809"/>
            <a:ext cx="537406" cy="537406"/>
          </a:xfrm>
          <a:prstGeom prst="rect">
            <a:avLst/>
          </a:prstGeom>
        </p:spPr>
      </p:pic>
      <p:pic>
        <p:nvPicPr>
          <p:cNvPr id="42" name="Picture 41" descr="1420948141_social_style_3_facebook-128.png">
            <a:hlinkClick r:id="rId6" action="ppaction://hlinkfile"/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744" y="4008507"/>
            <a:ext cx="545448" cy="545448"/>
          </a:xfrm>
          <a:prstGeom prst="rect">
            <a:avLst/>
          </a:prstGeom>
        </p:spPr>
      </p:pic>
      <p:pic>
        <p:nvPicPr>
          <p:cNvPr id="43" name="Picture 42" descr="1420948149_social_style_3_youtube-128.png">
            <a:hlinkClick r:id="rId8" action="ppaction://hlinkfile"/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095" y="5526796"/>
            <a:ext cx="528999" cy="528999"/>
          </a:xfrm>
          <a:prstGeom prst="rect">
            <a:avLst/>
          </a:prstGeom>
        </p:spPr>
      </p:pic>
      <p:pic>
        <p:nvPicPr>
          <p:cNvPr id="45" name="Picture 44" descr="1420948164_social_style_3_in-128.png">
            <a:hlinkClick r:id="rId10" action="ppaction://hlinkfile"/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49" y="4783091"/>
            <a:ext cx="522847" cy="522847"/>
          </a:xfrm>
          <a:prstGeom prst="rect">
            <a:avLst/>
          </a:prstGeom>
        </p:spPr>
      </p:pic>
      <p:pic>
        <p:nvPicPr>
          <p:cNvPr id="46" name="Picture 45" descr="1420948433_social_style_3_twiter-128.png">
            <a:hlinkClick r:id="rId12" action="ppaction://hlinkfile"/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14" y="3242144"/>
            <a:ext cx="568165" cy="568165"/>
          </a:xfrm>
          <a:prstGeom prst="rect">
            <a:avLst/>
          </a:prstGeom>
        </p:spPr>
      </p:pic>
      <p:pic>
        <p:nvPicPr>
          <p:cNvPr id="47" name="Picture 46" descr="1420948423_social_style_3_googleplus-128.png">
            <a:hlinkClick r:id="rId14" action="ppaction://hlinkfile"/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6383" y="3257522"/>
            <a:ext cx="537406" cy="537406"/>
          </a:xfrm>
          <a:prstGeom prst="rect">
            <a:avLst/>
          </a:prstGeom>
        </p:spPr>
      </p:pic>
      <p:pic>
        <p:nvPicPr>
          <p:cNvPr id="48" name="Picture 47" descr="1420948525_cssi_sina_weibo-128.png">
            <a:hlinkClick r:id="rId16" action="ppaction://hlinkfile"/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9435" y="3992952"/>
            <a:ext cx="576561" cy="576558"/>
          </a:xfrm>
          <a:prstGeom prst="rect">
            <a:avLst/>
          </a:prstGeom>
        </p:spPr>
      </p:pic>
      <p:pic>
        <p:nvPicPr>
          <p:cNvPr id="2" name="Picture 1" descr="1421037698_slideshare-128.png">
            <a:hlinkClick r:id="rId18" action="ppaction://hlinkfile"/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3259" y="5514925"/>
            <a:ext cx="552736" cy="55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821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2"/>
          <p:cNvSpPr>
            <a:spLocks noGrp="1"/>
          </p:cNvSpPr>
          <p:nvPr>
            <p:ph type="title"/>
          </p:nvPr>
        </p:nvSpPr>
        <p:spPr bwMode="auto">
          <a:xfrm>
            <a:off x="0" y="-7938"/>
            <a:ext cx="9144000" cy="1211096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lnSpc>
                <a:spcPts val="3975"/>
              </a:lnSpc>
            </a:pPr>
            <a:r>
              <a:rPr lang="en-US" altLang="zh-CN" sz="2800" dirty="0">
                <a:latin typeface="Helvetica Neue Medium" charset="0"/>
                <a:ea typeface="MS PGothic" charset="0"/>
                <a:cs typeface="Helvetica Neue Medium" charset="0"/>
              </a:rPr>
              <a:t>ICANN</a:t>
            </a:r>
            <a:r>
              <a:rPr lang="en-US" altLang="zh-CN" dirty="0">
                <a:latin typeface="Helvetica Neue Medium" charset="0"/>
                <a:ea typeface="MS PGothic" charset="0"/>
                <a:cs typeface="Helvetica Neue Medium" charset="0"/>
              </a:rPr>
              <a:t> coordinates the Domain Name System (DNS)</a:t>
            </a:r>
            <a:endParaRPr lang="en-US" dirty="0">
              <a:latin typeface="Source Sans Pro" charset="0"/>
              <a:cs typeface="Source Sans Pro" charset="0"/>
            </a:endParaRPr>
          </a:p>
        </p:txBody>
      </p:sp>
      <p:pic>
        <p:nvPicPr>
          <p:cNvPr id="3" name="Picture 2" descr="WhatICANNdoe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159" y="431479"/>
            <a:ext cx="7506368" cy="5805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46"/>
          <p:cNvSpPr txBox="1">
            <a:spLocks noChangeArrowheads="1"/>
          </p:cNvSpPr>
          <p:nvPr/>
        </p:nvSpPr>
        <p:spPr bwMode="auto">
          <a:xfrm>
            <a:off x="2913732" y="4943475"/>
            <a:ext cx="5695531" cy="861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lnSpc>
                <a:spcPts val="1975"/>
              </a:lnSpc>
            </a:pPr>
            <a:r>
              <a:rPr lang="en-US" sz="2000" b="1" dirty="0" smtClean="0">
                <a:solidFill>
                  <a:srgbClr val="154A78"/>
                </a:solidFill>
                <a:latin typeface="Source Sans Pro Light" charset="0"/>
                <a:cs typeface="Source Sans Pro Light" charset="0"/>
              </a:rPr>
              <a:t>Management and administration of unique identifiers </a:t>
            </a:r>
          </a:p>
          <a:p>
            <a:pPr>
              <a:lnSpc>
                <a:spcPts val="1975"/>
              </a:lnSpc>
            </a:pPr>
            <a:r>
              <a:rPr lang="en-US" sz="2000" b="1" dirty="0" smtClean="0">
                <a:solidFill>
                  <a:srgbClr val="154A78"/>
                </a:solidFill>
                <a:latin typeface="Source Sans Pro Light" charset="0"/>
                <a:cs typeface="Source Sans Pro Light" charset="0"/>
              </a:rPr>
              <a:t>that let us reach another person, website, or information</a:t>
            </a:r>
          </a:p>
        </p:txBody>
      </p:sp>
    </p:spTree>
    <p:extLst>
      <p:ext uri="{BB962C8B-B14F-4D97-AF65-F5344CB8AC3E}">
        <p14:creationId xmlns:p14="http://schemas.microsoft.com/office/powerpoint/2010/main" val="18414241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Title 3"/>
          <p:cNvSpPr>
            <a:spLocks noGrp="1"/>
          </p:cNvSpPr>
          <p:nvPr>
            <p:ph type="title"/>
          </p:nvPr>
        </p:nvSpPr>
        <p:spPr bwMode="auto">
          <a:xfrm>
            <a:off x="0" y="-7938"/>
            <a:ext cx="9144000" cy="711201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ts val="3975"/>
              </a:lnSpc>
            </a:pPr>
            <a:r>
              <a:rPr lang="en-US" dirty="0">
                <a:latin typeface="Source Sans Pro" charset="0"/>
                <a:cs typeface="Source Sans Pro" charset="0"/>
              </a:rPr>
              <a:t>Multistakeholder Policy Making 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07831" y="804495"/>
            <a:ext cx="8229600" cy="5134832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smtClean="0"/>
              <a:t>  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817984" y="2252510"/>
            <a:ext cx="1595311" cy="155695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usiness, including</a:t>
            </a:r>
          </a:p>
          <a:p>
            <a:pPr algn="ctr"/>
            <a:r>
              <a:rPr lang="en-US" dirty="0" smtClean="0"/>
              <a:t>Domain Name Businesses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802495" y="4107620"/>
            <a:ext cx="1610800" cy="16695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ivil Society </a:t>
            </a:r>
            <a:br>
              <a:rPr lang="en-US" dirty="0" smtClean="0"/>
            </a:br>
            <a:r>
              <a:rPr lang="en-US" dirty="0" smtClean="0"/>
              <a:t>Organizations and Individual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785020" y="4107620"/>
            <a:ext cx="1688242" cy="16695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nd Users (all Categories)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966904" y="4107620"/>
            <a:ext cx="1502379" cy="16695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echnical, Network, and Security Experts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6966904" y="2252510"/>
            <a:ext cx="1502380" cy="155695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overnments and </a:t>
            </a:r>
            <a:br>
              <a:rPr lang="en-US" dirty="0" smtClean="0"/>
            </a:br>
            <a:r>
              <a:rPr lang="en-US" dirty="0" smtClean="0"/>
              <a:t>IGOs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4922427" y="4107620"/>
            <a:ext cx="1688242" cy="166953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dress and Numbering Organizations</a:t>
            </a: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3063811" y="2252510"/>
            <a:ext cx="3221599" cy="126317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CANN Policy Making Process</a:t>
            </a:r>
            <a:endParaRPr lang="en-US" dirty="0"/>
          </a:p>
        </p:txBody>
      </p:sp>
      <p:sp>
        <p:nvSpPr>
          <p:cNvPr id="17" name="Right Arrow 16"/>
          <p:cNvSpPr/>
          <p:nvPr/>
        </p:nvSpPr>
        <p:spPr>
          <a:xfrm>
            <a:off x="2552693" y="2627806"/>
            <a:ext cx="371724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triped Right Arrow 17"/>
          <p:cNvSpPr/>
          <p:nvPr/>
        </p:nvSpPr>
        <p:spPr>
          <a:xfrm rot="10800000">
            <a:off x="6486761" y="2627806"/>
            <a:ext cx="356235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triped Right Arrow 18"/>
          <p:cNvSpPr/>
          <p:nvPr/>
        </p:nvSpPr>
        <p:spPr>
          <a:xfrm rot="13257824">
            <a:off x="6135045" y="3380850"/>
            <a:ext cx="548442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triped Right Arrow 19"/>
          <p:cNvSpPr/>
          <p:nvPr/>
        </p:nvSpPr>
        <p:spPr>
          <a:xfrm rot="16200000">
            <a:off x="5237303" y="3525137"/>
            <a:ext cx="503539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triped Right Arrow 20"/>
          <p:cNvSpPr/>
          <p:nvPr/>
        </p:nvSpPr>
        <p:spPr>
          <a:xfrm rot="16200000">
            <a:off x="3767825" y="3539132"/>
            <a:ext cx="437735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riped Right Arrow 21"/>
          <p:cNvSpPr/>
          <p:nvPr/>
        </p:nvSpPr>
        <p:spPr>
          <a:xfrm rot="19238628">
            <a:off x="2626284" y="3397501"/>
            <a:ext cx="605675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Alternate Process 22"/>
          <p:cNvSpPr/>
          <p:nvPr/>
        </p:nvSpPr>
        <p:spPr>
          <a:xfrm>
            <a:off x="2924417" y="1362118"/>
            <a:ext cx="3360993" cy="371749"/>
          </a:xfrm>
          <a:prstGeom prst="flowChartAlternateProces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CANN Board Approval</a:t>
            </a:r>
            <a:endParaRPr lang="en-US" dirty="0"/>
          </a:p>
        </p:txBody>
      </p:sp>
      <p:sp>
        <p:nvSpPr>
          <p:cNvPr id="24" name="Striped Right Arrow 23"/>
          <p:cNvSpPr/>
          <p:nvPr/>
        </p:nvSpPr>
        <p:spPr>
          <a:xfrm rot="16200000">
            <a:off x="4447109" y="1699891"/>
            <a:ext cx="357801" cy="484632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2004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stakeholder Model</a:t>
            </a:r>
          </a:p>
        </p:txBody>
      </p:sp>
      <p:pic>
        <p:nvPicPr>
          <p:cNvPr id="3" name="Picture 2" descr="Screen Shot 2014-06-13 at 8.47.03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44" y="737974"/>
            <a:ext cx="7797552" cy="5543996"/>
          </a:xfrm>
          <a:prstGeom prst="rect">
            <a:avLst/>
          </a:prstGeom>
        </p:spPr>
      </p:pic>
      <p:sp>
        <p:nvSpPr>
          <p:cNvPr id="4" name="Right Arrow 3"/>
          <p:cNvSpPr/>
          <p:nvPr/>
        </p:nvSpPr>
        <p:spPr>
          <a:xfrm>
            <a:off x="813382" y="2375667"/>
            <a:ext cx="506023" cy="45485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333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ext Placeholder 1"/>
          <p:cNvSpPr>
            <a:spLocks noGrp="1"/>
          </p:cNvSpPr>
          <p:nvPr>
            <p:ph type="body" sz="quarter" idx="13"/>
          </p:nvPr>
        </p:nvSpPr>
        <p:spPr bwMode="auto">
          <a:xfrm>
            <a:off x="2655243" y="1275124"/>
            <a:ext cx="3838106" cy="431737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latin typeface="Source Sans Pro" charset="0"/>
                <a:cs typeface="Source Sans Pro" charset="0"/>
              </a:rPr>
              <a:t>Global</a:t>
            </a:r>
          </a:p>
          <a:p>
            <a:pPr algn="ctr"/>
            <a:endParaRPr lang="en-US" b="1" dirty="0" smtClean="0">
              <a:latin typeface="Source Sans Pro" charset="0"/>
              <a:cs typeface="Source Sans Pro" charset="0"/>
            </a:endParaRPr>
          </a:p>
          <a:p>
            <a:pPr algn="ctr"/>
            <a:endParaRPr lang="en-US" b="1" dirty="0">
              <a:latin typeface="Source Sans Pro" charset="0"/>
              <a:cs typeface="Source Sans Pro" charset="0"/>
            </a:endParaRPr>
          </a:p>
          <a:p>
            <a:pPr algn="ctr"/>
            <a:r>
              <a:rPr lang="en-US" b="1" dirty="0" smtClean="0">
                <a:latin typeface="Source Sans Pro" charset="0"/>
                <a:cs typeface="Source Sans Pro" charset="0"/>
              </a:rPr>
              <a:t>Scalable</a:t>
            </a:r>
          </a:p>
          <a:p>
            <a:pPr algn="ctr"/>
            <a:endParaRPr lang="en-US" b="1" dirty="0" smtClean="0">
              <a:latin typeface="Source Sans Pro" charset="0"/>
              <a:cs typeface="Source Sans Pro" charset="0"/>
            </a:endParaRPr>
          </a:p>
          <a:p>
            <a:pPr algn="ctr"/>
            <a:endParaRPr lang="en-US" b="1" dirty="0">
              <a:latin typeface="Source Sans Pro" charset="0"/>
              <a:cs typeface="Source Sans Pro" charset="0"/>
            </a:endParaRPr>
          </a:p>
          <a:p>
            <a:pPr algn="ctr"/>
            <a:r>
              <a:rPr lang="en-US" b="1" dirty="0" smtClean="0">
                <a:latin typeface="Source Sans Pro" charset="0"/>
                <a:cs typeface="Source Sans Pro" charset="0"/>
              </a:rPr>
              <a:t>Interoperable</a:t>
            </a:r>
            <a:endParaRPr lang="en-US" dirty="0">
              <a:latin typeface="Source Sans Pro Light" charset="0"/>
              <a:cs typeface="Source Sans Pro Light" charset="0"/>
            </a:endParaRPr>
          </a:p>
        </p:txBody>
      </p:sp>
      <p:sp>
        <p:nvSpPr>
          <p:cNvPr id="13314" name="TextBox 2"/>
          <p:cNvSpPr txBox="1">
            <a:spLocks noChangeArrowheads="1"/>
          </p:cNvSpPr>
          <p:nvPr/>
        </p:nvSpPr>
        <p:spPr bwMode="auto">
          <a:xfrm>
            <a:off x="842963" y="1219200"/>
            <a:ext cx="1857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9648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TextBox 2"/>
          <p:cNvSpPr txBox="1">
            <a:spLocks noChangeArrowheads="1"/>
          </p:cNvSpPr>
          <p:nvPr/>
        </p:nvSpPr>
        <p:spPr bwMode="auto">
          <a:xfrm>
            <a:off x="842963" y="1219200"/>
            <a:ext cx="1857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endParaRPr lang="en-US"/>
          </a:p>
        </p:txBody>
      </p:sp>
      <p:sp>
        <p:nvSpPr>
          <p:cNvPr id="14338" name="Text Placeholder 1"/>
          <p:cNvSpPr>
            <a:spLocks noGrp="1"/>
          </p:cNvSpPr>
          <p:nvPr>
            <p:ph type="body" sz="quarter" idx="13"/>
          </p:nvPr>
        </p:nvSpPr>
        <p:spPr bwMode="auto">
          <a:xfrm>
            <a:off x="569913" y="2378075"/>
            <a:ext cx="6256337" cy="17287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1" dirty="0" smtClean="0">
                <a:latin typeface="Source Sans Pro" charset="0"/>
                <a:cs typeface="Source Sans Pro" charset="0"/>
              </a:rPr>
              <a:t>The Boston Consulting Group report on E-Friction</a:t>
            </a:r>
            <a:endParaRPr lang="en-US" dirty="0">
              <a:latin typeface="Source Sans Pro Light" charset="0"/>
              <a:cs typeface="Source Sans Pro Light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34601" y="933749"/>
            <a:ext cx="4551680" cy="5003800"/>
          </a:xfrm>
          <a:prstGeom prst="rect">
            <a:avLst/>
          </a:prstGeom>
          <a:solidFill>
            <a:srgbClr val="458D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Greasing the Wheels of the Internet </a:t>
            </a:r>
            <a:r>
              <a:rPr lang="en-US" dirty="0" smtClean="0"/>
              <a:t>Economy</a:t>
            </a:r>
            <a:endParaRPr lang="en-US" dirty="0"/>
          </a:p>
        </p:txBody>
      </p:sp>
      <p:pic>
        <p:nvPicPr>
          <p:cNvPr id="4" name="Content Placeholder 5" descr="Screen Shot 2014-04-01 at 3.05.54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" b="4007"/>
          <a:stretch>
            <a:fillRect/>
          </a:stretch>
        </p:blipFill>
        <p:spPr>
          <a:xfrm>
            <a:off x="5351480" y="933749"/>
            <a:ext cx="3667109" cy="49622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97275" y="1755264"/>
            <a:ext cx="3948545" cy="284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chemeClr val="bg1"/>
                </a:solidFill>
                <a:latin typeface="Source Sans Pro"/>
                <a:cs typeface="Source Sans Pro"/>
              </a:rPr>
              <a:t>ICANN Commissioned the Boston Consulting Group (BCG) to conduct this study in 2014</a:t>
            </a:r>
          </a:p>
          <a:p>
            <a:pPr marL="342900" indent="-342900">
              <a:buFont typeface="Arial"/>
              <a:buChar char="•"/>
            </a:pPr>
            <a:endParaRPr lang="en-US" dirty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marL="342900" indent="-342900">
              <a:buFont typeface="Arial"/>
              <a:buChar char="•"/>
            </a:pPr>
            <a:endParaRPr lang="en-US" dirty="0" smtClean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chemeClr val="bg1"/>
                </a:solidFill>
                <a:latin typeface="Source Sans Pro"/>
                <a:cs typeface="Source Sans Pro"/>
              </a:rPr>
              <a:t>Digitally-driven economic growth continues to be one of the few bright spots in a sluggish global economy</a:t>
            </a:r>
          </a:p>
          <a:p>
            <a:pPr marL="342900" indent="-342900">
              <a:lnSpc>
                <a:spcPts val="1975"/>
              </a:lnSpc>
              <a:buFont typeface="Arial"/>
              <a:buChar char="•"/>
            </a:pPr>
            <a:endParaRPr lang="en-US" dirty="0">
              <a:solidFill>
                <a:schemeClr val="bg1"/>
              </a:solidFill>
              <a:latin typeface="Source Sans Pro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271911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smtClean="0"/>
              <a:t>Which Wheels to Grease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186380" y="1008945"/>
            <a:ext cx="3653469" cy="4958700"/>
          </a:xfrm>
          <a:prstGeom prst="rect">
            <a:avLst/>
          </a:prstGeom>
          <a:solidFill>
            <a:schemeClr val="accent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7" name="Picture 6" descr="COVER_BCG_Which_Wheels_to_Grease_Apr_201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380" y="1012471"/>
            <a:ext cx="3653469" cy="49587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54901" y="981677"/>
            <a:ext cx="4551680" cy="5003800"/>
          </a:xfrm>
          <a:prstGeom prst="rect">
            <a:avLst/>
          </a:prstGeom>
          <a:solidFill>
            <a:srgbClr val="458D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617575" y="1803192"/>
            <a:ext cx="3948545" cy="256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chemeClr val="bg1"/>
                </a:solidFill>
                <a:latin typeface="Source Sans Pro"/>
                <a:cs typeface="Source Sans Pro"/>
              </a:rPr>
              <a:t>Update to the 2014 study</a:t>
            </a:r>
          </a:p>
          <a:p>
            <a:pPr marL="342900" indent="-342900">
              <a:buFont typeface="Arial"/>
              <a:buChar char="•"/>
            </a:pPr>
            <a:endParaRPr lang="en-US" dirty="0" smtClean="0">
              <a:solidFill>
                <a:schemeClr val="bg1"/>
              </a:solidFill>
              <a:latin typeface="Source Sans Pro"/>
              <a:cs typeface="Source Sans Pro"/>
            </a:endParaRPr>
          </a:p>
          <a:p>
            <a:pPr marL="342900" indent="-342900">
              <a:buFont typeface="Arial"/>
              <a:buChar char="•"/>
            </a:pPr>
            <a:r>
              <a:rPr lang="en-US" dirty="0" smtClean="0">
                <a:solidFill>
                  <a:schemeClr val="bg1"/>
                </a:solidFill>
                <a:latin typeface="Source Sans Pro"/>
                <a:cs typeface="Source Sans Pro"/>
              </a:rPr>
              <a:t>This update expands on the analysis of e-friction by looking at its major causes and by defining clusters of countries that face similar challenges and can work together towards similar solutions.</a:t>
            </a:r>
          </a:p>
          <a:p>
            <a:pPr marL="342900" indent="-342900">
              <a:lnSpc>
                <a:spcPts val="1975"/>
              </a:lnSpc>
              <a:buFont typeface="Arial"/>
              <a:buChar char="•"/>
            </a:pPr>
            <a:endParaRPr lang="en-US" dirty="0">
              <a:solidFill>
                <a:schemeClr val="bg1"/>
              </a:solidFill>
              <a:latin typeface="Source Sans Pro"/>
              <a:cs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84634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VH4CfOZ02GYmtLJUAY5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3gX1a2e0WYmYi.l6J7w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Txijk90CKqvRTcc0Vw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0QA64to0mq_hyDezD5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_569JTPEiLJ1HD8mXOi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lp2Ms1MUKp2YGflVM8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ITSYIFEeRyaNLK6mLV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_Z2A9uK06rWjzpVSTa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4oUMUrj0O27q0ytF5ro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JP3JRUUK22Fm1.cKp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XUgsDPke0LryqlcVS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oyB4TppEKyQp9NFcXy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NduLwIg0eSgidtTInar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CfsH.Y50eEJ2L6zXzS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P9RIoOaEC2ZBaxpvWc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_gRPVENkOoFuq0H4xdT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X8GVo.E690JicSrXm0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dRWdqoE.8u4215JWP7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q9at.0k6wqmFc6TxIz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EoEg1KrUWqMjTIPiRn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lprmdlk2Nk0NtOQYJ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nWIhGq0G44wKjykaL.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.krnU0lU2UcsoZO_Yf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LXigQTnkS.s3eVg2uzu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XJt0CcjE2vVk082sQB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vG7ep4MEWFjMC_sow9C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zJ96t7_kG10drXe3hr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EW.iHR0mPNNDfeWMT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EjcahmD0aAmDVILa4v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otApOxESNOyAAA1Gc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TEK2Qu5E.1DG1AvYLn_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ns4rDo5U6Lw3GQYMLwW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.JbrXN2Umi1WCRdMV4W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gbIunYuEmAI2uQB235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iVoEkLkU.LNq8d.DfnX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8c33XKb0eetjn9qEbY9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ypoxWuEm3bdlYx4I.Y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m_.EiKWkaJ7mEXflte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rFVpfXYU6dufWMp7Hi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UkC8bB5UCQntaghaYL7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N8WAwtG0mELdAh67Bo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lJzwaNUW9_F138FYcv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JJLuSqdEGtg9Ww21cq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gb5IdNpkaISfFabq8T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DA2TRiWU2RxVh1TqWR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4QE76EuUaJ2IKkiapz5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kkuUNNs0GGGJK_h3CJa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otqmnkCUuixFK1ydX.3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7oAIgILEqQvp.xT0xB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a2eXg8kKkvddObBgc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ANcz.kRECe_9UC8DQl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t6hFWGRkWGqJjSFqct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ohlggfZk2R_EaceMYq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4YeE68kW1W6Mvz_rN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lMcmlDdU2nq6RUYpfg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789Yz9ekmKqIoIxaG4.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Tq6nWRYUuPYhbdqHFa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FKxxm4IUOZHDa4HBKU.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abeZOzUuCBvcFK1IU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cLM0cFzEmIqYt_6CVn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M.e9sQWEm_0orTFhk8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JvzdHrCkyBMq7eLG3V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xX43aY1U6QH3zHyjOc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I2RbfhLE.WtNB80qEV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gLXmo0HkKk3XLHnrY0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_csjrBQU2__ZD.1F_0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JGTDRoEEmOAU1FGiyA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dpy4o4FE6AKj8PsLTB0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aOdRRxKEi.T3C6_WFi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5SPMuG0mIoim4Ov0z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Hmphwq0yyJfhTiRs4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FA1p6LlEy.XyrxmvR2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hCCtz6O02HPMjm5IPC4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OKIXhB3kWgAGEEDTH1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rfGyu9EGPu9dNii.E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drzZgAj0eOy72Jk2bQ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NZHZ9OcUmaCUJ1Mj1X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.1vUohEaJYYIedpll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UsgbIPzkO5Y4TaUjou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fB8J8s0i9FqmhICWt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qjv41iMEujoXkqte1py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4b9DSriUWc1_Wqtbrf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LAB7DKyESeSNkXWKLb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pT1lu98kahqdtHwDpF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nBbKpzZUaXOr10ZDHL4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KCMEBM2E.Xj2CC7vwW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JvR400p0qepF_VCy32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KI3hEj006O2Jj2JBr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8c5KD_qkekRB51pGdj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4Fk.ubqEicwJGI4nwx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weKLPcnUW7iukwIQXk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MaNH5R1kGLppQKKT5v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GV4vq5gEK3OfSMe3cS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GMH5jCd02SIdtHvYhH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U8txVvUk.5K3a5KCFA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GUUTQBxkO5s5DsGRTF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ZqBkHIq0eQIb512fN6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vdH6Kr_k2QqBJyq8jF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cfOllraUi4tkd10A11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1XiBkeKUivOpZKXwoN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.9xK2OP0uFWoxT.u82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o9xndyAEqA1SMg4tGC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6TPqcNZUCzdm.kUWkcs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K9qEgkgkuYhFxDijna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BXi3_OBUGoY9TAuV9b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RjaQrGW0Cj12xeVRy_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trpncSgki__j2Egmd3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EUHUGET0yvfO42qTWWR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Rn0ligEG_n0KVI8eF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oxS7d07EOMk2Y7s0eA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GYpurCTk2.qU7uvdvaL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DCm4WhtUSTMfo8WuhI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wR6ZeBkGEryWkKMTo4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6JSbEzbkead4YuWiTA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ObLTXqCEmBsHpHBJmy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2Y84B.UO9zIn6WGs.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XM6p281EKQ8KWl8ZCs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Kx2LvJ.k6gJ_K14rkZN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dBY.7ZWUeaTdXo1Rt8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Yt7VeYEa2umnAKbqP3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H6qTTCPEiPgCZcrbzo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b9QI2MVEWN1AGacSAZb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8laLAV3USTurec.3zj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Wq7b5r2EiWL9JBLkFdb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RxxY5XIEW5kG7BjAME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VPpm3feUCJK_JYkveTd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asje53QUiQb0ct0CUJ7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QReG3f7UKdqzpeBGNd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MZ6xg.1Em74rV2ZyQU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11SU92JkGo5xTeYcWa8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xmywqU_0CARIIzQ8o1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4SIxSEBU6v7vK.Y7XZ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cjGyelaE2r.Z_40MAGC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ym0FJJxUeCpIrmsDtz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2R5JP1U.1mGPBDgXq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658u248U.dI8qK3QWs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bb85JCc0SSEforlUH21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45e0WnR06Fx050fdK7F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ZhPAkJUKbPBWGAuILn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N.TfblRUKGWyzgGPuI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AgLaryzUWOAH5JKXp2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BBLocFu0u_uem2gYGu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bwVo_E00WfnZQzfVjMfA"/>
</p:tagLst>
</file>

<file path=ppt/theme/theme1.xml><?xml version="1.0" encoding="utf-8"?>
<a:theme xmlns:a="http://schemas.openxmlformats.org/drawingml/2006/main" name="ICANNPP.Template.Jan2015">
  <a:themeElements>
    <a:clrScheme name="ICANN Template">
      <a:dk1>
        <a:srgbClr val="0A1F24"/>
      </a:dk1>
      <a:lt1>
        <a:sysClr val="window" lastClr="FFFFFF"/>
      </a:lt1>
      <a:dk2>
        <a:srgbClr val="1A87C9"/>
      </a:dk2>
      <a:lt2>
        <a:srgbClr val="EEECE1"/>
      </a:lt2>
      <a:accent1>
        <a:srgbClr val="1A87C9"/>
      </a:accent1>
      <a:accent2>
        <a:srgbClr val="0D436C"/>
      </a:accent2>
      <a:accent3>
        <a:srgbClr val="1B6F74"/>
      </a:accent3>
      <a:accent4>
        <a:srgbClr val="EA903A"/>
      </a:accent4>
      <a:accent5>
        <a:srgbClr val="DB6033"/>
      </a:accent5>
      <a:accent6>
        <a:srgbClr val="1768B1"/>
      </a:accent6>
      <a:hlink>
        <a:srgbClr val="1D98D3"/>
      </a:hlink>
      <a:folHlink>
        <a:srgbClr val="427BB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Source Sans Pro"/>
            <a:cs typeface="Source Sans Pro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CANNPP.Template.Jan2015.pot</Template>
  <TotalTime>23444</TotalTime>
  <Words>2049</Words>
  <Application>Microsoft Macintosh PowerPoint</Application>
  <PresentationFormat>On-screen Show (4:3)</PresentationFormat>
  <Paragraphs>720</Paragraphs>
  <Slides>21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ICANNPP.Template.Jan2015</vt:lpstr>
      <vt:lpstr>Chart</vt:lpstr>
      <vt:lpstr>PowerPoint Presentation</vt:lpstr>
      <vt:lpstr>PowerPoint Presentation</vt:lpstr>
      <vt:lpstr>ICANN coordinates the Domain Name System (DNS)</vt:lpstr>
      <vt:lpstr>Multistakeholder Policy Making </vt:lpstr>
      <vt:lpstr>Multistakeholder Model</vt:lpstr>
      <vt:lpstr>PowerPoint Presentation</vt:lpstr>
      <vt:lpstr>PowerPoint Presentation</vt:lpstr>
      <vt:lpstr>Greasing the Wheels of the Internet Economy</vt:lpstr>
      <vt:lpstr>Which Wheels to Grease?</vt:lpstr>
      <vt:lpstr>Main Sources of E-Friction</vt:lpstr>
      <vt:lpstr>E-Friction Index includes 65 countries Covering ca. 92% of global economy and ca. 81% of global population</vt:lpstr>
      <vt:lpstr>Significant Positive Economic Impact </vt:lpstr>
      <vt:lpstr>An Analysis of E-Friction &amp; Per Capita GDP Reveals 8 Clusters with Similar Issues</vt:lpstr>
      <vt:lpstr>E-Friction and the Private Sector</vt:lpstr>
      <vt:lpstr>The Internet and SMEs</vt:lpstr>
      <vt:lpstr>E-Friction and the Private Sector</vt:lpstr>
      <vt:lpstr>E-Friction and the Private Sector</vt:lpstr>
      <vt:lpstr>The Internet helps SMEs extend their geographical reach</vt:lpstr>
      <vt:lpstr>Reducing e-Friction essential to help SMEs go further online</vt:lpstr>
      <vt:lpstr>Where to Find the Reports?</vt:lpstr>
      <vt:lpstr>Engage with ICAN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igail</dc:creator>
  <cp:lastModifiedBy>Pierre Dandjinou</cp:lastModifiedBy>
  <cp:revision>166</cp:revision>
  <cp:lastPrinted>2015-01-14T03:55:09Z</cp:lastPrinted>
  <dcterms:created xsi:type="dcterms:W3CDTF">2015-01-07T16:11:05Z</dcterms:created>
  <dcterms:modified xsi:type="dcterms:W3CDTF">2015-06-09T19:00:05Z</dcterms:modified>
</cp:coreProperties>
</file>